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3.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7.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1.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6865" r:id="rId4"/>
    <p:sldMasterId id="2147486918" r:id="rId5"/>
    <p:sldMasterId id="2147486933" r:id="rId6"/>
    <p:sldMasterId id="2147486963" r:id="rId7"/>
    <p:sldMasterId id="2147486968" r:id="rId8"/>
    <p:sldMasterId id="2147486971" r:id="rId9"/>
    <p:sldMasterId id="2147486990" r:id="rId10"/>
    <p:sldMasterId id="2147487034" r:id="rId11"/>
    <p:sldMasterId id="2147495988" r:id="rId12"/>
    <p:sldMasterId id="2147496017" r:id="rId13"/>
    <p:sldMasterId id="2147496123" r:id="rId14"/>
    <p:sldMasterId id="2147496140" r:id="rId15"/>
  </p:sldMasterIdLst>
  <p:notesMasterIdLst>
    <p:notesMasterId r:id="rId34"/>
  </p:notesMasterIdLst>
  <p:sldIdLst>
    <p:sldId id="2147480778" r:id="rId16"/>
    <p:sldId id="2147480645" r:id="rId17"/>
    <p:sldId id="2147479983" r:id="rId18"/>
    <p:sldId id="2147479740" r:id="rId19"/>
    <p:sldId id="2147480781" r:id="rId20"/>
    <p:sldId id="2147479696" r:id="rId21"/>
    <p:sldId id="2147483525" r:id="rId22"/>
    <p:sldId id="2147480641" r:id="rId23"/>
    <p:sldId id="2147483535" r:id="rId24"/>
    <p:sldId id="2147483527" r:id="rId25"/>
    <p:sldId id="2147483528" r:id="rId26"/>
    <p:sldId id="2147483530" r:id="rId27"/>
    <p:sldId id="2147483531" r:id="rId28"/>
    <p:sldId id="2147483533" r:id="rId29"/>
    <p:sldId id="2147483534" r:id="rId30"/>
    <p:sldId id="2147480646" r:id="rId31"/>
    <p:sldId id="2147480647" r:id="rId32"/>
    <p:sldId id="423" r:id="rId33"/>
  </p:sldIdLst>
  <p:sldSz cx="9144000" cy="5143500" type="screen16x9"/>
  <p:notesSz cx="6858000" cy="9144000"/>
  <p:embeddedFontLst>
    <p:embeddedFont>
      <p:font typeface="Avenir Next LT Pro" panose="020B0504020202020204" pitchFamily="34" charset="0"/>
      <p:regular r:id="rId35"/>
      <p:bold r:id="rId36"/>
      <p:italic r:id="rId37"/>
      <p:boldItalic r:id="rId38"/>
    </p:embeddedFont>
    <p:embeddedFont>
      <p:font typeface="Georgia" panose="02040502050405020303" pitchFamily="18" charset="0"/>
      <p:regular r:id="rId39"/>
      <p:bold r:id="rId40"/>
      <p:italic r:id="rId41"/>
      <p:boldItalic r:id="rId42"/>
    </p:embeddedFont>
    <p:embeddedFont>
      <p:font typeface="Grandview" panose="020B0502040204020203" pitchFamily="34" charset="0"/>
      <p:regular r:id="rId43"/>
      <p:bold r:id="rId44"/>
      <p:italic r:id="rId45"/>
      <p:boldItalic r:id="rId46"/>
    </p:embeddedFont>
    <p:embeddedFont>
      <p:font typeface="Montserrat" panose="00000500000000000000" pitchFamily="2" charset="0"/>
      <p:regular r:id="rId47"/>
      <p:bold r:id="rId48"/>
      <p:italic r:id="rId49"/>
      <p:boldItalic r:id="rId50"/>
    </p:embeddedFont>
    <p:embeddedFont>
      <p:font typeface="Montserrat Light" panose="00000400000000000000" pitchFamily="2" charset="0"/>
      <p:regular r:id="rId51"/>
      <p:bold r:id="rId52"/>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C4065F-6541-82A0-630D-D07484C473D2}" name="Connie M. Josephs" initials="CJ" userId="S::constance.josephs@nielseniq.com::37abc0fe-c063-42fc-8e30-31a66a5d2658" providerId="AD"/>
  <p188:author id="{D9AA9563-94BF-6DD6-A1CC-33B91EE69063}" name="Hyunsun/Lacey Jang" initials="HJ" userId="S::hyunsun.jang@nielseniq.com::05a71f43-9078-44de-8f7e-c48c49f07250" providerId="AD"/>
  <p188:author id="{2BBC8966-B7F3-F087-233A-0F374C347A84}" name="Carolyn Muellenbach" initials="CM" userId="S::carolyn.muellenbach@nielseniq.com::3e1a5395-cf2d-4d11-b24c-54c1d3f95bc8" providerId="AD"/>
  <p188:author id="{11BDA66C-FF52-8F52-9366-923030BAE6F8}" name="Aarthi Sriram" initials="AS" userId="S::aarthi.sriram@nielseniq.com::463125fb-0bbd-402f-b158-12b19123fa0d" providerId="AD"/>
  <p188:author id="{B9085F75-CFCE-DE2F-9A20-528B39C213C8}" name="Aarthi Sriram" initials="AS" userId="S::Aarthi.Sriram@nielseniq.com::463125fb-0bbd-402f-b158-12b19123fa0d" providerId="AD"/>
  <p188:author id="{FF876581-E30A-0E1A-E48B-06ABC8F75286}" name="Michael Bennett" initials="MB" userId="S::michael.bennett@nielseniq.com::3b394164-4aaf-4bfa-8b48-e21d666b562c" providerId="AD"/>
  <p188:author id="{75377482-941A-1225-617A-408C50C2BB94}" name="Michael Bennett" initials="MB" userId="S::Michael.Bennett@nielseniq.com::3b394164-4aaf-4bfa-8b48-e21d666b562c" providerId="AD"/>
  <p188:author id="{53A91486-64D5-4074-CEE1-906C035C4FB2}" name="Ryan Koralik" initials="RK" userId="S::ryan.koralik@nielseniq.com::27fac661-0753-4121-8b89-9d48eaeb6ea4" providerId="AD"/>
  <p188:author id="{CB3A448B-24EF-5F28-8449-4C4976C004E6}" name="Richard Pereira" initials="RP" userId="S::richard.pereira@nielseniq.com::caf21c66-c0d7-478f-bd4e-5a85def59ac5" providerId="AD"/>
  <p188:author id="{A044D3A9-3F4F-DCCD-99A8-8815D3BF3C4C}" name="Ryan Koralik" initials="RK" userId="S::Ryan.Koralik@nielseniq.com::27fac661-0753-4121-8b89-9d48eaeb6ea4" providerId="AD"/>
  <p188:author id="{C95C8EB3-0CA3-8885-5C8D-8C49C89418C3}" name="Dawson Phan" initials="DP" userId="S::Dawson.Phan@nielseniq.com::412d6eed-d65a-4882-8c06-1fe50d000c9c" providerId="AD"/>
  <p188:author id="{E0B1E2BE-58DC-ED63-6444-879B8119F8F5}" name="Jill DeSimone" initials="JD" userId="S::jill.desimone@nielseniq.com::cece1488-5be9-43e2-aed4-5ee891c0f315" providerId="AD"/>
  <p188:author id="{CFBFEBC7-CABF-0F7D-B204-E27432AFBB7D}" name="Alison Krakowiak" initials="AK" userId="S::alison.krakowiak@nielseniq.com::3956c6ca-b9e9-4568-9e00-a4102a404be0" providerId="AD"/>
  <p188:author id="{82937CE1-6B7C-EAD1-B099-67E97D5A1C0A}" name="Hyunsun/Lacey Jang" initials="HJ" userId="S::Hyunsun.Jang@nielseniq.com::05a71f43-9078-44de-8f7e-c48c49f07250" providerId="AD"/>
  <p188:author id="{023E68E6-77FC-17E2-0F2F-D7558942D7AC}" name="James Restivo" initials="" userId="S::James.Restivo@nielseniq.com::5d2af4b9-40d1-47e8-81f8-2817c93f5562" providerId="AD"/>
  <p188:author id="{C423F4E7-B8AC-D7C7-66D8-5CF215F2F240}" name="Lynda Domogalla" initials="LD" userId="S::Lynda.Domogalla@nielseniq.com::33909859-bc72-4cfa-857a-87061c63507d" providerId="AD"/>
  <p188:author id="{2C3358F0-BEDA-430B-B5F8-41F2DD7B36A3}" name="Carolyn Muellenbach" initials="" userId="S::Carolyn.Muellenbach@nielseniq.com::3e1a5395-cf2d-4d11-b24c-54c1d3f95bc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D1DD83-AA25-48E6-A002-C63FA47E2DF6}">
  <a:tblStyle styleId="{6ED1DD83-AA25-48E6-A002-C63FA47E2DF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4CBE652B-C346-471C-8BC0-CDC616BC67D4}"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4" d="100"/>
          <a:sy n="134" d="100"/>
        </p:scale>
        <p:origin x="144" y="2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font" Target="fonts/font5.fntdata"/><Relationship Id="rId21" Type="http://schemas.openxmlformats.org/officeDocument/2006/relationships/slide" Target="slides/slide6.xml"/><Relationship Id="rId34" Type="http://schemas.openxmlformats.org/officeDocument/2006/relationships/notesMaster" Target="notesMasters/notes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font" Target="fonts/font4.fntdata"/><Relationship Id="rId46" Type="http://schemas.openxmlformats.org/officeDocument/2006/relationships/font" Target="fonts/font12.fntdata"/><Relationship Id="rId59" Type="http://schemas.microsoft.com/office/2018/10/relationships/authors" Target="authors.xml"/><Relationship Id="rId20" Type="http://schemas.openxmlformats.org/officeDocument/2006/relationships/slide" Target="slides/slide5.xml"/><Relationship Id="rId41" Type="http://schemas.openxmlformats.org/officeDocument/2006/relationships/font" Target="fonts/font7.fntdata"/><Relationship Id="rId54"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font" Target="fonts/font10.fntdata"/><Relationship Id="rId52" Type="http://schemas.openxmlformats.org/officeDocument/2006/relationships/font" Target="fonts/font18.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20957542908763E-2"/>
          <c:y val="0.12071632385821053"/>
          <c:w val="0.97515808491418243"/>
          <c:h val="0.78347645778185915"/>
        </c:manualLayout>
      </c:layout>
      <c:barChart>
        <c:barDir val="col"/>
        <c:grouping val="stacked"/>
        <c:varyColors val="0"/>
        <c:ser>
          <c:idx val="0"/>
          <c:order val="0"/>
          <c:tx>
            <c:strRef>
              <c:f>Sheet1!$A$2</c:f>
              <c:strCache>
                <c:ptCount val="1"/>
                <c:pt idx="0">
                  <c:v>Total US xAOC</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Beer/FMB/Cider</c:v>
                </c:pt>
                <c:pt idx="1">
                  <c:v>July 24 Beer/FMBCider</c:v>
                </c:pt>
              </c:strCache>
            </c:strRef>
          </c:cat>
          <c:val>
            <c:numRef>
              <c:f>Sheet1!$B$2:$C$2</c:f>
              <c:numCache>
                <c:formatCode>0.0%</c:formatCode>
                <c:ptCount val="2"/>
                <c:pt idx="0">
                  <c:v>0.34642978389752893</c:v>
                </c:pt>
                <c:pt idx="1">
                  <c:v>0.34642978389752893</c:v>
                </c:pt>
              </c:numCache>
            </c:numRef>
          </c:val>
          <c:extLst>
            <c:ext xmlns:c16="http://schemas.microsoft.com/office/drawing/2014/chart" uri="{C3380CC4-5D6E-409C-BE32-E72D297353CC}">
              <c16:uniqueId val="{00000000-4794-42B2-8925-DFF460FCC910}"/>
            </c:ext>
          </c:extLst>
        </c:ser>
        <c:ser>
          <c:idx val="1"/>
          <c:order val="1"/>
          <c:tx>
            <c:strRef>
              <c:f>Sheet1!$A$3</c:f>
              <c:strCache>
                <c:ptCount val="1"/>
                <c:pt idx="0">
                  <c:v>Total US Conv</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Beer/FMB/Cider</c:v>
                </c:pt>
                <c:pt idx="1">
                  <c:v>July 24 Beer/FMBCider</c:v>
                </c:pt>
              </c:strCache>
            </c:strRef>
          </c:cat>
          <c:val>
            <c:numRef>
              <c:f>Sheet1!$B$3:$C$3</c:f>
              <c:numCache>
                <c:formatCode>0.0%</c:formatCode>
                <c:ptCount val="2"/>
                <c:pt idx="0">
                  <c:v>0.36254294260350534</c:v>
                </c:pt>
                <c:pt idx="1">
                  <c:v>0.36254294260350534</c:v>
                </c:pt>
              </c:numCache>
            </c:numRef>
          </c:val>
          <c:extLst>
            <c:ext xmlns:c16="http://schemas.microsoft.com/office/drawing/2014/chart" uri="{C3380CC4-5D6E-409C-BE32-E72D297353CC}">
              <c16:uniqueId val="{00000001-4794-42B2-8925-DFF460FCC910}"/>
            </c:ext>
          </c:extLst>
        </c:ser>
        <c:ser>
          <c:idx val="2"/>
          <c:order val="2"/>
          <c:tx>
            <c:strRef>
              <c:f>Sheet1!$A$4</c:f>
              <c:strCache>
                <c:ptCount val="1"/>
                <c:pt idx="0">
                  <c:v>Liquor Channel</c:v>
                </c:pt>
              </c:strCache>
            </c:strRef>
          </c:tx>
          <c:spPr>
            <a:solidFill>
              <a:schemeClr val="bg1">
                <a:lumMod val="65000"/>
              </a:schemeClr>
            </a:solid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1B8B-426B-A7F7-EE5E1BABF3D2}"/>
                </c:ext>
              </c:extLst>
            </c:dLbl>
            <c:dLbl>
              <c:idx val="1"/>
              <c:tx>
                <c:rich>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r>
                      <a:rPr lang="en-US"/>
                      <a:t>20.4%</a:t>
                    </a: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B8B-426B-A7F7-EE5E1BABF3D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Beer/FMB/Cider</c:v>
                </c:pt>
                <c:pt idx="1">
                  <c:v>July 24 Beer/FMBCider</c:v>
                </c:pt>
              </c:strCache>
            </c:strRef>
          </c:cat>
          <c:val>
            <c:numRef>
              <c:f>Sheet1!$B$4:$C$4</c:f>
              <c:numCache>
                <c:formatCode>0.0%</c:formatCode>
                <c:ptCount val="2"/>
                <c:pt idx="0">
                  <c:v>7.2869633961640368E-2</c:v>
                </c:pt>
                <c:pt idx="1">
                  <c:v>0.11700000000000001</c:v>
                </c:pt>
              </c:numCache>
            </c:numRef>
          </c:val>
          <c:extLst>
            <c:ext xmlns:c16="http://schemas.microsoft.com/office/drawing/2014/chart" uri="{C3380CC4-5D6E-409C-BE32-E72D297353CC}">
              <c16:uniqueId val="{00000002-4794-42B2-8925-DFF460FCC910}"/>
            </c:ext>
          </c:extLst>
        </c:ser>
        <c:ser>
          <c:idx val="3"/>
          <c:order val="3"/>
          <c:tx>
            <c:strRef>
              <c:f>Sheet1!$A$5</c:f>
              <c:strCache>
                <c:ptCount val="1"/>
              </c:strCache>
            </c:strRef>
          </c:tx>
          <c:spPr>
            <a:noFill/>
            <a:ln>
              <a:noFill/>
            </a:ln>
            <a:effectLst/>
          </c:spPr>
          <c:invertIfNegative val="0"/>
          <c:dLbls>
            <c:dLbl>
              <c:idx val="0"/>
              <c:tx>
                <c:rich>
                  <a:bodyPr/>
                  <a:lstStyle/>
                  <a:p>
                    <a:fld id="{280C2B7F-43EF-4982-BD0C-FD48427A1091}"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794-42B2-8925-DFF460FCC910}"/>
                </c:ext>
              </c:extLst>
            </c:dLbl>
            <c:dLbl>
              <c:idx val="1"/>
              <c:tx>
                <c:rich>
                  <a:bodyPr/>
                  <a:lstStyle/>
                  <a:p>
                    <a:r>
                      <a:rPr lang="en-US"/>
                      <a:t>91%</a:t>
                    </a:r>
                  </a:p>
                </c:rich>
              </c:tx>
              <c:dLblPos val="inBase"/>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794-42B2-8925-DFF460FCC91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j-lt"/>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B$1:$C$1</c:f>
              <c:strCache>
                <c:ptCount val="2"/>
                <c:pt idx="0">
                  <c:v>Current Beer/FMB/Cider</c:v>
                </c:pt>
                <c:pt idx="1">
                  <c:v>July 24 Beer/FMBCider</c:v>
                </c:pt>
              </c:strCache>
            </c:strRef>
          </c:cat>
          <c:val>
            <c:numRef>
              <c:f>Sheet1!$B$5:$C$5</c:f>
              <c:numCache>
                <c:formatCode>General</c:formatCode>
                <c:ptCount val="2"/>
                <c:pt idx="0">
                  <c:v>0</c:v>
                </c:pt>
                <c:pt idx="1">
                  <c:v>0</c:v>
                </c:pt>
              </c:numCache>
            </c:numRef>
          </c:val>
          <c:extLst>
            <c:ext xmlns:c15="http://schemas.microsoft.com/office/drawing/2012/chart" uri="{02D57815-91ED-43cb-92C2-25804820EDAC}">
              <c15:datalabelsRange>
                <c15:f>Sheet1!$B$6:$C$6</c15:f>
                <c15:dlblRangeCache>
                  <c:ptCount val="2"/>
                  <c:pt idx="0">
                    <c:v>78%</c:v>
                  </c:pt>
                  <c:pt idx="1">
                    <c:v>83%</c:v>
                  </c:pt>
                </c15:dlblRangeCache>
              </c15:datalabelsRange>
            </c:ext>
            <c:ext xmlns:c16="http://schemas.microsoft.com/office/drawing/2014/chart" uri="{C3380CC4-5D6E-409C-BE32-E72D297353CC}">
              <c16:uniqueId val="{00000006-4794-42B2-8925-DFF460FCC910}"/>
            </c:ext>
          </c:extLst>
        </c:ser>
        <c:dLbls>
          <c:showLegendKey val="0"/>
          <c:showVal val="0"/>
          <c:showCatName val="0"/>
          <c:showSerName val="0"/>
          <c:showPercent val="0"/>
          <c:showBubbleSize val="0"/>
        </c:dLbls>
        <c:gapWidth val="75"/>
        <c:overlap val="100"/>
        <c:axId val="674894424"/>
        <c:axId val="674896392"/>
      </c:barChart>
      <c:catAx>
        <c:axId val="674894424"/>
        <c:scaling>
          <c:orientation val="minMax"/>
        </c:scaling>
        <c:delete val="0"/>
        <c:axPos val="b"/>
        <c:numFmt formatCode="General" sourceLinked="1"/>
        <c:majorTickMark val="none"/>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j-lt"/>
                <a:ea typeface="+mn-ea"/>
                <a:cs typeface="+mn-cs"/>
              </a:defRPr>
            </a:pPr>
            <a:endParaRPr lang="en-US"/>
          </a:p>
        </c:txPr>
        <c:crossAx val="674896392"/>
        <c:crosses val="autoZero"/>
        <c:auto val="1"/>
        <c:lblAlgn val="ctr"/>
        <c:lblOffset val="100"/>
        <c:noMultiLvlLbl val="0"/>
      </c:catAx>
      <c:valAx>
        <c:axId val="674896392"/>
        <c:scaling>
          <c:orientation val="minMax"/>
        </c:scaling>
        <c:delete val="1"/>
        <c:axPos val="l"/>
        <c:numFmt formatCode="0.0%" sourceLinked="1"/>
        <c:majorTickMark val="none"/>
        <c:minorTickMark val="none"/>
        <c:tickLblPos val="nextTo"/>
        <c:crossAx val="674894424"/>
        <c:crosses val="autoZero"/>
        <c:crossBetween val="between"/>
      </c:valAx>
      <c:spPr>
        <a:noFill/>
        <a:ln>
          <a:noFill/>
        </a:ln>
        <a:effectLst/>
      </c:spPr>
    </c:plotArea>
    <c:legend>
      <c:legendPos val="t"/>
      <c:legendEntry>
        <c:idx val="3"/>
        <c:delete val="1"/>
      </c:legendEntry>
      <c:layout>
        <c:manualLayout>
          <c:xMode val="edge"/>
          <c:yMode val="edge"/>
          <c:x val="2.7586256814102192E-2"/>
          <c:y val="1.3280792810596524E-2"/>
          <c:w val="0.91421816245769794"/>
          <c:h val="7.000714137465924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20957542908763E-2"/>
          <c:y val="0.12071632385821053"/>
          <c:w val="0.97515808491418243"/>
          <c:h val="0.78347645778185915"/>
        </c:manualLayout>
      </c:layout>
      <c:barChart>
        <c:barDir val="col"/>
        <c:grouping val="stacked"/>
        <c:varyColors val="0"/>
        <c:ser>
          <c:idx val="0"/>
          <c:order val="0"/>
          <c:tx>
            <c:strRef>
              <c:f>Sheet1!$A$2</c:f>
              <c:strCache>
                <c:ptCount val="1"/>
                <c:pt idx="0">
                  <c:v>Total US xAOC</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Wine</c:v>
                </c:pt>
                <c:pt idx="1">
                  <c:v>July 24                                                      Wine</c:v>
                </c:pt>
              </c:strCache>
            </c:strRef>
          </c:cat>
          <c:val>
            <c:numRef>
              <c:f>Sheet1!$B$2:$C$2</c:f>
              <c:numCache>
                <c:formatCode>0.0%</c:formatCode>
                <c:ptCount val="2"/>
                <c:pt idx="0">
                  <c:v>0.46245447357280556</c:v>
                </c:pt>
                <c:pt idx="1">
                  <c:v>0.46245447357280556</c:v>
                </c:pt>
              </c:numCache>
            </c:numRef>
          </c:val>
          <c:extLst>
            <c:ext xmlns:c16="http://schemas.microsoft.com/office/drawing/2014/chart" uri="{C3380CC4-5D6E-409C-BE32-E72D297353CC}">
              <c16:uniqueId val="{00000000-6D56-461F-981B-8A681C7370E3}"/>
            </c:ext>
          </c:extLst>
        </c:ser>
        <c:ser>
          <c:idx val="1"/>
          <c:order val="1"/>
          <c:tx>
            <c:strRef>
              <c:f>Sheet1!$A$3</c:f>
              <c:strCache>
                <c:ptCount val="1"/>
                <c:pt idx="0">
                  <c:v>Total US Conv</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Wine</c:v>
                </c:pt>
                <c:pt idx="1">
                  <c:v>July 24                                                      Wine</c:v>
                </c:pt>
              </c:strCache>
            </c:strRef>
          </c:cat>
          <c:val>
            <c:numRef>
              <c:f>Sheet1!$B$3:$C$3</c:f>
              <c:numCache>
                <c:formatCode>0.0%</c:formatCode>
                <c:ptCount val="2"/>
                <c:pt idx="0">
                  <c:v>5.2752465686806173E-2</c:v>
                </c:pt>
                <c:pt idx="1">
                  <c:v>5.2752465686806173E-2</c:v>
                </c:pt>
              </c:numCache>
            </c:numRef>
          </c:val>
          <c:extLst>
            <c:ext xmlns:c16="http://schemas.microsoft.com/office/drawing/2014/chart" uri="{C3380CC4-5D6E-409C-BE32-E72D297353CC}">
              <c16:uniqueId val="{00000001-6D56-461F-981B-8A681C7370E3}"/>
            </c:ext>
          </c:extLst>
        </c:ser>
        <c:ser>
          <c:idx val="2"/>
          <c:order val="2"/>
          <c:tx>
            <c:strRef>
              <c:f>Sheet1!$A$4</c:f>
              <c:strCache>
                <c:ptCount val="1"/>
                <c:pt idx="0">
                  <c:v>Liquor Channel</c:v>
                </c:pt>
              </c:strCache>
            </c:strRef>
          </c:tx>
          <c:spPr>
            <a:solidFill>
              <a:schemeClr val="bg1">
                <a:lumMod val="65000"/>
              </a:schemeClr>
            </a:solidFill>
            <a:ln>
              <a:noFill/>
            </a:ln>
            <a:effectLst/>
          </c:spPr>
          <c:invertIfNegative val="0"/>
          <c:dLbls>
            <c:dLbl>
              <c:idx val="1"/>
              <c:tx>
                <c:rich>
                  <a:bodyPr/>
                  <a:lstStyle/>
                  <a:p>
                    <a:r>
                      <a:rPr lang="en-US"/>
                      <a:t>25.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D12-4236-BC66-B4AE27856FD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Wine</c:v>
                </c:pt>
                <c:pt idx="1">
                  <c:v>July 24                                                      Wine</c:v>
                </c:pt>
              </c:strCache>
            </c:strRef>
          </c:cat>
          <c:val>
            <c:numRef>
              <c:f>Sheet1!$B$4:$C$4</c:f>
              <c:numCache>
                <c:formatCode>0.0%</c:formatCode>
                <c:ptCount val="2"/>
                <c:pt idx="0">
                  <c:v>0.13971958519783223</c:v>
                </c:pt>
                <c:pt idx="1">
                  <c:v>0.26300000000000001</c:v>
                </c:pt>
              </c:numCache>
            </c:numRef>
          </c:val>
          <c:extLst>
            <c:ext xmlns:c16="http://schemas.microsoft.com/office/drawing/2014/chart" uri="{C3380CC4-5D6E-409C-BE32-E72D297353CC}">
              <c16:uniqueId val="{00000002-6D56-461F-981B-8A681C7370E3}"/>
            </c:ext>
          </c:extLst>
        </c:ser>
        <c:ser>
          <c:idx val="3"/>
          <c:order val="3"/>
          <c:tx>
            <c:strRef>
              <c:f>Sheet1!$A$5</c:f>
              <c:strCache>
                <c:ptCount val="1"/>
              </c:strCache>
            </c:strRef>
          </c:tx>
          <c:spPr>
            <a:noFill/>
            <a:ln>
              <a:noFill/>
            </a:ln>
            <a:effectLst/>
          </c:spPr>
          <c:invertIfNegative val="0"/>
          <c:dLbls>
            <c:dLbl>
              <c:idx val="0"/>
              <c:tx>
                <c:rich>
                  <a:bodyPr/>
                  <a:lstStyle/>
                  <a:p>
                    <a:fld id="{3E42F60B-6B58-4347-BB78-7ACE25FEC176}"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D56-461F-981B-8A681C7370E3}"/>
                </c:ext>
              </c:extLst>
            </c:dLbl>
            <c:dLbl>
              <c:idx val="1"/>
              <c:tx>
                <c:rich>
                  <a:bodyPr/>
                  <a:lstStyle/>
                  <a:p>
                    <a:r>
                      <a:rPr lang="en-US"/>
                      <a:t>77%</a:t>
                    </a:r>
                  </a:p>
                </c:rich>
              </c:tx>
              <c:dLblPos val="inBase"/>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6D56-461F-981B-8A681C7370E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j-lt"/>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B$1:$C$1</c:f>
              <c:strCache>
                <c:ptCount val="2"/>
                <c:pt idx="0">
                  <c:v>Current                                         Wine</c:v>
                </c:pt>
                <c:pt idx="1">
                  <c:v>July 24                                                      Wine</c:v>
                </c:pt>
              </c:strCache>
            </c:strRef>
          </c:cat>
          <c:val>
            <c:numRef>
              <c:f>Sheet1!$B$5:$C$5</c:f>
              <c:numCache>
                <c:formatCode>General</c:formatCode>
                <c:ptCount val="2"/>
                <c:pt idx="0">
                  <c:v>0</c:v>
                </c:pt>
                <c:pt idx="1">
                  <c:v>0</c:v>
                </c:pt>
              </c:numCache>
            </c:numRef>
          </c:val>
          <c:extLst>
            <c:ext xmlns:c15="http://schemas.microsoft.com/office/drawing/2012/chart" uri="{02D57815-91ED-43cb-92C2-25804820EDAC}">
              <c15:datalabelsRange>
                <c15:f>Sheet1!$B$6:$C$6</c15:f>
                <c15:dlblRangeCache>
                  <c:ptCount val="2"/>
                  <c:pt idx="0">
                    <c:v>65%</c:v>
                  </c:pt>
                  <c:pt idx="1">
                    <c:v>78%</c:v>
                  </c:pt>
                </c15:dlblRangeCache>
              </c15:datalabelsRange>
            </c:ext>
            <c:ext xmlns:c16="http://schemas.microsoft.com/office/drawing/2014/chart" uri="{C3380CC4-5D6E-409C-BE32-E72D297353CC}">
              <c16:uniqueId val="{00000005-6D56-461F-981B-8A681C7370E3}"/>
            </c:ext>
          </c:extLst>
        </c:ser>
        <c:dLbls>
          <c:showLegendKey val="0"/>
          <c:showVal val="0"/>
          <c:showCatName val="0"/>
          <c:showSerName val="0"/>
          <c:showPercent val="0"/>
          <c:showBubbleSize val="0"/>
        </c:dLbls>
        <c:gapWidth val="75"/>
        <c:overlap val="100"/>
        <c:axId val="674894424"/>
        <c:axId val="674896392"/>
      </c:barChart>
      <c:catAx>
        <c:axId val="674894424"/>
        <c:scaling>
          <c:orientation val="minMax"/>
        </c:scaling>
        <c:delete val="0"/>
        <c:axPos val="b"/>
        <c:numFmt formatCode="General" sourceLinked="1"/>
        <c:majorTickMark val="none"/>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j-lt"/>
                <a:ea typeface="+mn-ea"/>
                <a:cs typeface="+mn-cs"/>
              </a:defRPr>
            </a:pPr>
            <a:endParaRPr lang="en-US"/>
          </a:p>
        </c:txPr>
        <c:crossAx val="674896392"/>
        <c:crosses val="autoZero"/>
        <c:auto val="1"/>
        <c:lblAlgn val="ctr"/>
        <c:lblOffset val="100"/>
        <c:noMultiLvlLbl val="0"/>
      </c:catAx>
      <c:valAx>
        <c:axId val="674896392"/>
        <c:scaling>
          <c:orientation val="minMax"/>
        </c:scaling>
        <c:delete val="1"/>
        <c:axPos val="l"/>
        <c:numFmt formatCode="0.0%" sourceLinked="1"/>
        <c:majorTickMark val="none"/>
        <c:minorTickMark val="none"/>
        <c:tickLblPos val="nextTo"/>
        <c:crossAx val="674894424"/>
        <c:crosses val="autoZero"/>
        <c:crossBetween val="between"/>
      </c:valAx>
      <c:spPr>
        <a:noFill/>
        <a:ln>
          <a:noFill/>
        </a:ln>
        <a:effectLst/>
      </c:spPr>
    </c:plotArea>
    <c:legend>
      <c:legendPos val="t"/>
      <c:legendEntry>
        <c:idx val="3"/>
        <c:delete val="1"/>
      </c:legendEntry>
      <c:layout>
        <c:manualLayout>
          <c:xMode val="edge"/>
          <c:yMode val="edge"/>
          <c:x val="2.7586256814102192E-2"/>
          <c:y val="1.9991466348217905E-2"/>
          <c:w val="0.91421816245769794"/>
          <c:h val="7.000714137465924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20957542908763E-2"/>
          <c:y val="0.12071632385821053"/>
          <c:w val="0.97515808491418243"/>
          <c:h val="0.78347645778185915"/>
        </c:manualLayout>
      </c:layout>
      <c:barChart>
        <c:barDir val="col"/>
        <c:grouping val="stacked"/>
        <c:varyColors val="0"/>
        <c:ser>
          <c:idx val="0"/>
          <c:order val="0"/>
          <c:tx>
            <c:strRef>
              <c:f>Sheet1!$A$2</c:f>
              <c:strCache>
                <c:ptCount val="1"/>
                <c:pt idx="0">
                  <c:v>Total US xAOC</c:v>
                </c:pt>
              </c:strCache>
            </c:strRef>
          </c:tx>
          <c:spPr>
            <a:solidFill>
              <a:schemeClr val="tx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Spirits</c:v>
                </c:pt>
                <c:pt idx="1">
                  <c:v>July 24                                      Spirits</c:v>
                </c:pt>
              </c:strCache>
            </c:strRef>
          </c:cat>
          <c:val>
            <c:numRef>
              <c:f>Sheet1!$B$2:$C$2</c:f>
              <c:numCache>
                <c:formatCode>0.0%</c:formatCode>
                <c:ptCount val="2"/>
                <c:pt idx="0">
                  <c:v>0.24420709098357887</c:v>
                </c:pt>
                <c:pt idx="1">
                  <c:v>0.24420709098357887</c:v>
                </c:pt>
              </c:numCache>
            </c:numRef>
          </c:val>
          <c:extLst>
            <c:ext xmlns:c16="http://schemas.microsoft.com/office/drawing/2014/chart" uri="{C3380CC4-5D6E-409C-BE32-E72D297353CC}">
              <c16:uniqueId val="{00000000-9180-4B33-90CD-916FA9DE587C}"/>
            </c:ext>
          </c:extLst>
        </c:ser>
        <c:ser>
          <c:idx val="1"/>
          <c:order val="1"/>
          <c:tx>
            <c:strRef>
              <c:f>Sheet1!$A$3</c:f>
              <c:strCache>
                <c:ptCount val="1"/>
                <c:pt idx="0">
                  <c:v>Total US Conv</c:v>
                </c:pt>
              </c:strCache>
            </c:strRef>
          </c:tx>
          <c:spPr>
            <a:solidFill>
              <a:schemeClr val="bg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Spirits</c:v>
                </c:pt>
                <c:pt idx="1">
                  <c:v>July 24                                      Spirits</c:v>
                </c:pt>
              </c:strCache>
            </c:strRef>
          </c:cat>
          <c:val>
            <c:numRef>
              <c:f>Sheet1!$B$3:$C$3</c:f>
              <c:numCache>
                <c:formatCode>0.0%</c:formatCode>
                <c:ptCount val="2"/>
                <c:pt idx="0">
                  <c:v>7.8366198218375621E-2</c:v>
                </c:pt>
                <c:pt idx="1">
                  <c:v>7.8366198218375621E-2</c:v>
                </c:pt>
              </c:numCache>
            </c:numRef>
          </c:val>
          <c:extLst>
            <c:ext xmlns:c16="http://schemas.microsoft.com/office/drawing/2014/chart" uri="{C3380CC4-5D6E-409C-BE32-E72D297353CC}">
              <c16:uniqueId val="{00000001-9180-4B33-90CD-916FA9DE587C}"/>
            </c:ext>
          </c:extLst>
        </c:ser>
        <c:ser>
          <c:idx val="2"/>
          <c:order val="2"/>
          <c:tx>
            <c:strRef>
              <c:f>Sheet1!$A$4</c:f>
              <c:strCache>
                <c:ptCount val="1"/>
                <c:pt idx="0">
                  <c:v>Liquor Channel</c:v>
                </c:pt>
              </c:strCache>
            </c:strRef>
          </c:tx>
          <c:spPr>
            <a:solidFill>
              <a:schemeClr val="bg1">
                <a:lumMod val="65000"/>
              </a:schemeClr>
            </a:solidFill>
            <a:ln>
              <a:noFill/>
            </a:ln>
            <a:effectLst/>
          </c:spPr>
          <c:invertIfNegative val="0"/>
          <c:dLbls>
            <c:dLbl>
              <c:idx val="1"/>
              <c:tx>
                <c:rich>
                  <a:bodyPr/>
                  <a:lstStyle/>
                  <a:p>
                    <a:r>
                      <a:rPr lang="en-US"/>
                      <a:t>50.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D82-4F5D-98C5-F821F3B8449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j-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urrent                        Spirits</c:v>
                </c:pt>
                <c:pt idx="1">
                  <c:v>July 24                                      Spirits</c:v>
                </c:pt>
              </c:strCache>
            </c:strRef>
          </c:cat>
          <c:val>
            <c:numRef>
              <c:f>Sheet1!$B$4:$C$4</c:f>
              <c:numCache>
                <c:formatCode>0.0%</c:formatCode>
                <c:ptCount val="2"/>
                <c:pt idx="0">
                  <c:v>0.22664389258137874</c:v>
                </c:pt>
                <c:pt idx="1">
                  <c:v>0.44600000000000001</c:v>
                </c:pt>
              </c:numCache>
            </c:numRef>
          </c:val>
          <c:extLst>
            <c:ext xmlns:c16="http://schemas.microsoft.com/office/drawing/2014/chart" uri="{C3380CC4-5D6E-409C-BE32-E72D297353CC}">
              <c16:uniqueId val="{00000002-9180-4B33-90CD-916FA9DE587C}"/>
            </c:ext>
          </c:extLst>
        </c:ser>
        <c:ser>
          <c:idx val="3"/>
          <c:order val="3"/>
          <c:tx>
            <c:strRef>
              <c:f>Sheet1!$A$5</c:f>
              <c:strCache>
                <c:ptCount val="1"/>
              </c:strCache>
            </c:strRef>
          </c:tx>
          <c:spPr>
            <a:noFill/>
            <a:ln>
              <a:noFill/>
            </a:ln>
            <a:effectLst/>
          </c:spPr>
          <c:invertIfNegative val="0"/>
          <c:dLbls>
            <c:dLbl>
              <c:idx val="0"/>
              <c:tx>
                <c:rich>
                  <a:bodyPr/>
                  <a:lstStyle/>
                  <a:p>
                    <a:fld id="{2852660F-17B9-4AB5-8DB4-2B953BA4DBC4}"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180-4B33-90CD-916FA9DE587C}"/>
                </c:ext>
              </c:extLst>
            </c:dLbl>
            <c:dLbl>
              <c:idx val="1"/>
              <c:tx>
                <c:rich>
                  <a:bodyPr/>
                  <a:lstStyle/>
                  <a:p>
                    <a:r>
                      <a:rPr lang="en-US"/>
                      <a:t>82%</a:t>
                    </a:r>
                  </a:p>
                </c:rich>
              </c:tx>
              <c:dLblPos val="inBase"/>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9180-4B33-90CD-916FA9DE587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j-lt"/>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B$1:$C$1</c:f>
              <c:strCache>
                <c:ptCount val="2"/>
                <c:pt idx="0">
                  <c:v>Current                        Spirits</c:v>
                </c:pt>
                <c:pt idx="1">
                  <c:v>July 24                                      Spirits</c:v>
                </c:pt>
              </c:strCache>
            </c:strRef>
          </c:cat>
          <c:val>
            <c:numRef>
              <c:f>Sheet1!$B$5:$C$5</c:f>
              <c:numCache>
                <c:formatCode>General</c:formatCode>
                <c:ptCount val="2"/>
                <c:pt idx="0">
                  <c:v>0</c:v>
                </c:pt>
                <c:pt idx="1">
                  <c:v>0</c:v>
                </c:pt>
              </c:numCache>
            </c:numRef>
          </c:val>
          <c:extLst>
            <c:ext xmlns:c15="http://schemas.microsoft.com/office/drawing/2012/chart" uri="{02D57815-91ED-43cb-92C2-25804820EDAC}">
              <c15:datalabelsRange>
                <c15:f>Sheet1!$B$6:$C$6</c15:f>
                <c15:dlblRangeCache>
                  <c:ptCount val="2"/>
                  <c:pt idx="0">
                    <c:v>55%</c:v>
                  </c:pt>
                  <c:pt idx="1">
                    <c:v>77%</c:v>
                  </c:pt>
                </c15:dlblRangeCache>
              </c15:datalabelsRange>
            </c:ext>
            <c:ext xmlns:c16="http://schemas.microsoft.com/office/drawing/2014/chart" uri="{C3380CC4-5D6E-409C-BE32-E72D297353CC}">
              <c16:uniqueId val="{00000005-9180-4B33-90CD-916FA9DE587C}"/>
            </c:ext>
          </c:extLst>
        </c:ser>
        <c:dLbls>
          <c:showLegendKey val="0"/>
          <c:showVal val="0"/>
          <c:showCatName val="0"/>
          <c:showSerName val="0"/>
          <c:showPercent val="0"/>
          <c:showBubbleSize val="0"/>
        </c:dLbls>
        <c:gapWidth val="75"/>
        <c:overlap val="100"/>
        <c:axId val="674894424"/>
        <c:axId val="674896392"/>
      </c:barChart>
      <c:catAx>
        <c:axId val="674894424"/>
        <c:scaling>
          <c:orientation val="minMax"/>
        </c:scaling>
        <c:delete val="0"/>
        <c:axPos val="b"/>
        <c:numFmt formatCode="General" sourceLinked="1"/>
        <c:majorTickMark val="none"/>
        <c:minorTickMark val="none"/>
        <c:tickLblPos val="nextTo"/>
        <c:spPr>
          <a:noFill/>
          <a:ln w="2857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j-lt"/>
                <a:ea typeface="+mn-ea"/>
                <a:cs typeface="+mn-cs"/>
              </a:defRPr>
            </a:pPr>
            <a:endParaRPr lang="en-US"/>
          </a:p>
        </c:txPr>
        <c:crossAx val="674896392"/>
        <c:crosses val="autoZero"/>
        <c:auto val="1"/>
        <c:lblAlgn val="ctr"/>
        <c:lblOffset val="100"/>
        <c:noMultiLvlLbl val="0"/>
      </c:catAx>
      <c:valAx>
        <c:axId val="674896392"/>
        <c:scaling>
          <c:orientation val="minMax"/>
        </c:scaling>
        <c:delete val="1"/>
        <c:axPos val="l"/>
        <c:numFmt formatCode="0.0%" sourceLinked="1"/>
        <c:majorTickMark val="none"/>
        <c:minorTickMark val="none"/>
        <c:tickLblPos val="nextTo"/>
        <c:crossAx val="674894424"/>
        <c:crosses val="autoZero"/>
        <c:crossBetween val="between"/>
      </c:valAx>
      <c:spPr>
        <a:noFill/>
        <a:ln>
          <a:noFill/>
        </a:ln>
        <a:effectLst/>
      </c:spPr>
    </c:plotArea>
    <c:legend>
      <c:legendPos val="t"/>
      <c:legendEntry>
        <c:idx val="3"/>
        <c:delete val="1"/>
      </c:legendEntry>
      <c:layout>
        <c:manualLayout>
          <c:xMode val="edge"/>
          <c:yMode val="edge"/>
          <c:x val="1.1171405173340832E-2"/>
          <c:y val="9.9254560417858292E-3"/>
          <c:w val="0.91421816245769794"/>
          <c:h val="7.000714137465924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240"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37E7296-944A-A144-A442-6F64D883BE1C}" type="slidenum">
              <a:rPr lang="en-US" smtClean="0"/>
              <a:t>1</a:t>
            </a:fld>
            <a:endParaRPr lang="en-US"/>
          </a:p>
        </p:txBody>
      </p:sp>
    </p:spTree>
    <p:extLst>
      <p:ext uri="{BB962C8B-B14F-4D97-AF65-F5344CB8AC3E}">
        <p14:creationId xmlns:p14="http://schemas.microsoft.com/office/powerpoint/2010/main" val="92303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100" b="1">
                <a:ea typeface="+mn-lt"/>
                <a:cs typeface="+mn-lt"/>
              </a:rPr>
              <a:t>NIQ is</a:t>
            </a:r>
            <a:r>
              <a:rPr lang="en-US" sz="1100">
                <a:ea typeface="+mn-lt"/>
                <a:cs typeface="+mn-lt"/>
              </a:rPr>
              <a:t> </a:t>
            </a:r>
            <a:r>
              <a:rPr lang="en-US" sz="1100" b="1">
                <a:ea typeface="+mn-lt"/>
                <a:cs typeface="+mn-lt"/>
              </a:rPr>
              <a:t>investing in our Liquor channel and is working on a series of enhancements</a:t>
            </a:r>
            <a:r>
              <a:rPr lang="en-US" sz="1100">
                <a:ea typeface="+mn-lt"/>
                <a:cs typeface="+mn-lt"/>
              </a:rPr>
              <a:t> over the next year. The first enhancement was California, which was launched in November 2022 and is a projection of the entire state including independent liquor stores. California is important because of its size, the diversity of the population in the state and the fact that many new innovations launch in CA.</a:t>
            </a:r>
          </a:p>
          <a:p>
            <a:pPr marL="0" lvl="0" indent="0" algn="l" rtl="0">
              <a:spcBef>
                <a:spcPts val="0"/>
              </a:spcBef>
              <a:spcAft>
                <a:spcPts val="0"/>
              </a:spcAft>
              <a:buNone/>
            </a:pPr>
            <a:endParaRPr lang="en-US"/>
          </a:p>
          <a:p>
            <a:endParaRPr lang="en-US"/>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a:p>
        </p:txBody>
      </p:sp>
    </p:spTree>
    <p:extLst>
      <p:ext uri="{BB962C8B-B14F-4D97-AF65-F5344CB8AC3E}">
        <p14:creationId xmlns:p14="http://schemas.microsoft.com/office/powerpoint/2010/main" val="4040834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37E7296-944A-A144-A442-6F64D883BE1C}" type="slidenum">
              <a:rPr lang="en-US" smtClean="0"/>
              <a:t>5</a:t>
            </a:fld>
            <a:endParaRPr lang="en-US"/>
          </a:p>
        </p:txBody>
      </p:sp>
    </p:spTree>
    <p:extLst>
      <p:ext uri="{BB962C8B-B14F-4D97-AF65-F5344CB8AC3E}">
        <p14:creationId xmlns:p14="http://schemas.microsoft.com/office/powerpoint/2010/main" val="178717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latin typeface="Calibri"/>
                <a:cs typeface="Calibri"/>
              </a:rPr>
              <a:t>Changes to expect</a:t>
            </a:r>
          </a:p>
        </p:txBody>
      </p:sp>
    </p:spTree>
    <p:extLst>
      <p:ext uri="{BB962C8B-B14F-4D97-AF65-F5344CB8AC3E}">
        <p14:creationId xmlns:p14="http://schemas.microsoft.com/office/powerpoint/2010/main" val="269083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9"/>
        <p:cNvGrpSpPr/>
        <p:nvPr/>
      </p:nvGrpSpPr>
      <p:grpSpPr>
        <a:xfrm>
          <a:off x="0" y="0"/>
          <a:ext cx="0" cy="0"/>
          <a:chOff x="0" y="0"/>
          <a:chExt cx="0" cy="0"/>
        </a:xfrm>
      </p:grpSpPr>
      <p:sp>
        <p:nvSpPr>
          <p:cNvPr id="1250" name="Google Shape;1250;gac14597a3a_1_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1" name="Google Shape;1251;gac14597a3a_1_2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6076292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image" Target="../media/image1.pn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4560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410358" y="1"/>
            <a:ext cx="4733642"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74534863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4572000" y="0"/>
            <a:ext cx="4572000" cy="51435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0332510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4940065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8492963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6239911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7204604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27354979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34882597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2952001" y="1086314"/>
            <a:ext cx="6192000" cy="3245925"/>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3857625" y="1169658"/>
            <a:ext cx="4381500" cy="2828925"/>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0560194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43555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8" y="1013423"/>
            <a:ext cx="4355581"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5782539" y="898130"/>
            <a:ext cx="2322000" cy="3590865"/>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6170709" y="966472"/>
            <a:ext cx="1543050" cy="333756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5541062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3740165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18158" y="0"/>
            <a:ext cx="4725843"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13816429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Inside - White/title/body text">
  <p:cSld name="Inside - White/title/body text">
    <p:spTree>
      <p:nvGrpSpPr>
        <p:cNvPr id="1" name="Shape 64"/>
        <p:cNvGrpSpPr/>
        <p:nvPr/>
      </p:nvGrpSpPr>
      <p:grpSpPr>
        <a:xfrm>
          <a:off x="0" y="0"/>
          <a:ext cx="0" cy="0"/>
          <a:chOff x="0" y="0"/>
          <a:chExt cx="0" cy="0"/>
        </a:xfrm>
      </p:grpSpPr>
      <p:sp>
        <p:nvSpPr>
          <p:cNvPr id="66" name="Google Shape;66;p7"/>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a:p>
        </p:txBody>
      </p:sp>
      <p:sp>
        <p:nvSpPr>
          <p:cNvPr id="67" name="Google Shape;67;p7"/>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274307" lvl="0" indent="-274307" rtl="0">
              <a:spcBef>
                <a:spcPts val="0"/>
              </a:spcBef>
              <a:spcAft>
                <a:spcPts val="0"/>
              </a:spcAft>
              <a:buSzPts val="1300"/>
              <a:buChar char="■"/>
              <a:defRPr>
                <a:latin typeface="Montserrat" panose="00000500000000000000" pitchFamily="2" charset="0"/>
              </a:defRPr>
            </a:lvl1pPr>
            <a:lvl2pPr marL="914355" lvl="1" indent="-304786" rtl="0">
              <a:spcBef>
                <a:spcPts val="1600"/>
              </a:spcBef>
              <a:spcAft>
                <a:spcPts val="0"/>
              </a:spcAft>
              <a:buSzPts val="1200"/>
              <a:buChar char="⎼"/>
              <a:defRPr/>
            </a:lvl2pPr>
            <a:lvl3pPr marL="1371532" lvl="2" indent="-292086" rtl="0">
              <a:spcBef>
                <a:spcPts val="1600"/>
              </a:spcBef>
              <a:spcAft>
                <a:spcPts val="0"/>
              </a:spcAft>
              <a:buSzPts val="1000"/>
              <a:buChar char="○"/>
              <a:defRPr/>
            </a:lvl3pPr>
            <a:lvl4pPr marL="1828709" lvl="3" indent="-292086" rtl="0">
              <a:spcBef>
                <a:spcPts val="1600"/>
              </a:spcBef>
              <a:spcAft>
                <a:spcPts val="0"/>
              </a:spcAft>
              <a:buSzPts val="1000"/>
              <a:buChar char="■"/>
              <a:defRPr/>
            </a:lvl4pPr>
            <a:lvl5pPr marL="2285886" lvl="4" indent="-292086" rtl="0">
              <a:spcBef>
                <a:spcPts val="1600"/>
              </a:spcBef>
              <a:spcAft>
                <a:spcPts val="0"/>
              </a:spcAft>
              <a:buSzPts val="1000"/>
              <a:buChar char="⎼"/>
              <a:defRPr/>
            </a:lvl5pPr>
            <a:lvl6pPr marL="2743064" lvl="5" indent="-292086" rtl="0">
              <a:spcBef>
                <a:spcPts val="1600"/>
              </a:spcBef>
              <a:spcAft>
                <a:spcPts val="0"/>
              </a:spcAft>
              <a:buSzPts val="1000"/>
              <a:buChar char="○"/>
              <a:defRPr/>
            </a:lvl6pPr>
            <a:lvl7pPr marL="3200240" lvl="6" indent="-292086" rtl="0">
              <a:spcBef>
                <a:spcPts val="1600"/>
              </a:spcBef>
              <a:spcAft>
                <a:spcPts val="0"/>
              </a:spcAft>
              <a:buSzPts val="1000"/>
              <a:buChar char="■"/>
              <a:defRPr/>
            </a:lvl7pPr>
            <a:lvl8pPr marL="3657418" lvl="7" indent="-292086" rtl="0">
              <a:spcBef>
                <a:spcPts val="1600"/>
              </a:spcBef>
              <a:spcAft>
                <a:spcPts val="0"/>
              </a:spcAft>
              <a:buSzPts val="1000"/>
              <a:buChar char="⎼"/>
              <a:defRPr/>
            </a:lvl8pPr>
            <a:lvl9pPr marL="4114595" lvl="8" indent="-292086" rtl="0">
              <a:spcBef>
                <a:spcPts val="1600"/>
              </a:spcBef>
              <a:spcAft>
                <a:spcPts val="1600"/>
              </a:spcAft>
              <a:buSzPts val="1000"/>
              <a:buChar char="○"/>
              <a:defRPr/>
            </a:lvl9pPr>
          </a:lstStyle>
          <a:p>
            <a:endParaRPr/>
          </a:p>
        </p:txBody>
      </p:sp>
      <p:sp>
        <p:nvSpPr>
          <p:cNvPr id="69" name="Google Shape;69;p7"/>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marL="311135" lvl="0" indent="-311135" rtl="0">
              <a:lnSpc>
                <a:spcPct val="100000"/>
              </a:lnSpc>
              <a:spcBef>
                <a:spcPts val="0"/>
              </a:spcBef>
              <a:spcAft>
                <a:spcPts val="0"/>
              </a:spcAft>
              <a:buClr>
                <a:schemeClr val="accent5"/>
              </a:buClr>
              <a:buSzPts val="1500"/>
              <a:buNone/>
              <a:defRPr sz="15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425">
                <a:solidFill>
                  <a:schemeClr val="accent5"/>
                </a:solidFill>
              </a:defRPr>
            </a:lvl2pPr>
            <a:lvl3pPr lvl="2" rtl="0">
              <a:lnSpc>
                <a:spcPct val="100000"/>
              </a:lnSpc>
              <a:spcBef>
                <a:spcPts val="0"/>
              </a:spcBef>
              <a:spcAft>
                <a:spcPts val="0"/>
              </a:spcAft>
              <a:buClr>
                <a:schemeClr val="accent5"/>
              </a:buClr>
              <a:buSzPts val="1400"/>
              <a:buNone/>
              <a:defRPr sz="1425">
                <a:solidFill>
                  <a:schemeClr val="accent5"/>
                </a:solidFill>
              </a:defRPr>
            </a:lvl3pPr>
            <a:lvl4pPr lvl="3" rtl="0">
              <a:lnSpc>
                <a:spcPct val="100000"/>
              </a:lnSpc>
              <a:spcBef>
                <a:spcPts val="0"/>
              </a:spcBef>
              <a:spcAft>
                <a:spcPts val="0"/>
              </a:spcAft>
              <a:buClr>
                <a:schemeClr val="accent5"/>
              </a:buClr>
              <a:buSzPts val="1400"/>
              <a:buNone/>
              <a:defRPr sz="1425">
                <a:solidFill>
                  <a:schemeClr val="accent5"/>
                </a:solidFill>
              </a:defRPr>
            </a:lvl4pPr>
            <a:lvl5pPr lvl="4" rtl="0">
              <a:lnSpc>
                <a:spcPct val="100000"/>
              </a:lnSpc>
              <a:spcBef>
                <a:spcPts val="0"/>
              </a:spcBef>
              <a:spcAft>
                <a:spcPts val="0"/>
              </a:spcAft>
              <a:buClr>
                <a:schemeClr val="accent5"/>
              </a:buClr>
              <a:buSzPts val="1400"/>
              <a:buNone/>
              <a:defRPr sz="1425">
                <a:solidFill>
                  <a:schemeClr val="accent5"/>
                </a:solidFill>
              </a:defRPr>
            </a:lvl5pPr>
            <a:lvl6pPr lvl="5" rtl="0">
              <a:lnSpc>
                <a:spcPct val="100000"/>
              </a:lnSpc>
              <a:spcBef>
                <a:spcPts val="0"/>
              </a:spcBef>
              <a:spcAft>
                <a:spcPts val="0"/>
              </a:spcAft>
              <a:buClr>
                <a:schemeClr val="accent5"/>
              </a:buClr>
              <a:buSzPts val="1400"/>
              <a:buNone/>
              <a:defRPr sz="1425">
                <a:solidFill>
                  <a:schemeClr val="accent5"/>
                </a:solidFill>
              </a:defRPr>
            </a:lvl6pPr>
            <a:lvl7pPr lvl="6" rtl="0">
              <a:lnSpc>
                <a:spcPct val="100000"/>
              </a:lnSpc>
              <a:spcBef>
                <a:spcPts val="0"/>
              </a:spcBef>
              <a:spcAft>
                <a:spcPts val="0"/>
              </a:spcAft>
              <a:buClr>
                <a:schemeClr val="accent5"/>
              </a:buClr>
              <a:buSzPts val="1400"/>
              <a:buNone/>
              <a:defRPr sz="1425">
                <a:solidFill>
                  <a:schemeClr val="accent5"/>
                </a:solidFill>
              </a:defRPr>
            </a:lvl7pPr>
            <a:lvl8pPr lvl="7" rtl="0">
              <a:lnSpc>
                <a:spcPct val="100000"/>
              </a:lnSpc>
              <a:spcBef>
                <a:spcPts val="0"/>
              </a:spcBef>
              <a:spcAft>
                <a:spcPts val="0"/>
              </a:spcAft>
              <a:buClr>
                <a:schemeClr val="accent5"/>
              </a:buClr>
              <a:buSzPts val="1400"/>
              <a:buNone/>
              <a:defRPr sz="1425">
                <a:solidFill>
                  <a:schemeClr val="accent5"/>
                </a:solidFill>
              </a:defRPr>
            </a:lvl8pPr>
            <a:lvl9pPr lvl="8" rtl="0">
              <a:lnSpc>
                <a:spcPct val="100000"/>
              </a:lnSpc>
              <a:spcBef>
                <a:spcPts val="0"/>
              </a:spcBef>
              <a:spcAft>
                <a:spcPts val="0"/>
              </a:spcAft>
              <a:buClr>
                <a:schemeClr val="accent5"/>
              </a:buClr>
              <a:buSzPts val="1400"/>
              <a:buNone/>
              <a:defRPr sz="1425">
                <a:solidFill>
                  <a:schemeClr val="accent5"/>
                </a:solidFill>
              </a:defRPr>
            </a:lvl9pPr>
          </a:lstStyle>
          <a:p>
            <a:endParaRPr/>
          </a:p>
        </p:txBody>
      </p:sp>
      <p:sp>
        <p:nvSpPr>
          <p:cNvPr id="72" name="Google Shape;72;p7"/>
          <p:cNvSpPr txBox="1">
            <a:spLocks noGrp="1"/>
          </p:cNvSpPr>
          <p:nvPr>
            <p:ph type="subTitle" idx="3"/>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tabLst/>
              <a:defRPr sz="6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endParaRPr/>
          </a:p>
        </p:txBody>
      </p:sp>
      <p:sp>
        <p:nvSpPr>
          <p:cNvPr id="10" name="Slide Number Placeholder 1">
            <a:extLst>
              <a:ext uri="{FF2B5EF4-FFF2-40B4-BE49-F238E27FC236}">
                <a16:creationId xmlns:a16="http://schemas.microsoft.com/office/drawing/2014/main" id="{DECBD0CE-CBB5-47E2-9811-68DFF5D91FC4}"/>
              </a:ext>
            </a:extLst>
          </p:cNvPr>
          <p:cNvSpPr txBox="1">
            <a:spLocks/>
          </p:cNvSpPr>
          <p:nvPr userDrawn="1"/>
        </p:nvSpPr>
        <p:spPr>
          <a:xfrm>
            <a:off x="6732050" y="4809375"/>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750" smtClean="0">
                <a:solidFill>
                  <a:schemeClr val="tx1"/>
                </a:solidFill>
                <a:latin typeface="Montserrat" panose="00000500000000000000" pitchFamily="2" charset="0"/>
              </a:rPr>
              <a:pPr/>
              <a:t>‹#›</a:t>
            </a:fld>
            <a:endParaRPr lang="en-PH" sz="750">
              <a:solidFill>
                <a:schemeClr val="tx1"/>
              </a:solidFill>
              <a:latin typeface="Montserrat" panose="00000500000000000000" pitchFamily="2" charset="0"/>
            </a:endParaRPr>
          </a:p>
        </p:txBody>
      </p:sp>
    </p:spTree>
    <p:extLst>
      <p:ext uri="{BB962C8B-B14F-4D97-AF65-F5344CB8AC3E}">
        <p14:creationId xmlns:p14="http://schemas.microsoft.com/office/powerpoint/2010/main" val="28283973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20" y="986162"/>
            <a:ext cx="6476042" cy="1899395"/>
          </a:xfrm>
          <a:prstGeom prst="rect">
            <a:avLst/>
          </a:prstGeom>
        </p:spPr>
        <p:txBody>
          <a:bodyPr anchor="b" anchorCtr="0">
            <a:noAutofit/>
          </a:bodyPr>
          <a:lstStyle>
            <a:lvl1pPr algn="l">
              <a:defRPr sz="36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933068"/>
            <a:ext cx="647604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349028109"/>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20" y="986162"/>
            <a:ext cx="6476042" cy="1899395"/>
          </a:xfrm>
          <a:prstGeom prst="rect">
            <a:avLst/>
          </a:prstGeom>
        </p:spPr>
        <p:txBody>
          <a:bodyPr anchor="b" anchorCtr="0">
            <a:noAutofit/>
          </a:bodyPr>
          <a:lstStyle>
            <a:lvl1pPr algn="l">
              <a:defRPr sz="36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933068"/>
            <a:ext cx="647604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836996996"/>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4439" y="0"/>
            <a:ext cx="4937504" cy="511900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20" y="986162"/>
            <a:ext cx="6476042" cy="1899395"/>
          </a:xfrm>
          <a:prstGeom prst="rect">
            <a:avLst/>
          </a:prstGeom>
        </p:spPr>
        <p:txBody>
          <a:bodyPr anchor="b" anchorCtr="0">
            <a:noAutofit/>
          </a:bodyPr>
          <a:lstStyle>
            <a:lvl1pPr algn="l">
              <a:defRPr sz="36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933068"/>
            <a:ext cx="647604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45455259"/>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0" y="-1"/>
            <a:ext cx="4798370" cy="513513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20" y="986162"/>
            <a:ext cx="6476042" cy="1899395"/>
          </a:xfrm>
          <a:prstGeom prst="rect">
            <a:avLst/>
          </a:prstGeom>
        </p:spPr>
        <p:txBody>
          <a:bodyPr anchor="b" anchorCtr="0">
            <a:noAutofit/>
          </a:bodyPr>
          <a:lstStyle>
            <a:lvl1pPr algn="l">
              <a:defRPr sz="36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933068"/>
            <a:ext cx="647604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492937546"/>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16418" y="476276"/>
            <a:ext cx="6481562" cy="1790700"/>
          </a:xfrm>
        </p:spPr>
        <p:txBody>
          <a:bodyPr anchor="b">
            <a:noAutofit/>
          </a:bodyPr>
          <a:lstStyle>
            <a:lvl1pPr algn="l">
              <a:defRPr sz="2700">
                <a:solidFill>
                  <a:schemeClr val="bg1"/>
                </a:solidFill>
              </a:defRPr>
            </a:lvl1pPr>
          </a:lstStyle>
          <a:p>
            <a:r>
              <a:rPr lang="en-US"/>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16419"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16419" y="3530611"/>
            <a:ext cx="6481562" cy="31759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8238994" y="4826403"/>
            <a:ext cx="676406" cy="273844"/>
          </a:xfrm>
        </p:spPr>
        <p:txBody>
          <a:bodyPr/>
          <a:lstStyle>
            <a:lvl1pPr>
              <a:defRPr>
                <a:solidFill>
                  <a:schemeClr val="bg1"/>
                </a:solidFill>
              </a:defRPr>
            </a:lvl1pPr>
          </a:lstStyle>
          <a:p>
            <a:fld id="{403EF4E2-7A7A-0548-85F1-5479B7C9E1B2}" type="slidenum">
              <a:rPr lang="en-US" smtClean="0"/>
              <a:pPr/>
              <a:t>‹#›</a:t>
            </a:fld>
            <a:endParaRPr lang="en-US"/>
          </a:p>
        </p:txBody>
      </p:sp>
      <p:sp>
        <p:nvSpPr>
          <p:cNvPr id="6" name="TextBox 5">
            <a:extLst>
              <a:ext uri="{FF2B5EF4-FFF2-40B4-BE49-F238E27FC236}">
                <a16:creationId xmlns:a16="http://schemas.microsoft.com/office/drawing/2014/main" id="{F7DAD2E5-E506-6900-CAA8-ABF57EC21828}"/>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84495249"/>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p:spPr>
        <p:txBody>
          <a:bodyPr anchor="b">
            <a:noAutofit/>
          </a:bodyPr>
          <a:lstStyle>
            <a:lvl1pPr algn="l">
              <a:defRPr sz="27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16419"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16419" y="3530611"/>
            <a:ext cx="6481562" cy="31759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8238994" y="4826403"/>
            <a:ext cx="676406" cy="273844"/>
          </a:xfrm>
        </p:spPr>
        <p:txBody>
          <a:bodyPr/>
          <a:lstStyle>
            <a:lvl1pPr>
              <a:defRPr>
                <a:solidFill>
                  <a:schemeClr val="tx1"/>
                </a:solidFill>
              </a:defRPr>
            </a:lvl1pPr>
          </a:lstStyle>
          <a:p>
            <a:fld id="{403EF4E2-7A7A-0548-85F1-5479B7C9E1B2}" type="slidenum">
              <a:rPr lang="en-US" smtClean="0"/>
              <a:pPr/>
              <a:t>‹#›</a:t>
            </a:fld>
            <a:endParaRPr lang="en-US"/>
          </a:p>
        </p:txBody>
      </p:sp>
      <p:sp>
        <p:nvSpPr>
          <p:cNvPr id="7" name="TextBox 6">
            <a:extLst>
              <a:ext uri="{FF2B5EF4-FFF2-40B4-BE49-F238E27FC236}">
                <a16:creationId xmlns:a16="http://schemas.microsoft.com/office/drawing/2014/main" id="{32D8B9DE-B64C-1B72-C8EC-3F3105E9CE2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79308"/>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28926236"/>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005497154"/>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48332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403657" y="-16913"/>
            <a:ext cx="4740344"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1434"/>
            <a:ext cx="914399" cy="387879"/>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385520498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3626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1829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86334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1637263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16419" y="634273"/>
            <a:ext cx="8686800" cy="369332"/>
          </a:xfrm>
          <a:solidFill>
            <a:schemeClr val="tx2"/>
          </a:solidFill>
        </p:spPr>
        <p:txBody>
          <a:bodyPr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09199" y="538955"/>
            <a:ext cx="871116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6516801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a:prstGeom prst="rect">
            <a:avLst/>
          </a:prstGeo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3206769" y="590312"/>
            <a:ext cx="5696449"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Tree>
    <p:extLst>
      <p:ext uri="{BB962C8B-B14F-4D97-AF65-F5344CB8AC3E}">
        <p14:creationId xmlns:p14="http://schemas.microsoft.com/office/powerpoint/2010/main" val="2856677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a:prstGeom prst="rect">
            <a:avLst/>
          </a:prstGeo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3206769" y="590312"/>
            <a:ext cx="5696449"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Tree>
    <p:extLst>
      <p:ext uri="{BB962C8B-B14F-4D97-AF65-F5344CB8AC3E}">
        <p14:creationId xmlns:p14="http://schemas.microsoft.com/office/powerpoint/2010/main" val="36091431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a:prstGeom prst="rect">
            <a:avLst/>
          </a:prstGeo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3206769" y="590312"/>
            <a:ext cx="5696449"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Tree>
    <p:extLst>
      <p:ext uri="{BB962C8B-B14F-4D97-AF65-F5344CB8AC3E}">
        <p14:creationId xmlns:p14="http://schemas.microsoft.com/office/powerpoint/2010/main" val="23663421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16418"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09199"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1505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16418"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09199"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3868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4310743" y="-24653"/>
            <a:ext cx="4833257" cy="5168153"/>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48335276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16419" y="4488996"/>
            <a:ext cx="414572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16418"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09199"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4754551"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4747332" y="538955"/>
            <a:ext cx="41573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4769681" y="134229"/>
            <a:ext cx="4164458" cy="298013"/>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4pt</a:t>
            </a:r>
          </a:p>
        </p:txBody>
      </p:sp>
    </p:spTree>
    <p:extLst>
      <p:ext uri="{BB962C8B-B14F-4D97-AF65-F5344CB8AC3E}">
        <p14:creationId xmlns:p14="http://schemas.microsoft.com/office/powerpoint/2010/main" val="8717009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16419" y="4488996"/>
            <a:ext cx="414572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16418"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09199"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4754551" y="634273"/>
            <a:ext cx="4145720" cy="369332"/>
          </a:xfrm>
          <a:solidFill>
            <a:schemeClr val="bg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4747332" y="538955"/>
            <a:ext cx="41573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4769681" y="134229"/>
            <a:ext cx="4164458" cy="298013"/>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4pt</a:t>
            </a:r>
          </a:p>
        </p:txBody>
      </p:sp>
    </p:spTree>
    <p:extLst>
      <p:ext uri="{BB962C8B-B14F-4D97-AF65-F5344CB8AC3E}">
        <p14:creationId xmlns:p14="http://schemas.microsoft.com/office/powerpoint/2010/main" val="42189171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16419" y="4488996"/>
            <a:ext cx="414572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16418"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09199"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4754551" y="634273"/>
            <a:ext cx="4145720" cy="369332"/>
          </a:xfr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4747332" y="538955"/>
            <a:ext cx="415734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4769681" y="134229"/>
            <a:ext cx="4164458" cy="298013"/>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4pt</a:t>
            </a:r>
          </a:p>
        </p:txBody>
      </p:sp>
    </p:spTree>
    <p:extLst>
      <p:ext uri="{BB962C8B-B14F-4D97-AF65-F5344CB8AC3E}">
        <p14:creationId xmlns:p14="http://schemas.microsoft.com/office/powerpoint/2010/main" val="35941114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9295691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27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16419"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16419" y="3530611"/>
            <a:ext cx="6481562" cy="31759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1368714"/>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7790258" y="330340"/>
            <a:ext cx="1125141" cy="384782"/>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836510175"/>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7790258" y="4275145"/>
            <a:ext cx="1125141" cy="384782"/>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18241308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15131" y="-24652"/>
            <a:ext cx="4728869"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7790258" y="4275145"/>
            <a:ext cx="1125141" cy="384782"/>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556270069"/>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30013" y="0"/>
            <a:ext cx="4713987" cy="510556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7790258" y="4275145"/>
            <a:ext cx="1125141" cy="384782"/>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840334509"/>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410358" y="1"/>
            <a:ext cx="4733642"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7790258" y="4275145"/>
            <a:ext cx="1125141" cy="384782"/>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1289276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05462" y="-12248"/>
            <a:ext cx="4738538" cy="51435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419484628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18158" y="0"/>
            <a:ext cx="4725843"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7790258" y="4275145"/>
            <a:ext cx="1125141" cy="384782"/>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088648747"/>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151571"/>
            <a:ext cx="6481562" cy="1790700"/>
          </a:xfrm>
          <a:prstGeom prst="rect">
            <a:avLst/>
          </a:prstGeom>
        </p:spPr>
        <p:txBody>
          <a:bodyPr anchor="t" anchorCtr="0">
            <a:noAutofit/>
          </a:bodyPr>
          <a:lstStyle>
            <a:lvl1pPr algn="l">
              <a:defRPr sz="4050">
                <a:solidFill>
                  <a:schemeClr val="tx1"/>
                </a:solidFill>
              </a:defRPr>
            </a:lvl1pPr>
          </a:lstStyle>
          <a:p>
            <a:r>
              <a:rPr lang="en-US"/>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7790258" y="330340"/>
            <a:ext cx="1125141" cy="384782"/>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06007761"/>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3001780" y="0"/>
            <a:ext cx="6142219" cy="5143500"/>
          </a:xfrm>
          <a:solidFill>
            <a:schemeClr val="tx1"/>
          </a:solidFill>
        </p:spPr>
        <p:txBody>
          <a:bodyPr anchor="ctr" anchorCtr="0"/>
          <a:lstStyle>
            <a:lvl1pPr marL="0" indent="0" algn="ctr">
              <a:buNone/>
              <a:defRPr>
                <a:solidFill>
                  <a:schemeClr val="bg1"/>
                </a:solidFill>
              </a:defRPr>
            </a:lvl1pPr>
          </a:lstStyle>
          <a:p>
            <a:r>
              <a:rPr lang="en-US"/>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397621" y="14384"/>
            <a:ext cx="4160535" cy="4160535"/>
          </a:xfrm>
          <a:prstGeom prst="ellipse">
            <a:avLst/>
          </a:prstGeom>
          <a:solidFill>
            <a:schemeClr val="bg2"/>
          </a:solidFill>
        </p:spPr>
        <p:txBody>
          <a:bodyPr tIns="0" bIns="0" anchor="ctr" anchorCtr="0"/>
          <a:lstStyle>
            <a:lvl1pPr marL="0" indent="0" algn="l">
              <a:buFont typeface="Arial" panose="020B0604020202020204" pitchFamily="34" charset="0"/>
              <a:buNone/>
              <a:defRPr sz="2700" b="1">
                <a:solidFill>
                  <a:schemeClr val="bg1"/>
                </a:solidFill>
                <a:latin typeface="+mj-lt"/>
              </a:defRPr>
            </a:lvl1pPr>
            <a:lvl2pPr marL="342900" indent="0" algn="ctr">
              <a:buFont typeface="Arial" panose="020B0604020202020204" pitchFamily="34" charset="0"/>
              <a:buNone/>
              <a:defRPr sz="2700">
                <a:solidFill>
                  <a:schemeClr val="bg1"/>
                </a:solidFill>
                <a:latin typeface="+mj-lt"/>
              </a:defRPr>
            </a:lvl2pPr>
            <a:lvl3pPr marL="685800" indent="0" algn="ctr">
              <a:buFont typeface="Arial" panose="020B0604020202020204" pitchFamily="34" charset="0"/>
              <a:buNone/>
              <a:defRPr sz="2700">
                <a:solidFill>
                  <a:schemeClr val="bg1"/>
                </a:solidFill>
                <a:latin typeface="+mj-lt"/>
              </a:defRPr>
            </a:lvl3pPr>
            <a:lvl4pPr marL="1028700" indent="0" algn="ctr">
              <a:buFont typeface="Arial" panose="020B0604020202020204" pitchFamily="34" charset="0"/>
              <a:buNone/>
              <a:defRPr sz="2700">
                <a:solidFill>
                  <a:schemeClr val="bg1"/>
                </a:solidFill>
                <a:latin typeface="+mj-lt"/>
              </a:defRPr>
            </a:lvl4pPr>
            <a:lvl5pPr marL="1371600" indent="0" algn="ctr">
              <a:buFont typeface="Arial" panose="020B0604020202020204" pitchFamily="34" charset="0"/>
              <a:buNone/>
              <a:defRPr sz="27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1677829" y="4270821"/>
            <a:ext cx="1125141" cy="384782"/>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977944408"/>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4728869" cy="5118848"/>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963827" y="4844229"/>
            <a:ext cx="1125141" cy="273844"/>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438874272"/>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3931745" cy="433381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963827" y="4844229"/>
            <a:ext cx="1125141" cy="273844"/>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187311604"/>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3931745" cy="4333815"/>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963827" y="4844229"/>
            <a:ext cx="1125141" cy="273844"/>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26867565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60"/>
            <a:ext cx="3931745" cy="4334375"/>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963827" y="4844229"/>
            <a:ext cx="1125141" cy="273844"/>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601282936"/>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561"/>
            <a:ext cx="3931912" cy="4334375"/>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963827" y="4844229"/>
            <a:ext cx="1125141" cy="273844"/>
          </a:xfrm>
          <a:no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106714526"/>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8086850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58055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15130" y="-24652"/>
            <a:ext cx="4728870" cy="512442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57953364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4119200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6141835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0833019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2263044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6100063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8772562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8806324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64792499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890971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0221453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408439686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3108469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94913304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6885043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7612532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67049530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74468999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4525103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4572000" y="0"/>
            <a:ext cx="4572000" cy="51435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640018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7764869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741962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151571"/>
            <a:ext cx="6481562" cy="1790700"/>
          </a:xfrm>
          <a:prstGeom prst="rect">
            <a:avLst/>
          </a:prstGeom>
        </p:spPr>
        <p:txBody>
          <a:bodyPr anchor="t" anchorCtr="0">
            <a:noAutofit/>
          </a:bodyPr>
          <a:lstStyle>
            <a:lvl1pPr algn="l">
              <a:defRPr sz="4050">
                <a:solidFill>
                  <a:schemeClr val="tx1"/>
                </a:solidFill>
              </a:defRPr>
            </a:lvl1pPr>
          </a:lstStyle>
          <a:p>
            <a:r>
              <a:rPr lang="en-US"/>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9594303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773548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45559330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6515150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6071071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2952001" y="1086314"/>
            <a:ext cx="6192000" cy="3245925"/>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3857625" y="1169658"/>
            <a:ext cx="4381500" cy="2828925"/>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7470818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43555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8" y="1013423"/>
            <a:ext cx="4355581"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5782539" y="898130"/>
            <a:ext cx="2322000" cy="3590865"/>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6170709" y="966472"/>
            <a:ext cx="1543050" cy="333756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5937739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333982586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p:spPr>
        <p:txBody>
          <a:bodyPr anchor="b">
            <a:noAutofit/>
          </a:bodyPr>
          <a:lstStyle>
            <a:lvl1pPr algn="l">
              <a:defRPr sz="27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16419"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16419" y="3530611"/>
            <a:ext cx="6481562" cy="31759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8238994" y="4826403"/>
            <a:ext cx="676406" cy="273844"/>
          </a:xfrm>
        </p:spPr>
        <p:txBody>
          <a:bodyPr/>
          <a:lstStyle>
            <a:lvl1pPr>
              <a:defRPr>
                <a:solidFill>
                  <a:schemeClr val="tx1"/>
                </a:solidFill>
              </a:defRPr>
            </a:lvl1pPr>
          </a:lstStyle>
          <a:p>
            <a:fld id="{403EF4E2-7A7A-0548-85F1-5479B7C9E1B2}" type="slidenum">
              <a:rPr lang="en-US" smtClean="0"/>
              <a:pPr/>
              <a:t>‹#›</a:t>
            </a:fld>
            <a:endParaRPr lang="en-US"/>
          </a:p>
        </p:txBody>
      </p:sp>
      <p:sp>
        <p:nvSpPr>
          <p:cNvPr id="7" name="TextBox 6">
            <a:extLst>
              <a:ext uri="{FF2B5EF4-FFF2-40B4-BE49-F238E27FC236}">
                <a16:creationId xmlns:a16="http://schemas.microsoft.com/office/drawing/2014/main" id="{32D8B9DE-B64C-1B72-C8EC-3F3105E9CE2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7790258" y="4275145"/>
            <a:ext cx="1125141" cy="384782"/>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1824454958"/>
      </p:ext>
    </p:extLst>
  </p:cSld>
  <p:clrMapOvr>
    <a:overrideClrMapping bg1="lt1" tx1="dk1" bg2="lt2" tx2="dk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8265826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0831450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3001780" y="0"/>
            <a:ext cx="6142219" cy="5143500"/>
          </a:xfrm>
          <a:solidFill>
            <a:schemeClr val="tx1"/>
          </a:solidFill>
        </p:spPr>
        <p:txBody>
          <a:bodyPr anchor="ctr" anchorCtr="0"/>
          <a:lstStyle>
            <a:lvl1pPr marL="0" indent="0" algn="ctr">
              <a:buNone/>
              <a:defRPr>
                <a:solidFill>
                  <a:schemeClr val="bg1"/>
                </a:solidFill>
              </a:defRPr>
            </a:lvl1pPr>
          </a:lstStyle>
          <a:p>
            <a:r>
              <a:rPr lang="en-US"/>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397621" y="14384"/>
            <a:ext cx="4160535" cy="4160535"/>
          </a:xfrm>
          <a:prstGeom prst="ellipse">
            <a:avLst/>
          </a:prstGeom>
          <a:solidFill>
            <a:schemeClr val="bg2"/>
          </a:solidFill>
        </p:spPr>
        <p:txBody>
          <a:bodyPr tIns="0" bIns="0" anchor="ctr" anchorCtr="0"/>
          <a:lstStyle>
            <a:lvl1pPr marL="0" indent="0" algn="l">
              <a:buFont typeface="Arial" panose="020B0604020202020204" pitchFamily="34" charset="0"/>
              <a:buNone/>
              <a:defRPr sz="2700" b="1">
                <a:solidFill>
                  <a:schemeClr val="bg1"/>
                </a:solidFill>
                <a:latin typeface="+mj-lt"/>
              </a:defRPr>
            </a:lvl1pPr>
            <a:lvl2pPr marL="342900" indent="0" algn="ctr">
              <a:buFont typeface="Arial" panose="020B0604020202020204" pitchFamily="34" charset="0"/>
              <a:buNone/>
              <a:defRPr sz="2700">
                <a:solidFill>
                  <a:schemeClr val="bg1"/>
                </a:solidFill>
                <a:latin typeface="+mj-lt"/>
              </a:defRPr>
            </a:lvl2pPr>
            <a:lvl3pPr marL="685800" indent="0" algn="ctr">
              <a:buFont typeface="Arial" panose="020B0604020202020204" pitchFamily="34" charset="0"/>
              <a:buNone/>
              <a:defRPr sz="2700">
                <a:solidFill>
                  <a:schemeClr val="bg1"/>
                </a:solidFill>
                <a:latin typeface="+mj-lt"/>
              </a:defRPr>
            </a:lvl3pPr>
            <a:lvl4pPr marL="1028700" indent="0" algn="ctr">
              <a:buFont typeface="Arial" panose="020B0604020202020204" pitchFamily="34" charset="0"/>
              <a:buNone/>
              <a:defRPr sz="2700">
                <a:solidFill>
                  <a:schemeClr val="bg1"/>
                </a:solidFill>
                <a:latin typeface="+mj-lt"/>
              </a:defRPr>
            </a:lvl4pPr>
            <a:lvl5pPr marL="1371600" indent="0" algn="ctr">
              <a:buFont typeface="Arial" panose="020B0604020202020204" pitchFamily="34" charset="0"/>
              <a:buNone/>
              <a:defRPr sz="27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Tree>
    <p:extLst>
      <p:ext uri="{BB962C8B-B14F-4D97-AF65-F5344CB8AC3E}">
        <p14:creationId xmlns:p14="http://schemas.microsoft.com/office/powerpoint/2010/main" val="85642288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79910720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2202708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168722150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232159885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52843795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370970554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74603504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8582967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91858302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7748390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Box 1">
            <a:extLst>
              <a:ext uri="{FF2B5EF4-FFF2-40B4-BE49-F238E27FC236}">
                <a16:creationId xmlns:a16="http://schemas.microsoft.com/office/drawing/2014/main" id="{193C76AA-4DF2-00B8-801D-4B1D52D471DD}"/>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239405924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59720390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3037463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363018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41568359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558689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2972929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2514023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4572000" y="0"/>
            <a:ext cx="4572000" cy="51435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13902090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4729532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707965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85000"/>
                  </a:schemeClr>
                </a:solidFill>
              </a:rPr>
              <a:t>© 2023 Nielsen Consumer LLC. All Rights Reserved.</a:t>
            </a:r>
          </a:p>
        </p:txBody>
      </p:sp>
    </p:spTree>
    <p:extLst>
      <p:ext uri="{BB962C8B-B14F-4D97-AF65-F5344CB8AC3E}">
        <p14:creationId xmlns:p14="http://schemas.microsoft.com/office/powerpoint/2010/main" val="1117919110"/>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56" name="Google Shape;56;p6"/>
          <p:cNvSpPr txBox="1">
            <a:spLocks noGrp="1"/>
          </p:cNvSpPr>
          <p:nvPr>
            <p:ph type="ctrTitle"/>
          </p:nvPr>
        </p:nvSpPr>
        <p:spPr>
          <a:xfrm>
            <a:off x="354650" y="380025"/>
            <a:ext cx="6268200" cy="11388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36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57" name="Google Shape;57;p6"/>
          <p:cNvSpPr txBox="1">
            <a:spLocks noGrp="1"/>
          </p:cNvSpPr>
          <p:nvPr>
            <p:ph type="subTitle" idx="1"/>
          </p:nvPr>
        </p:nvSpPr>
        <p:spPr>
          <a:xfrm>
            <a:off x="354650" y="1403300"/>
            <a:ext cx="6268200" cy="4941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18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9pPr>
          </a:lstStyle>
          <a:p>
            <a:r>
              <a:rPr lang="en-US"/>
              <a:t>Click to edit Master subtitle style</a:t>
            </a:r>
            <a:endParaRPr/>
          </a:p>
        </p:txBody>
      </p:sp>
      <p:sp>
        <p:nvSpPr>
          <p:cNvPr id="58" name="Google Shape;58;p6"/>
          <p:cNvSpPr txBox="1">
            <a:spLocks noGrp="1"/>
          </p:cNvSpPr>
          <p:nvPr>
            <p:ph type="subTitle" idx="2"/>
          </p:nvPr>
        </p:nvSpPr>
        <p:spPr>
          <a:xfrm>
            <a:off x="354650" y="2195900"/>
            <a:ext cx="4192200" cy="3075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354650" y="2351000"/>
            <a:ext cx="4192200" cy="3075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8" name="Google Shape;40;p5">
            <a:extLst>
              <a:ext uri="{FF2B5EF4-FFF2-40B4-BE49-F238E27FC236}">
                <a16:creationId xmlns:a16="http://schemas.microsoft.com/office/drawing/2014/main" id="{83FF035F-548F-4076-B69B-F7D220A0FE06}"/>
              </a:ext>
            </a:extLst>
          </p:cNvPr>
          <p:cNvSpPr/>
          <p:nvPr/>
        </p:nvSpPr>
        <p:spPr>
          <a:xfrm>
            <a:off x="210275" y="4879725"/>
            <a:ext cx="5064000" cy="1848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500">
                <a:solidFill>
                  <a:schemeClr val="bg1"/>
                </a:solidFill>
                <a:latin typeface="+mn-lt"/>
                <a:ea typeface="Montserrat Light"/>
                <a:cs typeface="Montserrat Light"/>
                <a:sym typeface="Montserrat Light"/>
              </a:rPr>
              <a:t>© </a:t>
            </a:r>
            <a:r>
              <a:rPr lang="en-US" sz="500">
                <a:solidFill>
                  <a:schemeClr val="bg1"/>
                </a:solidFill>
                <a:latin typeface="+mn-lt"/>
                <a:ea typeface="Montserrat Light"/>
                <a:cs typeface="Montserrat Light"/>
                <a:sym typeface="Montserrat Light"/>
              </a:rPr>
              <a:t>2023 Nielsen</a:t>
            </a:r>
            <a:r>
              <a:rPr lang="en" sz="500">
                <a:solidFill>
                  <a:schemeClr val="bg1"/>
                </a:solidFill>
                <a:latin typeface="+mn-lt"/>
                <a:ea typeface="Montserrat Light"/>
                <a:cs typeface="Montserrat Light"/>
                <a:sym typeface="Montserrat Light"/>
              </a:rPr>
              <a:t> Consumer LLC. All Rights Reserved.</a:t>
            </a:r>
            <a:endParaRPr sz="500" i="0" u="none" strike="noStrike" cap="none">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8238994" y="4826403"/>
            <a:ext cx="676406" cy="273844"/>
          </a:xfrm>
          <a:prstGeom prst="rect">
            <a:avLst/>
          </a:prstGeom>
        </p:spPr>
        <p:txBody>
          <a:bodyPr vert="horz" lIns="0" tIns="34290" rIns="0" bIns="3429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750" smtClean="0">
                <a:latin typeface="+mn-lt"/>
              </a:rPr>
              <a:pPr/>
              <a:t>‹#›</a:t>
            </a:fld>
            <a:endParaRPr lang="en-US" sz="75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8" y="4521602"/>
            <a:ext cx="483489" cy="205740"/>
          </a:xfrm>
          <a:prstGeom prst="rect">
            <a:avLst/>
          </a:prstGeom>
        </p:spPr>
      </p:pic>
    </p:spTree>
    <p:extLst>
      <p:ext uri="{BB962C8B-B14F-4D97-AF65-F5344CB8AC3E}">
        <p14:creationId xmlns:p14="http://schemas.microsoft.com/office/powerpoint/2010/main" val="8706853"/>
      </p:ext>
    </p:extLst>
  </p:cSld>
  <p:clrMapOvr>
    <a:masterClrMapping/>
  </p:clrMapOvr>
  <p:hf sldNum="0"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25954183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563752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292420352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30876069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2952001" y="1086314"/>
            <a:ext cx="6192000" cy="3245925"/>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3857625" y="1169658"/>
            <a:ext cx="4381500" cy="2828925"/>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87594748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43555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8" y="1013423"/>
            <a:ext cx="4355581"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5782539" y="898130"/>
            <a:ext cx="2322000" cy="3590865"/>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6170709" y="966472"/>
            <a:ext cx="1543050" cy="333756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04907531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247719391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31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255056"/>
            <a:ext cx="8686800" cy="327406"/>
          </a:xfrm>
        </p:spPr>
        <p:txBody>
          <a:bodyPr/>
          <a:lstStyle>
            <a:lvl1pPr>
              <a:defRPr>
                <a:latin typeface="Arial" panose="020B0604020202020204" pitchFamily="34" charset="0"/>
              </a:defRPr>
            </a:lvl1pPr>
          </a:lstStyle>
          <a:p>
            <a:r>
              <a:rPr lang="en-US"/>
              <a:t>Insert your slide title in Arial bold 24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latin typeface="Arial" panose="020B0604020202020204" pitchFamily="34" charset="0"/>
              </a:defRPr>
            </a:lvl1pPr>
          </a:lstStyle>
          <a:p>
            <a:fld id="{403EF4E2-7A7A-0548-85F1-5479B7C9E1B2}" type="slidenum">
              <a:rPr lang="en-US" smtClean="0"/>
              <a:pPr/>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599580"/>
            <a:ext cx="8686800" cy="327407"/>
          </a:xfrm>
        </p:spPr>
        <p:txBody>
          <a:bodyPr/>
          <a:lstStyle>
            <a:lvl1pPr marL="0" indent="0">
              <a:buNone/>
              <a:defRPr sz="1350">
                <a:latin typeface="Arial" panose="020B0604020202020204" pitchFamily="34" charset="0"/>
              </a:defRPr>
            </a:lvl1pPr>
            <a:lvl2pPr marL="342892" indent="0">
              <a:buNone/>
              <a:defRPr/>
            </a:lvl2pPr>
            <a:lvl3pPr marL="685783" indent="0">
              <a:buNone/>
              <a:defRPr/>
            </a:lvl3pPr>
            <a:lvl4pPr marL="1028675" indent="0">
              <a:buNone/>
              <a:defRPr/>
            </a:lvl4pPr>
            <a:lvl5pPr marL="1371566" indent="0">
              <a:buNone/>
              <a:defRPr/>
            </a:lvl5pPr>
          </a:lstStyle>
          <a:p>
            <a:pPr lvl="0"/>
            <a:r>
              <a:rPr lang="en-US"/>
              <a:t>Insert your subtitle in Arial 18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1192268" y="4488996"/>
            <a:ext cx="5768236" cy="273844"/>
          </a:xfrm>
        </p:spPr>
        <p:txBody>
          <a:bodyPr anchor="b" anchorCtr="0"/>
          <a:lstStyle>
            <a:lvl1pPr marL="0" indent="0">
              <a:buNone/>
              <a:defRPr sz="600">
                <a:solidFill>
                  <a:schemeClr val="tx1"/>
                </a:solidFill>
                <a:latin typeface="Arial" panose="020B0604020202020204" pitchFamily="34" charset="0"/>
              </a:defRPr>
            </a:lvl1pPr>
            <a:lvl2pPr marL="342892" indent="0">
              <a:buNone/>
              <a:defRPr/>
            </a:lvl2pPr>
            <a:lvl3pPr marL="685783" indent="0">
              <a:buNone/>
              <a:defRPr/>
            </a:lvl3pPr>
            <a:lvl4pPr marL="1028675" indent="0">
              <a:buNone/>
              <a:defRPr/>
            </a:lvl4pPr>
            <a:lvl5pPr marL="1371566" indent="0">
              <a:buNone/>
              <a:defRPr/>
            </a:lvl5pPr>
          </a:lstStyle>
          <a:p>
            <a:pPr lvl="0"/>
            <a:r>
              <a:rPr lang="en-US"/>
              <a:t>Source, footnote</a:t>
            </a:r>
          </a:p>
        </p:txBody>
      </p:sp>
    </p:spTree>
    <p:extLst>
      <p:ext uri="{BB962C8B-B14F-4D97-AF65-F5344CB8AC3E}">
        <p14:creationId xmlns:p14="http://schemas.microsoft.com/office/powerpoint/2010/main" val="201845945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4_inside4_niq">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D0FBEC-735A-E445-E6C0-F7400D41B8D6}"/>
              </a:ext>
            </a:extLst>
          </p:cNvPr>
          <p:cNvSpPr/>
          <p:nvPr userDrawn="1"/>
        </p:nvSpPr>
        <p:spPr>
          <a:xfrm>
            <a:off x="0" y="1085943"/>
            <a:ext cx="8490343" cy="40575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7" name="Picture 6">
            <a:extLst>
              <a:ext uri="{FF2B5EF4-FFF2-40B4-BE49-F238E27FC236}">
                <a16:creationId xmlns:a16="http://schemas.microsoft.com/office/drawing/2014/main" id="{37F03DC1-70DD-74FE-9900-4225F742815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cxnSp>
        <p:nvCxnSpPr>
          <p:cNvPr id="10" name="Straight Connector 9">
            <a:extLst>
              <a:ext uri="{FF2B5EF4-FFF2-40B4-BE49-F238E27FC236}">
                <a16:creationId xmlns:a16="http://schemas.microsoft.com/office/drawing/2014/main" id="{3A629D6F-6DFD-714E-87EA-F99745ABE016}"/>
              </a:ext>
            </a:extLst>
          </p:cNvPr>
          <p:cNvCxnSpPr>
            <a:cxnSpLocks/>
          </p:cNvCxnSpPr>
          <p:nvPr userDrawn="1"/>
        </p:nvCxnSpPr>
        <p:spPr>
          <a:xfrm>
            <a:off x="1051646" y="1752254"/>
            <a:ext cx="33560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B93FB5C-FB8A-FBA8-2518-477603DD83BD}"/>
              </a:ext>
            </a:extLst>
          </p:cNvPr>
          <p:cNvCxnSpPr>
            <a:cxnSpLocks/>
          </p:cNvCxnSpPr>
          <p:nvPr userDrawn="1"/>
        </p:nvCxnSpPr>
        <p:spPr>
          <a:xfrm>
            <a:off x="4630665" y="1752254"/>
            <a:ext cx="33560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47">
            <a:extLst>
              <a:ext uri="{FF2B5EF4-FFF2-40B4-BE49-F238E27FC236}">
                <a16:creationId xmlns:a16="http://schemas.microsoft.com/office/drawing/2014/main" id="{697BB0FA-5080-6194-4B98-87DCEFDC9F86}"/>
              </a:ext>
            </a:extLst>
          </p:cNvPr>
          <p:cNvSpPr>
            <a:spLocks noGrp="1"/>
          </p:cNvSpPr>
          <p:nvPr>
            <p:ph type="body" sz="quarter" idx="14" hasCustomPrompt="1"/>
          </p:nvPr>
        </p:nvSpPr>
        <p:spPr>
          <a:xfrm>
            <a:off x="1051322" y="1444229"/>
            <a:ext cx="3356372" cy="307181"/>
          </a:xfrm>
        </p:spPr>
        <p:txBody>
          <a:bodyPr anchor="b"/>
          <a:lstStyle>
            <a:lvl1pPr marL="0" indent="0">
              <a:lnSpc>
                <a:spcPct val="100000"/>
              </a:lnSpc>
              <a:spcAft>
                <a:spcPts val="450"/>
              </a:spcAft>
              <a:buNone/>
              <a:defRPr sz="1200" b="1"/>
            </a:lvl1pPr>
            <a:lvl5pPr>
              <a:defRPr/>
            </a:lvl5pPr>
          </a:lstStyle>
          <a:p>
            <a:pPr lvl="0"/>
            <a:r>
              <a:rPr lang="en-US"/>
              <a:t>Click to insert title</a:t>
            </a:r>
          </a:p>
        </p:txBody>
      </p:sp>
      <p:sp>
        <p:nvSpPr>
          <p:cNvPr id="14" name="Content Placeholder 50">
            <a:extLst>
              <a:ext uri="{FF2B5EF4-FFF2-40B4-BE49-F238E27FC236}">
                <a16:creationId xmlns:a16="http://schemas.microsoft.com/office/drawing/2014/main" id="{3D486BBA-08FC-8CB9-D548-42F65B040A9B}"/>
              </a:ext>
            </a:extLst>
          </p:cNvPr>
          <p:cNvSpPr>
            <a:spLocks noGrp="1"/>
          </p:cNvSpPr>
          <p:nvPr>
            <p:ph sz="quarter" idx="15"/>
          </p:nvPr>
        </p:nvSpPr>
        <p:spPr>
          <a:xfrm>
            <a:off x="1051322" y="1782366"/>
            <a:ext cx="3356372" cy="2686050"/>
          </a:xfrm>
        </p:spPr>
        <p:txBody>
          <a:bodyPr/>
          <a:lstStyle>
            <a:lvl1pPr>
              <a:lnSpc>
                <a:spcPct val="100000"/>
              </a:lnSpc>
              <a:spcAft>
                <a:spcPts val="450"/>
              </a:spcAft>
              <a:defRPr sz="750">
                <a:solidFill>
                  <a:schemeClr val="tx1"/>
                </a:solidFill>
                <a:latin typeface="Georgia" panose="02040502050405020303" pitchFamily="18" charset="0"/>
              </a:defRPr>
            </a:lvl1pPr>
            <a:lvl2pPr>
              <a:lnSpc>
                <a:spcPct val="100000"/>
              </a:lnSpc>
              <a:spcAft>
                <a:spcPts val="450"/>
              </a:spcAft>
              <a:defRPr sz="750">
                <a:solidFill>
                  <a:schemeClr val="tx1"/>
                </a:solidFill>
                <a:latin typeface="Georgia" panose="02040502050405020303" pitchFamily="18" charset="0"/>
              </a:defRPr>
            </a:lvl2pPr>
            <a:lvl3pPr>
              <a:lnSpc>
                <a:spcPct val="100000"/>
              </a:lnSpc>
              <a:spcAft>
                <a:spcPts val="450"/>
              </a:spcAft>
              <a:defRPr sz="750">
                <a:solidFill>
                  <a:schemeClr val="tx1"/>
                </a:solidFill>
                <a:latin typeface="Georgia" panose="02040502050405020303" pitchFamily="18" charset="0"/>
              </a:defRPr>
            </a:lvl3pPr>
            <a:lvl4pPr>
              <a:lnSpc>
                <a:spcPct val="100000"/>
              </a:lnSpc>
              <a:spcAft>
                <a:spcPts val="450"/>
              </a:spcAft>
              <a:defRPr sz="750">
                <a:solidFill>
                  <a:schemeClr val="tx1"/>
                </a:solidFill>
                <a:latin typeface="Georgia" panose="02040502050405020303" pitchFamily="18" charset="0"/>
              </a:defRPr>
            </a:lvl4pPr>
            <a:lvl5pPr>
              <a:lnSpc>
                <a:spcPct val="100000"/>
              </a:lnSpc>
              <a:spcAft>
                <a:spcPts val="450"/>
              </a:spcAft>
              <a:defRPr sz="75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0">
            <a:extLst>
              <a:ext uri="{FF2B5EF4-FFF2-40B4-BE49-F238E27FC236}">
                <a16:creationId xmlns:a16="http://schemas.microsoft.com/office/drawing/2014/main" id="{C5039651-36BE-10D5-04EA-324F09037E27}"/>
              </a:ext>
            </a:extLst>
          </p:cNvPr>
          <p:cNvSpPr>
            <a:spLocks noGrp="1"/>
          </p:cNvSpPr>
          <p:nvPr>
            <p:ph sz="quarter" idx="16"/>
          </p:nvPr>
        </p:nvSpPr>
        <p:spPr>
          <a:xfrm>
            <a:off x="4630341" y="1782366"/>
            <a:ext cx="3356372" cy="2686050"/>
          </a:xfrm>
        </p:spPr>
        <p:txBody>
          <a:bodyPr/>
          <a:lstStyle>
            <a:lvl1pPr>
              <a:defRPr sz="750">
                <a:solidFill>
                  <a:schemeClr val="tx1"/>
                </a:solidFill>
                <a:latin typeface="Georgia" panose="02040502050405020303" pitchFamily="18" charset="0"/>
              </a:defRPr>
            </a:lvl1pPr>
            <a:lvl2pPr>
              <a:defRPr sz="750">
                <a:solidFill>
                  <a:schemeClr val="tx1"/>
                </a:solidFill>
                <a:latin typeface="Georgia" panose="02040502050405020303" pitchFamily="18" charset="0"/>
              </a:defRPr>
            </a:lvl2pPr>
            <a:lvl3pPr>
              <a:defRPr sz="750">
                <a:solidFill>
                  <a:schemeClr val="tx1"/>
                </a:solidFill>
                <a:latin typeface="Georgia" panose="02040502050405020303" pitchFamily="18" charset="0"/>
              </a:defRPr>
            </a:lvl3pPr>
            <a:lvl4pPr>
              <a:defRPr sz="750">
                <a:solidFill>
                  <a:schemeClr val="tx1"/>
                </a:solidFill>
                <a:latin typeface="Georgia" panose="02040502050405020303" pitchFamily="18" charset="0"/>
              </a:defRPr>
            </a:lvl4pPr>
            <a:lvl5pPr>
              <a:defRPr sz="75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Box 15">
            <a:extLst>
              <a:ext uri="{FF2B5EF4-FFF2-40B4-BE49-F238E27FC236}">
                <a16:creationId xmlns:a16="http://schemas.microsoft.com/office/drawing/2014/main" id="{DA4FB4F2-961C-4A95-F65A-160DCF094F99}"/>
              </a:ext>
            </a:extLst>
          </p:cNvPr>
          <p:cNvSpPr txBox="1"/>
          <p:nvPr userDrawn="1"/>
        </p:nvSpPr>
        <p:spPr>
          <a:xfrm rot="16200000">
            <a:off x="76368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sp>
        <p:nvSpPr>
          <p:cNvPr id="17" name="Text Placeholder 28">
            <a:extLst>
              <a:ext uri="{FF2B5EF4-FFF2-40B4-BE49-F238E27FC236}">
                <a16:creationId xmlns:a16="http://schemas.microsoft.com/office/drawing/2014/main" id="{0E2E0CBE-483D-3D02-1320-2E9704B74428}"/>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18" name="Text Placeholder 10">
            <a:extLst>
              <a:ext uri="{FF2B5EF4-FFF2-40B4-BE49-F238E27FC236}">
                <a16:creationId xmlns:a16="http://schemas.microsoft.com/office/drawing/2014/main" id="{B601A0B3-048E-85B2-8AD0-B2DC78379592}"/>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tx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1944156810"/>
      </p:ext>
    </p:extLst>
  </p:cSld>
  <p:clrMapOvr>
    <a:overrideClrMapping bg1="lt1" tx1="dk1" bg2="lt2" tx2="dk2" accent1="accent1" accent2="accent2" accent3="accent3" accent4="accent4" accent5="accent5" accent6="accent6" hlink="hlink" folHlink="folHlink"/>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_image1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01E4567-D544-AB7F-1FCC-BDDCAA8DADE0}"/>
              </a:ext>
            </a:extLst>
          </p:cNvPr>
          <p:cNvGrpSpPr/>
          <p:nvPr userDrawn="1"/>
        </p:nvGrpSpPr>
        <p:grpSpPr>
          <a:xfrm>
            <a:off x="676275" y="1081087"/>
            <a:ext cx="8467725" cy="4062413"/>
            <a:chOff x="901700" y="1441450"/>
            <a:chExt cx="11290300" cy="5416550"/>
          </a:xfrm>
        </p:grpSpPr>
        <p:sp>
          <p:nvSpPr>
            <p:cNvPr id="4" name="Rectangle 3">
              <a:extLst>
                <a:ext uri="{FF2B5EF4-FFF2-40B4-BE49-F238E27FC236}">
                  <a16:creationId xmlns:a16="http://schemas.microsoft.com/office/drawing/2014/main" id="{2261501A-E923-B76F-0BA4-63AA37ADAF20}"/>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452B1813-458A-1D8D-4420-C58A59A7591A}"/>
                </a:ext>
              </a:extLst>
            </p:cNvPr>
            <p:cNvSpPr/>
            <p:nvPr userDrawn="1"/>
          </p:nvSpPr>
          <p:spPr>
            <a:xfrm>
              <a:off x="8982075" y="1724025"/>
              <a:ext cx="3209925" cy="4829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sp>
        <p:nvSpPr>
          <p:cNvPr id="24" name="Picture Placeholder 5">
            <a:extLst>
              <a:ext uri="{FF2B5EF4-FFF2-40B4-BE49-F238E27FC236}">
                <a16:creationId xmlns:a16="http://schemas.microsoft.com/office/drawing/2014/main" id="{31CF6F54-7086-ADB6-B037-4BD90D4140C7}"/>
              </a:ext>
            </a:extLst>
          </p:cNvPr>
          <p:cNvSpPr>
            <a:spLocks noGrp="1"/>
          </p:cNvSpPr>
          <p:nvPr>
            <p:ph type="pic" sz="quarter" idx="12"/>
          </p:nvPr>
        </p:nvSpPr>
        <p:spPr>
          <a:xfrm>
            <a:off x="6736557" y="1293019"/>
            <a:ext cx="2403872" cy="2526506"/>
          </a:xfrm>
          <a:solidFill>
            <a:schemeClr val="tx1"/>
          </a:solidFill>
        </p:spPr>
        <p:txBody>
          <a:bodyPr anchor="ctr"/>
          <a:lstStyle>
            <a:lvl1pPr marL="0" indent="0" algn="ctr">
              <a:buNone/>
              <a:defRPr>
                <a:solidFill>
                  <a:schemeClr val="bg1"/>
                </a:solidFill>
              </a:defRPr>
            </a:lvl1pPr>
          </a:lstStyle>
          <a:p>
            <a:endParaRPr lang="en-US"/>
          </a:p>
        </p:txBody>
      </p:sp>
      <p:sp>
        <p:nvSpPr>
          <p:cNvPr id="26" name="Rectangle 25">
            <a:extLst>
              <a:ext uri="{FF2B5EF4-FFF2-40B4-BE49-F238E27FC236}">
                <a16:creationId xmlns:a16="http://schemas.microsoft.com/office/drawing/2014/main" id="{D2D6AC70-39A4-4522-6A58-EA066452F922}"/>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28" name="Picture 27">
            <a:extLst>
              <a:ext uri="{FF2B5EF4-FFF2-40B4-BE49-F238E27FC236}">
                <a16:creationId xmlns:a16="http://schemas.microsoft.com/office/drawing/2014/main" id="{F337C02A-2783-B9BD-7A12-78B24F7BE2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43" name="Text Placeholder 25">
            <a:extLst>
              <a:ext uri="{FF2B5EF4-FFF2-40B4-BE49-F238E27FC236}">
                <a16:creationId xmlns:a16="http://schemas.microsoft.com/office/drawing/2014/main" id="{D72F9B26-A584-F625-5B24-6E71EB86B774}"/>
              </a:ext>
            </a:extLst>
          </p:cNvPr>
          <p:cNvSpPr>
            <a:spLocks noGrp="1"/>
          </p:cNvSpPr>
          <p:nvPr>
            <p:ph type="body" sz="quarter" idx="23" hasCustomPrompt="1"/>
          </p:nvPr>
        </p:nvSpPr>
        <p:spPr>
          <a:xfrm>
            <a:off x="6922294" y="3880247"/>
            <a:ext cx="2034779" cy="815578"/>
          </a:xfrm>
        </p:spPr>
        <p:txBody>
          <a:bodyPr/>
          <a:lstStyle>
            <a:lvl1pPr marL="0" indent="0">
              <a:buNone/>
              <a:defRPr sz="900" b="1">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a:t>Click to add text</a:t>
            </a:r>
          </a:p>
        </p:txBody>
      </p:sp>
      <p:sp>
        <p:nvSpPr>
          <p:cNvPr id="44" name="TextBox 43">
            <a:extLst>
              <a:ext uri="{FF2B5EF4-FFF2-40B4-BE49-F238E27FC236}">
                <a16:creationId xmlns:a16="http://schemas.microsoft.com/office/drawing/2014/main" id="{4C0B213B-6447-322E-287F-6158B86FA4B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48" name="Straight Connector 47">
            <a:extLst>
              <a:ext uri="{FF2B5EF4-FFF2-40B4-BE49-F238E27FC236}">
                <a16:creationId xmlns:a16="http://schemas.microsoft.com/office/drawing/2014/main" id="{35E8A7A2-85DD-0867-560A-16D6C8F3566D}"/>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589FE5-7308-14FB-8BA8-67CAE12FF50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3C30521-9A70-25DB-4173-E50E93654247}"/>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 Placeholder 32">
            <a:extLst>
              <a:ext uri="{FF2B5EF4-FFF2-40B4-BE49-F238E27FC236}">
                <a16:creationId xmlns:a16="http://schemas.microsoft.com/office/drawing/2014/main" id="{1088379C-DA88-0262-07B9-0E49AF6ECA45}"/>
              </a:ext>
            </a:extLst>
          </p:cNvPr>
          <p:cNvSpPr>
            <a:spLocks noGrp="1"/>
          </p:cNvSpPr>
          <p:nvPr>
            <p:ph type="body" sz="quarter" idx="2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52" name="Text Placeholder 34">
            <a:extLst>
              <a:ext uri="{FF2B5EF4-FFF2-40B4-BE49-F238E27FC236}">
                <a16:creationId xmlns:a16="http://schemas.microsoft.com/office/drawing/2014/main" id="{75039060-A65D-254A-5424-0B9599995E1B}"/>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53" name="Text Placeholder 38">
            <a:extLst>
              <a:ext uri="{FF2B5EF4-FFF2-40B4-BE49-F238E27FC236}">
                <a16:creationId xmlns:a16="http://schemas.microsoft.com/office/drawing/2014/main" id="{E347842E-8DD9-B38C-1AC9-7EF156121B7C}"/>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4" name="Content Placeholder 44">
            <a:extLst>
              <a:ext uri="{FF2B5EF4-FFF2-40B4-BE49-F238E27FC236}">
                <a16:creationId xmlns:a16="http://schemas.microsoft.com/office/drawing/2014/main" id="{50765046-CE24-9EF3-2884-CDD0632C0D12}"/>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38">
            <a:extLst>
              <a:ext uri="{FF2B5EF4-FFF2-40B4-BE49-F238E27FC236}">
                <a16:creationId xmlns:a16="http://schemas.microsoft.com/office/drawing/2014/main" id="{AD832700-FDE3-F026-F053-FCBA48C8D483}"/>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6" name="Content Placeholder 44">
            <a:extLst>
              <a:ext uri="{FF2B5EF4-FFF2-40B4-BE49-F238E27FC236}">
                <a16:creationId xmlns:a16="http://schemas.microsoft.com/office/drawing/2014/main" id="{CBCFB7D6-F7DE-A159-6636-C9EBF79232AA}"/>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38">
            <a:extLst>
              <a:ext uri="{FF2B5EF4-FFF2-40B4-BE49-F238E27FC236}">
                <a16:creationId xmlns:a16="http://schemas.microsoft.com/office/drawing/2014/main" id="{1D764C3B-CB41-8560-BAA7-61B46B890AAC}"/>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8" name="Content Placeholder 44">
            <a:extLst>
              <a:ext uri="{FF2B5EF4-FFF2-40B4-BE49-F238E27FC236}">
                <a16:creationId xmlns:a16="http://schemas.microsoft.com/office/drawing/2014/main" id="{999C48E6-DBB0-7BC6-47AF-40CDD336D356}"/>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28">
            <a:extLst>
              <a:ext uri="{FF2B5EF4-FFF2-40B4-BE49-F238E27FC236}">
                <a16:creationId xmlns:a16="http://schemas.microsoft.com/office/drawing/2014/main" id="{07FD31C5-E7BF-F06D-80D3-026AB9FC94AF}"/>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60" name="Text Placeholder 10">
            <a:extLst>
              <a:ext uri="{FF2B5EF4-FFF2-40B4-BE49-F238E27FC236}">
                <a16:creationId xmlns:a16="http://schemas.microsoft.com/office/drawing/2014/main" id="{43857EDF-4D89-CF42-D866-F95D973986A7}"/>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4255656343"/>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264" name="Google Shape;264;p27"/>
          <p:cNvSpPr txBox="1">
            <a:spLocks noGrp="1"/>
          </p:cNvSpPr>
          <p:nvPr>
            <p:ph type="subTitle" idx="1"/>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sp>
        <p:nvSpPr>
          <p:cNvPr id="265" name="Google Shape;265;p27"/>
          <p:cNvSpPr txBox="1">
            <a:spLocks noGrp="1"/>
          </p:cNvSpPr>
          <p:nvPr>
            <p:ph type="ctrTitle"/>
          </p:nvPr>
        </p:nvSpPr>
        <p:spPr>
          <a:xfrm>
            <a:off x="354650" y="991550"/>
            <a:ext cx="4041300" cy="1578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2462152" algn="l"/>
              </a:tabLst>
              <a:defRPr sz="3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5200">
                <a:solidFill>
                  <a:srgbClr val="000000"/>
                </a:solidFill>
              </a:defRPr>
            </a:lvl2pPr>
            <a:lvl3pPr lvl="2" algn="ctr" rtl="0">
              <a:spcBef>
                <a:spcPts val="0"/>
              </a:spcBef>
              <a:spcAft>
                <a:spcPts val="0"/>
              </a:spcAft>
              <a:buClr>
                <a:srgbClr val="000000"/>
              </a:buClr>
              <a:buSzPts val="5200"/>
              <a:buNone/>
              <a:defRPr sz="5200">
                <a:solidFill>
                  <a:srgbClr val="000000"/>
                </a:solidFill>
              </a:defRPr>
            </a:lvl3pPr>
            <a:lvl4pPr lvl="3" algn="ctr" rtl="0">
              <a:spcBef>
                <a:spcPts val="0"/>
              </a:spcBef>
              <a:spcAft>
                <a:spcPts val="0"/>
              </a:spcAft>
              <a:buClr>
                <a:srgbClr val="000000"/>
              </a:buClr>
              <a:buSzPts val="5200"/>
              <a:buNone/>
              <a:defRPr sz="5200">
                <a:solidFill>
                  <a:srgbClr val="000000"/>
                </a:solidFill>
              </a:defRPr>
            </a:lvl4pPr>
            <a:lvl5pPr lvl="4" algn="ctr" rtl="0">
              <a:spcBef>
                <a:spcPts val="0"/>
              </a:spcBef>
              <a:spcAft>
                <a:spcPts val="0"/>
              </a:spcAft>
              <a:buClr>
                <a:srgbClr val="000000"/>
              </a:buClr>
              <a:buSzPts val="5200"/>
              <a:buNone/>
              <a:defRPr sz="5200">
                <a:solidFill>
                  <a:srgbClr val="000000"/>
                </a:solidFill>
              </a:defRPr>
            </a:lvl5pPr>
            <a:lvl6pPr lvl="5" algn="ctr" rtl="0">
              <a:spcBef>
                <a:spcPts val="0"/>
              </a:spcBef>
              <a:spcAft>
                <a:spcPts val="0"/>
              </a:spcAft>
              <a:buClr>
                <a:srgbClr val="000000"/>
              </a:buClr>
              <a:buSzPts val="5200"/>
              <a:buNone/>
              <a:defRPr sz="5200">
                <a:solidFill>
                  <a:srgbClr val="000000"/>
                </a:solidFill>
              </a:defRPr>
            </a:lvl6pPr>
            <a:lvl7pPr lvl="6" algn="ctr" rtl="0">
              <a:spcBef>
                <a:spcPts val="0"/>
              </a:spcBef>
              <a:spcAft>
                <a:spcPts val="0"/>
              </a:spcAft>
              <a:buClr>
                <a:srgbClr val="000000"/>
              </a:buClr>
              <a:buSzPts val="5200"/>
              <a:buNone/>
              <a:defRPr sz="5200">
                <a:solidFill>
                  <a:srgbClr val="000000"/>
                </a:solidFill>
              </a:defRPr>
            </a:lvl7pPr>
            <a:lvl8pPr lvl="7" algn="ctr" rtl="0">
              <a:spcBef>
                <a:spcPts val="0"/>
              </a:spcBef>
              <a:spcAft>
                <a:spcPts val="0"/>
              </a:spcAft>
              <a:buClr>
                <a:srgbClr val="000000"/>
              </a:buClr>
              <a:buSzPts val="5200"/>
              <a:buNone/>
              <a:defRPr sz="5200">
                <a:solidFill>
                  <a:srgbClr val="000000"/>
                </a:solidFill>
              </a:defRPr>
            </a:lvl8pPr>
            <a:lvl9pPr lvl="8" algn="ctr" rtl="0">
              <a:spcBef>
                <a:spcPts val="0"/>
              </a:spcBef>
              <a:spcAft>
                <a:spcPts val="0"/>
              </a:spcAft>
              <a:buClr>
                <a:srgbClr val="000000"/>
              </a:buClr>
              <a:buSzPts val="5200"/>
              <a:buNone/>
              <a:defRPr sz="5200">
                <a:solidFill>
                  <a:srgbClr val="000000"/>
                </a:solidFill>
              </a:defRPr>
            </a:lvl9pPr>
          </a:lstStyle>
          <a:p>
            <a:r>
              <a:rPr lang="en-US"/>
              <a:t>Click to edit Master title style</a:t>
            </a:r>
            <a:endParaRPr/>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latin typeface="Montserrat" panose="00000500000000000000" pitchFamily="2" charset="0"/>
              </a:rPr>
              <a:pPr/>
              <a:t>‹#›</a:t>
            </a:fld>
            <a:endParaRPr lang="en-PH" sz="100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8394192" y="4809744"/>
            <a:ext cx="393192" cy="274320"/>
          </a:xfrm>
          <a:prstGeom prst="rect">
            <a:avLst/>
          </a:prstGeom>
          <a:noFill/>
        </p:spPr>
        <p:txBody>
          <a:bodyPr wrap="none" lIns="0" rIns="0" rtlCol="0" anchor="ctr" anchorCtr="0">
            <a:noAutofit/>
          </a:bodyPr>
          <a:lstStyle/>
          <a:p>
            <a:pPr algn="r"/>
            <a:fld id="{37C1F608-86A9-439D-B359-AB29DD5A1486}" type="slidenum">
              <a:rPr lang="en-US" sz="1000" smtClean="0">
                <a:solidFill>
                  <a:schemeClr val="bg1"/>
                </a:solidFill>
                <a:latin typeface="Montserrat" panose="00000500000000000000" pitchFamily="2" charset="0"/>
              </a:rPr>
              <a:pPr algn="r"/>
              <a:t>‹#›</a:t>
            </a:fld>
            <a:endParaRPr lang="en-US" sz="100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27364782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3510532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19700944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3440807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0164138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23904249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226399626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16650357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317339244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9119341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493118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354650" y="3305475"/>
            <a:ext cx="4013100" cy="3075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2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r>
              <a:rPr lang="en-US"/>
              <a:t>Click to edit Master subtitle style</a:t>
            </a:r>
            <a:endParaRPr/>
          </a:p>
        </p:txBody>
      </p:sp>
      <p:sp>
        <p:nvSpPr>
          <p:cNvPr id="326" name="Google Shape;326;p36"/>
          <p:cNvSpPr txBox="1">
            <a:spLocks noGrp="1"/>
          </p:cNvSpPr>
          <p:nvPr>
            <p:ph type="subTitle" idx="2"/>
          </p:nvPr>
        </p:nvSpPr>
        <p:spPr>
          <a:xfrm>
            <a:off x="354650" y="3460575"/>
            <a:ext cx="4013100" cy="3075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2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rgbClr val="333333"/>
                </a:solidFill>
                <a:latin typeface="Montserrat" panose="00000500000000000000" pitchFamily="2" charset="0"/>
              </a:rPr>
              <a:pPr/>
              <a:t>‹#›</a:t>
            </a:fld>
            <a:endParaRPr lang="en-PH" sz="1000">
              <a:solidFill>
                <a:srgbClr val="333333"/>
              </a:solidFill>
              <a:latin typeface="Montserrat" panose="00000500000000000000" pitchFamily="2" charset="0"/>
            </a:endParaRPr>
          </a:p>
        </p:txBody>
      </p:sp>
    </p:spTree>
    <p:extLst>
      <p:ext uri="{BB962C8B-B14F-4D97-AF65-F5344CB8AC3E}">
        <p14:creationId xmlns:p14="http://schemas.microsoft.com/office/powerpoint/2010/main" val="1834092858"/>
      </p:ext>
    </p:extLst>
  </p:cSld>
  <p:clrMapOvr>
    <a:masterClrMapping/>
  </p:clrMapOvr>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529935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73614244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1311270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4956259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10202355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83963759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10517100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8169428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48633875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4572000" y="0"/>
            <a:ext cx="4572000" cy="51435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6115570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354650" y="3305475"/>
            <a:ext cx="4013100" cy="3075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2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r>
              <a:rPr lang="en-US"/>
              <a:t>Click to edit Master subtitle style</a:t>
            </a:r>
            <a:endParaRPr/>
          </a:p>
        </p:txBody>
      </p:sp>
      <p:sp>
        <p:nvSpPr>
          <p:cNvPr id="326" name="Google Shape;326;p36"/>
          <p:cNvSpPr txBox="1">
            <a:spLocks noGrp="1"/>
          </p:cNvSpPr>
          <p:nvPr>
            <p:ph type="subTitle" idx="2"/>
          </p:nvPr>
        </p:nvSpPr>
        <p:spPr>
          <a:xfrm>
            <a:off x="354650" y="3460575"/>
            <a:ext cx="4013100" cy="3075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2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rgbClr val="333333"/>
                </a:solidFill>
                <a:latin typeface="Montserrat" panose="00000500000000000000" pitchFamily="2" charset="0"/>
              </a:rPr>
              <a:pPr/>
              <a:t>‹#›</a:t>
            </a:fld>
            <a:endParaRPr lang="en-PH" sz="1000">
              <a:solidFill>
                <a:srgbClr val="333333"/>
              </a:solidFill>
              <a:latin typeface="Montserrat" panose="00000500000000000000" pitchFamily="2" charset="0"/>
            </a:endParaRPr>
          </a:p>
        </p:txBody>
      </p:sp>
    </p:spTree>
    <p:extLst>
      <p:ext uri="{BB962C8B-B14F-4D97-AF65-F5344CB8AC3E}">
        <p14:creationId xmlns:p14="http://schemas.microsoft.com/office/powerpoint/2010/main" val="234227157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13539262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0606581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52228907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5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47627465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9864865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A6E01A0-2BBF-F43A-B5D1-9E31AF6BC972}"/>
              </a:ext>
            </a:extLst>
          </p:cNvPr>
          <p:cNvSpPr/>
          <p:nvPr userDrawn="1"/>
        </p:nvSpPr>
        <p:spPr>
          <a:xfrm>
            <a:off x="4572000" y="0"/>
            <a:ext cx="4572000"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16419" y="134228"/>
            <a:ext cx="4152940" cy="298014"/>
          </a:xfrm>
          <a:prstGeom prst="rect">
            <a:avLst/>
          </a:prstGeom>
        </p:spPr>
        <p:txBody>
          <a:bodyPr anchor="ctr"/>
          <a:lstStyle>
            <a:lvl1pPr>
              <a:defRPr sz="15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416594071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8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2952001" y="1086314"/>
            <a:ext cx="6192000" cy="3245925"/>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3857625" y="1169658"/>
            <a:ext cx="4381500" cy="2828925"/>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4481161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43555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8" y="1013423"/>
            <a:ext cx="4355581"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5782539" y="898130"/>
            <a:ext cx="2322000" cy="3590865"/>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6170709" y="966472"/>
            <a:ext cx="1543050" cy="333756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74807881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388266410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1_title_and_content">
  <p:cSld name="1_title_and_content">
    <p:spTree>
      <p:nvGrpSpPr>
        <p:cNvPr id="1" name="Shape 229"/>
        <p:cNvGrpSpPr/>
        <p:nvPr/>
      </p:nvGrpSpPr>
      <p:grpSpPr>
        <a:xfrm>
          <a:off x="0" y="0"/>
          <a:ext cx="0" cy="0"/>
          <a:chOff x="0" y="0"/>
          <a:chExt cx="0" cy="0"/>
        </a:xfrm>
      </p:grpSpPr>
      <p:sp>
        <p:nvSpPr>
          <p:cNvPr id="230" name="Google Shape;230;p113"/>
          <p:cNvSpPr txBox="1">
            <a:spLocks noGrp="1"/>
          </p:cNvSpPr>
          <p:nvPr>
            <p:ph type="body" idx="1"/>
          </p:nvPr>
        </p:nvSpPr>
        <p:spPr>
          <a:xfrm>
            <a:off x="216419" y="1369219"/>
            <a:ext cx="8698229" cy="2877104"/>
          </a:xfrm>
          <a:prstGeom prst="rect">
            <a:avLst/>
          </a:prstGeom>
          <a:noFill/>
          <a:ln>
            <a:noFill/>
          </a:ln>
        </p:spPr>
        <p:txBody>
          <a:bodyPr spcFirstLastPara="1" wrap="square" lIns="0" tIns="45700" rIns="0" bIns="45700" anchor="t" anchorCtr="0">
            <a:noAutofit/>
          </a:bodyPr>
          <a:lstStyle>
            <a:lvl1pPr marL="342900" lvl="0" indent="-257175" algn="l">
              <a:lnSpc>
                <a:spcPct val="100000"/>
              </a:lnSpc>
              <a:spcBef>
                <a:spcPts val="0"/>
              </a:spcBef>
              <a:spcAft>
                <a:spcPts val="0"/>
              </a:spcAft>
              <a:buClr>
                <a:schemeClr val="dk1"/>
              </a:buClr>
              <a:buSzPts val="1800"/>
              <a:buChar char="•"/>
              <a:defRPr/>
            </a:lvl1pPr>
            <a:lvl2pPr marL="685800" lvl="1" indent="-257175" algn="l">
              <a:lnSpc>
                <a:spcPct val="100000"/>
              </a:lnSpc>
              <a:spcBef>
                <a:spcPts val="450"/>
              </a:spcBef>
              <a:spcAft>
                <a:spcPts val="0"/>
              </a:spcAft>
              <a:buClr>
                <a:schemeClr val="dk1"/>
              </a:buClr>
              <a:buSzPts val="1800"/>
              <a:buChar char="-"/>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1" name="Google Shape;231;p113"/>
          <p:cNvSpPr txBox="1">
            <a:spLocks noGrp="1"/>
          </p:cNvSpPr>
          <p:nvPr>
            <p:ph type="sldNum" idx="12"/>
          </p:nvPr>
        </p:nvSpPr>
        <p:spPr>
          <a:xfrm>
            <a:off x="8238994" y="4826403"/>
            <a:ext cx="676406" cy="273844"/>
          </a:xfrm>
          <a:prstGeom prst="rect">
            <a:avLst/>
          </a:prstGeom>
          <a:noFill/>
          <a:ln>
            <a:noFill/>
          </a:ln>
        </p:spPr>
        <p:txBody>
          <a:bodyPr spcFirstLastPara="1" wrap="square" lIns="0" tIns="45700" rIns="0"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232" name="Google Shape;232;p113"/>
          <p:cNvSpPr txBox="1">
            <a:spLocks noGrp="1"/>
          </p:cNvSpPr>
          <p:nvPr>
            <p:ph type="body" idx="2"/>
          </p:nvPr>
        </p:nvSpPr>
        <p:spPr>
          <a:xfrm>
            <a:off x="216419" y="434621"/>
            <a:ext cx="8686800" cy="327407"/>
          </a:xfrm>
          <a:prstGeom prst="rect">
            <a:avLst/>
          </a:prstGeom>
          <a:noFill/>
          <a:ln>
            <a:noFill/>
          </a:ln>
        </p:spPr>
        <p:txBody>
          <a:bodyPr spcFirstLastPara="1" wrap="square" lIns="0" tIns="45700" rIns="0" bIns="45700" anchor="t" anchorCtr="0">
            <a:noAutofit/>
          </a:bodyPr>
          <a:lstStyle>
            <a:lvl1pPr marL="342900" lvl="0" indent="-171450" algn="l">
              <a:lnSpc>
                <a:spcPct val="100000"/>
              </a:lnSpc>
              <a:spcBef>
                <a:spcPts val="0"/>
              </a:spcBef>
              <a:spcAft>
                <a:spcPts val="0"/>
              </a:spcAft>
              <a:buClr>
                <a:schemeClr val="dk1"/>
              </a:buClr>
              <a:buSzPts val="1600"/>
              <a:buNone/>
              <a:defRPr sz="1200"/>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3" name="Google Shape;233;p113"/>
          <p:cNvSpPr txBox="1">
            <a:spLocks noGrp="1"/>
          </p:cNvSpPr>
          <p:nvPr>
            <p:ph type="body" idx="3"/>
          </p:nvPr>
        </p:nvSpPr>
        <p:spPr>
          <a:xfrm>
            <a:off x="216419" y="4488996"/>
            <a:ext cx="8686799" cy="273844"/>
          </a:xfrm>
          <a:prstGeom prst="rect">
            <a:avLst/>
          </a:prstGeom>
          <a:noFill/>
          <a:ln>
            <a:noFill/>
          </a:ln>
        </p:spPr>
        <p:txBody>
          <a:bodyPr spcFirstLastPara="1" wrap="square" lIns="0" tIns="45700" rIns="0" bIns="45700" anchor="b" anchorCtr="0">
            <a:noAutofit/>
          </a:bodyPr>
          <a:lstStyle>
            <a:lvl1pPr marL="342900" lvl="0" indent="-171450" algn="l">
              <a:lnSpc>
                <a:spcPct val="100000"/>
              </a:lnSpc>
              <a:spcBef>
                <a:spcPts val="0"/>
              </a:spcBef>
              <a:spcAft>
                <a:spcPts val="0"/>
              </a:spcAft>
              <a:buClr>
                <a:srgbClr val="B3B3B3"/>
              </a:buClr>
              <a:buSzPts val="800"/>
              <a:buNone/>
              <a:defRPr sz="600">
                <a:solidFill>
                  <a:srgbClr val="B3B3B3"/>
                </a:solidFill>
              </a:defRPr>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34" name="Google Shape;234;p113"/>
          <p:cNvSpPr txBox="1">
            <a:spLocks noGrp="1"/>
          </p:cNvSpPr>
          <p:nvPr>
            <p:ph type="title"/>
          </p:nvPr>
        </p:nvSpPr>
        <p:spPr>
          <a:xfrm>
            <a:off x="216419" y="134228"/>
            <a:ext cx="8686800" cy="298014"/>
          </a:xfrm>
          <a:prstGeom prst="rect">
            <a:avLst/>
          </a:prstGeom>
          <a:noFill/>
          <a:ln>
            <a:noFill/>
          </a:ln>
        </p:spPr>
        <p:txBody>
          <a:bodyPr spcFirstLastPara="1" wrap="square" lIns="0" tIns="45700" rIns="0" bIns="45700" anchor="ctr" anchorCtr="0">
            <a:noAutofit/>
          </a:bodyPr>
          <a:lstStyle>
            <a:lvl1pPr lvl="0" algn="l">
              <a:lnSpc>
                <a:spcPct val="100000"/>
              </a:lnSpc>
              <a:spcBef>
                <a:spcPts val="0"/>
              </a:spcBef>
              <a:spcAft>
                <a:spcPts val="0"/>
              </a:spcAft>
              <a:buClr>
                <a:schemeClr val="dk1"/>
              </a:buClr>
              <a:buSzPts val="2000"/>
              <a:buFont typeface="Arial"/>
              <a:buNone/>
              <a:defRPr sz="15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726959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8" name="Subtitle 2"/>
          <p:cNvSpPr>
            <a:spLocks noGrp="1"/>
          </p:cNvSpPr>
          <p:nvPr>
            <p:ph type="subTitle" idx="1" hasCustomPrompt="1"/>
          </p:nvPr>
        </p:nvSpPr>
        <p:spPr>
          <a:xfrm>
            <a:off x="287930" y="3019822"/>
            <a:ext cx="6919293" cy="498872"/>
          </a:xfrm>
          <a:prstGeom prst="rect">
            <a:avLst/>
          </a:prstGeom>
        </p:spPr>
        <p:txBody>
          <a:bodyPr wrap="square" tIns="0" bIns="0"/>
          <a:lstStyle>
            <a:lvl1pPr marL="0" indent="0" algn="l">
              <a:lnSpc>
                <a:spcPct val="100000"/>
              </a:lnSpc>
              <a:buNone/>
              <a:defRPr sz="2000" cap="none" baseline="0">
                <a:solidFill>
                  <a:srgbClr val="FFFFFF"/>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247428" y="4106104"/>
            <a:ext cx="2891063" cy="523046"/>
          </a:xfrm>
          <a:prstGeom prst="rect">
            <a:avLst/>
          </a:prstGeom>
        </p:spPr>
        <p:txBody>
          <a:bodyPr wrap="square" anchor="b" anchorCtr="0"/>
          <a:lstStyle>
            <a:lvl1pPr marL="0" indent="0" algn="l">
              <a:lnSpc>
                <a:spcPct val="100000"/>
              </a:lnSpc>
              <a:spcBef>
                <a:spcPts val="0"/>
              </a:spcBef>
              <a:buNone/>
              <a:defRPr sz="1200" b="0">
                <a:solidFill>
                  <a:srgbClr val="FFFFFF"/>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itle 1"/>
          <p:cNvSpPr>
            <a:spLocks noGrp="1"/>
          </p:cNvSpPr>
          <p:nvPr>
            <p:ph type="ctrTitle" hasCustomPrompt="1"/>
          </p:nvPr>
        </p:nvSpPr>
        <p:spPr>
          <a:xfrm>
            <a:off x="242829" y="2038351"/>
            <a:ext cx="6919972" cy="982664"/>
          </a:xfrm>
          <a:prstGeom prst="rect">
            <a:avLst/>
          </a:prstGeom>
        </p:spPr>
        <p:txBody>
          <a:bodyPr wrap="square" tIns="0" bIns="0">
            <a:noAutofit/>
          </a:bodyPr>
          <a:lstStyle>
            <a:lvl1pPr algn="l">
              <a:lnSpc>
                <a:spcPct val="90000"/>
              </a:lnSpc>
              <a:tabLst>
                <a:tab pos="507987" algn="l"/>
              </a:tabLst>
              <a:defRPr sz="42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186453634"/>
      </p:ext>
    </p:extLst>
  </p:cSld>
  <p:clrMapOvr>
    <a:masterClrMapping/>
  </p:clrMapOvr>
  <p:hf sldNum="0"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27_laptop">
  <p:cSld name="27_laptop">
    <p:spTree>
      <p:nvGrpSpPr>
        <p:cNvPr id="1" name="Shape 400"/>
        <p:cNvGrpSpPr/>
        <p:nvPr/>
      </p:nvGrpSpPr>
      <p:grpSpPr>
        <a:xfrm>
          <a:off x="0" y="0"/>
          <a:ext cx="0" cy="0"/>
          <a:chOff x="0" y="0"/>
          <a:chExt cx="0" cy="0"/>
        </a:xfrm>
      </p:grpSpPr>
      <p:grpSp>
        <p:nvGrpSpPr>
          <p:cNvPr id="401" name="Google Shape;401;p141"/>
          <p:cNvGrpSpPr/>
          <p:nvPr/>
        </p:nvGrpSpPr>
        <p:grpSpPr>
          <a:xfrm>
            <a:off x="2952001" y="1086314"/>
            <a:ext cx="6192000" cy="3245925"/>
            <a:chOff x="3936001" y="1448418"/>
            <a:chExt cx="8256000" cy="4327900"/>
          </a:xfrm>
        </p:grpSpPr>
        <p:pic>
          <p:nvPicPr>
            <p:cNvPr id="402" name="Google Shape;402;p14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3936001" y="1448418"/>
              <a:ext cx="8256000" cy="4327900"/>
            </a:xfrm>
            <a:prstGeom prst="rect">
              <a:avLst/>
            </a:prstGeom>
            <a:noFill/>
            <a:ln>
              <a:noFill/>
            </a:ln>
          </p:spPr>
        </p:pic>
        <p:sp>
          <p:nvSpPr>
            <p:cNvPr id="403" name="Google Shape;403;p141"/>
            <p:cNvSpPr/>
            <p:nvPr/>
          </p:nvSpPr>
          <p:spPr>
            <a:xfrm>
              <a:off x="7892321" y="5403954"/>
              <a:ext cx="329784" cy="74951"/>
            </a:xfrm>
            <a:prstGeom prst="rect">
              <a:avLst/>
            </a:prstGeom>
            <a:solidFill>
              <a:srgbClr val="2D2D2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chemeClr val="lt1"/>
                </a:solidFill>
                <a:latin typeface="Arial"/>
                <a:ea typeface="Arial"/>
                <a:cs typeface="Arial"/>
                <a:sym typeface="Arial"/>
              </a:endParaRPr>
            </a:p>
          </p:txBody>
        </p:sp>
      </p:grpSp>
      <p:sp>
        <p:nvSpPr>
          <p:cNvPr id="404" name="Google Shape;404;p141"/>
          <p:cNvSpPr txBox="1">
            <a:spLocks noGrp="1"/>
          </p:cNvSpPr>
          <p:nvPr>
            <p:ph type="body" idx="1"/>
          </p:nvPr>
        </p:nvSpPr>
        <p:spPr>
          <a:xfrm>
            <a:off x="216419" y="1369219"/>
            <a:ext cx="2763264" cy="2877104"/>
          </a:xfrm>
          <a:prstGeom prst="rect">
            <a:avLst/>
          </a:prstGeom>
          <a:noFill/>
          <a:ln>
            <a:noFill/>
          </a:ln>
        </p:spPr>
        <p:txBody>
          <a:bodyPr spcFirstLastPara="1" wrap="square" lIns="0" tIns="45700" rIns="0" bIns="45700" anchor="t" anchorCtr="0">
            <a:noAutofit/>
          </a:bodyPr>
          <a:lstStyle>
            <a:lvl1pPr marL="342900" lvl="0" indent="-257175" algn="l">
              <a:lnSpc>
                <a:spcPct val="100000"/>
              </a:lnSpc>
              <a:spcBef>
                <a:spcPts val="0"/>
              </a:spcBef>
              <a:spcAft>
                <a:spcPts val="0"/>
              </a:spcAft>
              <a:buClr>
                <a:schemeClr val="dk1"/>
              </a:buClr>
              <a:buSzPts val="1800"/>
              <a:buChar char="•"/>
              <a:defRPr/>
            </a:lvl1pPr>
            <a:lvl2pPr marL="685800" lvl="1" indent="-257175" algn="l">
              <a:lnSpc>
                <a:spcPct val="100000"/>
              </a:lnSpc>
              <a:spcBef>
                <a:spcPts val="450"/>
              </a:spcBef>
              <a:spcAft>
                <a:spcPts val="0"/>
              </a:spcAft>
              <a:buClr>
                <a:schemeClr val="dk1"/>
              </a:buClr>
              <a:buSzPts val="1800"/>
              <a:buChar char="-"/>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05" name="Google Shape;405;p141"/>
          <p:cNvSpPr txBox="1">
            <a:spLocks noGrp="1"/>
          </p:cNvSpPr>
          <p:nvPr>
            <p:ph type="sldNum" idx="12"/>
          </p:nvPr>
        </p:nvSpPr>
        <p:spPr>
          <a:xfrm>
            <a:off x="8238994" y="4826403"/>
            <a:ext cx="676406" cy="273844"/>
          </a:xfrm>
          <a:prstGeom prst="rect">
            <a:avLst/>
          </a:prstGeom>
          <a:noFill/>
          <a:ln>
            <a:noFill/>
          </a:ln>
        </p:spPr>
        <p:txBody>
          <a:bodyPr spcFirstLastPara="1" wrap="square" lIns="0" tIns="45700" rIns="0"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06" name="Google Shape;406;p141"/>
          <p:cNvSpPr txBox="1">
            <a:spLocks noGrp="1"/>
          </p:cNvSpPr>
          <p:nvPr>
            <p:ph type="body" idx="2"/>
          </p:nvPr>
        </p:nvSpPr>
        <p:spPr>
          <a:xfrm>
            <a:off x="216419" y="1013423"/>
            <a:ext cx="2763264" cy="327407"/>
          </a:xfrm>
          <a:prstGeom prst="rect">
            <a:avLst/>
          </a:prstGeom>
          <a:noFill/>
          <a:ln>
            <a:noFill/>
          </a:ln>
        </p:spPr>
        <p:txBody>
          <a:bodyPr spcFirstLastPara="1" wrap="square" lIns="0" tIns="45700" rIns="0" bIns="45700" anchor="b" anchorCtr="0">
            <a:noAutofit/>
          </a:bodyPr>
          <a:lstStyle>
            <a:lvl1pPr marL="342900" lvl="0" indent="-171450" algn="l">
              <a:lnSpc>
                <a:spcPct val="100000"/>
              </a:lnSpc>
              <a:spcBef>
                <a:spcPts val="0"/>
              </a:spcBef>
              <a:spcAft>
                <a:spcPts val="0"/>
              </a:spcAft>
              <a:buClr>
                <a:schemeClr val="lt2"/>
              </a:buClr>
              <a:buSzPts val="1600"/>
              <a:buNone/>
              <a:defRPr sz="1200" b="1">
                <a:solidFill>
                  <a:schemeClr val="lt2"/>
                </a:solidFill>
              </a:defRPr>
            </a:lvl1pPr>
            <a:lvl2pPr marL="685800" lvl="1" indent="-171450" algn="l">
              <a:lnSpc>
                <a:spcPct val="100000"/>
              </a:lnSpc>
              <a:spcBef>
                <a:spcPts val="45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07" name="Google Shape;407;p141"/>
          <p:cNvSpPr>
            <a:spLocks noGrp="1"/>
          </p:cNvSpPr>
          <p:nvPr>
            <p:ph type="pic" idx="3"/>
          </p:nvPr>
        </p:nvSpPr>
        <p:spPr>
          <a:xfrm>
            <a:off x="3857625" y="1169658"/>
            <a:ext cx="4381500" cy="2828925"/>
          </a:xfrm>
          <a:prstGeom prst="roundRect">
            <a:avLst>
              <a:gd name="adj" fmla="val 2189"/>
            </a:avLst>
          </a:prstGeom>
          <a:solidFill>
            <a:schemeClr val="dk1"/>
          </a:solidFill>
          <a:ln>
            <a:noFill/>
          </a:ln>
        </p:spPr>
      </p:sp>
      <p:sp>
        <p:nvSpPr>
          <p:cNvPr id="408" name="Google Shape;408;p141"/>
          <p:cNvSpPr txBox="1">
            <a:spLocks noGrp="1"/>
          </p:cNvSpPr>
          <p:nvPr>
            <p:ph type="body" idx="4"/>
          </p:nvPr>
        </p:nvSpPr>
        <p:spPr>
          <a:xfrm>
            <a:off x="216419" y="4488996"/>
            <a:ext cx="8686799" cy="273844"/>
          </a:xfrm>
          <a:prstGeom prst="rect">
            <a:avLst/>
          </a:prstGeom>
          <a:noFill/>
          <a:ln>
            <a:noFill/>
          </a:ln>
        </p:spPr>
        <p:txBody>
          <a:bodyPr spcFirstLastPara="1" wrap="square" lIns="0" tIns="45700" rIns="0" bIns="45700" anchor="b" anchorCtr="0">
            <a:noAutofit/>
          </a:bodyPr>
          <a:lstStyle>
            <a:lvl1pPr marL="342900" lvl="0" indent="-171450" algn="l">
              <a:lnSpc>
                <a:spcPct val="100000"/>
              </a:lnSpc>
              <a:spcBef>
                <a:spcPts val="0"/>
              </a:spcBef>
              <a:spcAft>
                <a:spcPts val="0"/>
              </a:spcAft>
              <a:buClr>
                <a:srgbClr val="B3B3B3"/>
              </a:buClr>
              <a:buSzPts val="800"/>
              <a:buNone/>
              <a:defRPr sz="600">
                <a:solidFill>
                  <a:srgbClr val="B3B3B3"/>
                </a:solidFill>
              </a:defRPr>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09" name="Google Shape;409;p141"/>
          <p:cNvSpPr txBox="1">
            <a:spLocks noGrp="1"/>
          </p:cNvSpPr>
          <p:nvPr>
            <p:ph type="body" idx="5"/>
          </p:nvPr>
        </p:nvSpPr>
        <p:spPr>
          <a:xfrm>
            <a:off x="216419" y="434621"/>
            <a:ext cx="8686800" cy="327407"/>
          </a:xfrm>
          <a:prstGeom prst="rect">
            <a:avLst/>
          </a:prstGeom>
          <a:noFill/>
          <a:ln>
            <a:noFill/>
          </a:ln>
        </p:spPr>
        <p:txBody>
          <a:bodyPr spcFirstLastPara="1" wrap="square" lIns="0" tIns="45700" rIns="0" bIns="45700" anchor="t" anchorCtr="0">
            <a:noAutofit/>
          </a:bodyPr>
          <a:lstStyle>
            <a:lvl1pPr marL="342900" lvl="0" indent="-171450" algn="l">
              <a:lnSpc>
                <a:spcPct val="100000"/>
              </a:lnSpc>
              <a:spcBef>
                <a:spcPts val="0"/>
              </a:spcBef>
              <a:spcAft>
                <a:spcPts val="0"/>
              </a:spcAft>
              <a:buClr>
                <a:schemeClr val="dk1"/>
              </a:buClr>
              <a:buSzPts val="1600"/>
              <a:buNone/>
              <a:defRPr sz="1200"/>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10" name="Google Shape;410;p141"/>
          <p:cNvSpPr txBox="1">
            <a:spLocks noGrp="1"/>
          </p:cNvSpPr>
          <p:nvPr>
            <p:ph type="title"/>
          </p:nvPr>
        </p:nvSpPr>
        <p:spPr>
          <a:xfrm>
            <a:off x="216419" y="134228"/>
            <a:ext cx="8686800" cy="298014"/>
          </a:xfrm>
          <a:prstGeom prst="rect">
            <a:avLst/>
          </a:prstGeom>
          <a:noFill/>
          <a:ln>
            <a:noFill/>
          </a:ln>
        </p:spPr>
        <p:txBody>
          <a:bodyPr spcFirstLastPara="1" wrap="square" lIns="0" tIns="45700" rIns="0" bIns="45700" anchor="ctr" anchorCtr="0">
            <a:noAutofit/>
          </a:bodyPr>
          <a:lstStyle>
            <a:lvl1pPr lvl="0" algn="l">
              <a:lnSpc>
                <a:spcPct val="100000"/>
              </a:lnSpc>
              <a:spcBef>
                <a:spcPts val="0"/>
              </a:spcBef>
              <a:spcAft>
                <a:spcPts val="0"/>
              </a:spcAft>
              <a:buClr>
                <a:schemeClr val="dk1"/>
              </a:buClr>
              <a:buSzPts val="2000"/>
              <a:buFont typeface="Arial"/>
              <a:buNone/>
              <a:defRPr sz="15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4914643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24_half_lt_blue">
  <p:cSld name="24_half_lt_blue">
    <p:spTree>
      <p:nvGrpSpPr>
        <p:cNvPr id="1" name="Shape 485"/>
        <p:cNvGrpSpPr/>
        <p:nvPr/>
      </p:nvGrpSpPr>
      <p:grpSpPr>
        <a:xfrm>
          <a:off x="0" y="0"/>
          <a:ext cx="0" cy="0"/>
          <a:chOff x="0" y="0"/>
          <a:chExt cx="0" cy="0"/>
        </a:xfrm>
      </p:grpSpPr>
      <p:sp>
        <p:nvSpPr>
          <p:cNvPr id="486" name="Google Shape;486;p158"/>
          <p:cNvSpPr/>
          <p:nvPr/>
        </p:nvSpPr>
        <p:spPr>
          <a:xfrm>
            <a:off x="0" y="0"/>
            <a:ext cx="9144000" cy="5143500"/>
          </a:xfrm>
          <a:prstGeom prst="rect">
            <a:avLst/>
          </a:prstGeom>
          <a:solidFill>
            <a:schemeClr val="lt1"/>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Arial"/>
              <a:ea typeface="Arial"/>
              <a:cs typeface="Arial"/>
              <a:sym typeface="Arial"/>
            </a:endParaRPr>
          </a:p>
        </p:txBody>
      </p:sp>
      <p:sp>
        <p:nvSpPr>
          <p:cNvPr id="487" name="Google Shape;487;p158"/>
          <p:cNvSpPr/>
          <p:nvPr/>
        </p:nvSpPr>
        <p:spPr>
          <a:xfrm>
            <a:off x="4572000" y="0"/>
            <a:ext cx="4572000" cy="5143500"/>
          </a:xfrm>
          <a:prstGeom prst="rect">
            <a:avLst/>
          </a:prstGeom>
          <a:solidFill>
            <a:srgbClr val="ACEDFF"/>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Arial"/>
              <a:ea typeface="Arial"/>
              <a:cs typeface="Arial"/>
              <a:sym typeface="Arial"/>
            </a:endParaRPr>
          </a:p>
        </p:txBody>
      </p:sp>
      <p:sp>
        <p:nvSpPr>
          <p:cNvPr id="488" name="Google Shape;488;p158"/>
          <p:cNvSpPr txBox="1">
            <a:spLocks noGrp="1"/>
          </p:cNvSpPr>
          <p:nvPr>
            <p:ph type="sldNum" idx="12"/>
          </p:nvPr>
        </p:nvSpPr>
        <p:spPr>
          <a:xfrm>
            <a:off x="8238994" y="4826403"/>
            <a:ext cx="676406" cy="273844"/>
          </a:xfrm>
          <a:prstGeom prst="rect">
            <a:avLst/>
          </a:prstGeom>
          <a:noFill/>
          <a:ln>
            <a:noFill/>
          </a:ln>
        </p:spPr>
        <p:txBody>
          <a:bodyPr spcFirstLastPara="1" wrap="square" lIns="0" tIns="45700" rIns="0"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489" name="Google Shape;489;p158"/>
          <p:cNvCxnSpPr/>
          <p:nvPr/>
        </p:nvCxnSpPr>
        <p:spPr>
          <a:xfrm>
            <a:off x="209199" y="4796816"/>
            <a:ext cx="8711164" cy="0"/>
          </a:xfrm>
          <a:prstGeom prst="straightConnector1">
            <a:avLst/>
          </a:prstGeom>
          <a:noFill/>
          <a:ln w="12700" cap="flat" cmpd="sng">
            <a:solidFill>
              <a:schemeClr val="dk1"/>
            </a:solidFill>
            <a:prstDash val="solid"/>
            <a:miter lim="800000"/>
            <a:headEnd type="none" w="sm" len="sm"/>
            <a:tailEnd type="none" w="sm" len="sm"/>
          </a:ln>
        </p:spPr>
      </p:cxnSp>
      <p:sp>
        <p:nvSpPr>
          <p:cNvPr id="490" name="Google Shape;490;p158"/>
          <p:cNvSpPr txBox="1">
            <a:spLocks noGrp="1"/>
          </p:cNvSpPr>
          <p:nvPr>
            <p:ph type="body" idx="1"/>
          </p:nvPr>
        </p:nvSpPr>
        <p:spPr>
          <a:xfrm>
            <a:off x="216419" y="1369219"/>
            <a:ext cx="4145720" cy="2877104"/>
          </a:xfrm>
          <a:prstGeom prst="rect">
            <a:avLst/>
          </a:prstGeom>
          <a:noFill/>
          <a:ln>
            <a:noFill/>
          </a:ln>
        </p:spPr>
        <p:txBody>
          <a:bodyPr spcFirstLastPara="1" wrap="square" lIns="0" tIns="45700" rIns="0" bIns="45700" anchor="t" anchorCtr="0">
            <a:noAutofit/>
          </a:bodyPr>
          <a:lstStyle>
            <a:lvl1pPr marL="342900" lvl="0" indent="-257175" algn="l">
              <a:lnSpc>
                <a:spcPct val="100000"/>
              </a:lnSpc>
              <a:spcBef>
                <a:spcPts val="0"/>
              </a:spcBef>
              <a:spcAft>
                <a:spcPts val="0"/>
              </a:spcAft>
              <a:buClr>
                <a:schemeClr val="dk1"/>
              </a:buClr>
              <a:buSzPts val="1800"/>
              <a:buChar char="•"/>
              <a:defRPr/>
            </a:lvl1pPr>
            <a:lvl2pPr marL="685800" lvl="1" indent="-257175" algn="l">
              <a:lnSpc>
                <a:spcPct val="100000"/>
              </a:lnSpc>
              <a:spcBef>
                <a:spcPts val="450"/>
              </a:spcBef>
              <a:spcAft>
                <a:spcPts val="0"/>
              </a:spcAft>
              <a:buClr>
                <a:schemeClr val="dk1"/>
              </a:buClr>
              <a:buSzPts val="1800"/>
              <a:buChar char="-"/>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1" name="Google Shape;491;p158"/>
          <p:cNvSpPr txBox="1">
            <a:spLocks noGrp="1"/>
          </p:cNvSpPr>
          <p:nvPr>
            <p:ph type="body" idx="2"/>
          </p:nvPr>
        </p:nvSpPr>
        <p:spPr>
          <a:xfrm>
            <a:off x="4769680" y="1369219"/>
            <a:ext cx="4145720" cy="2877104"/>
          </a:xfrm>
          <a:prstGeom prst="rect">
            <a:avLst/>
          </a:prstGeom>
          <a:noFill/>
          <a:ln>
            <a:noFill/>
          </a:ln>
        </p:spPr>
        <p:txBody>
          <a:bodyPr spcFirstLastPara="1" wrap="square" lIns="0" tIns="45700" rIns="0" bIns="45700" anchor="t" anchorCtr="0">
            <a:noAutofit/>
          </a:bodyPr>
          <a:lstStyle>
            <a:lvl1pPr marL="342900" lvl="0" indent="-257175" algn="l">
              <a:lnSpc>
                <a:spcPct val="100000"/>
              </a:lnSpc>
              <a:spcBef>
                <a:spcPts val="0"/>
              </a:spcBef>
              <a:spcAft>
                <a:spcPts val="0"/>
              </a:spcAft>
              <a:buClr>
                <a:schemeClr val="dk1"/>
              </a:buClr>
              <a:buSzPts val="1800"/>
              <a:buChar char="•"/>
              <a:defRPr/>
            </a:lvl1pPr>
            <a:lvl2pPr marL="685800" lvl="1" indent="-257175" algn="l">
              <a:lnSpc>
                <a:spcPct val="100000"/>
              </a:lnSpc>
              <a:spcBef>
                <a:spcPts val="450"/>
              </a:spcBef>
              <a:spcAft>
                <a:spcPts val="0"/>
              </a:spcAft>
              <a:buClr>
                <a:schemeClr val="dk1"/>
              </a:buClr>
              <a:buSzPts val="1800"/>
              <a:buChar char="-"/>
              <a:defRPr/>
            </a:lvl2pPr>
            <a:lvl3pPr marL="1028700" lvl="2" indent="-257175" algn="l">
              <a:lnSpc>
                <a:spcPct val="100000"/>
              </a:lnSpc>
              <a:spcBef>
                <a:spcPts val="450"/>
              </a:spcBef>
              <a:spcAft>
                <a:spcPts val="0"/>
              </a:spcAft>
              <a:buClr>
                <a:schemeClr val="dk1"/>
              </a:buClr>
              <a:buSzPts val="1800"/>
              <a:buChar char="•"/>
              <a:defRPr/>
            </a:lvl3pPr>
            <a:lvl4pPr marL="1371600" lvl="3" indent="-257175" algn="l">
              <a:lnSpc>
                <a:spcPct val="100000"/>
              </a:lnSpc>
              <a:spcBef>
                <a:spcPts val="450"/>
              </a:spcBef>
              <a:spcAft>
                <a:spcPts val="0"/>
              </a:spcAft>
              <a:buClr>
                <a:schemeClr val="dk1"/>
              </a:buClr>
              <a:buSzPts val="1800"/>
              <a:buChar char="•"/>
              <a:defRPr/>
            </a:lvl4pPr>
            <a:lvl5pPr marL="1714500" lvl="4" indent="-257175" algn="l">
              <a:lnSpc>
                <a:spcPct val="100000"/>
              </a:lnSpc>
              <a:spcBef>
                <a:spcPts val="450"/>
              </a:spcBef>
              <a:spcAft>
                <a:spcPts val="0"/>
              </a:spcAft>
              <a:buClr>
                <a:schemeClr val="dk1"/>
              </a:buClr>
              <a:buSzPts val="1800"/>
              <a:buChar char="•"/>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2" name="Google Shape;492;p158"/>
          <p:cNvSpPr txBox="1"/>
          <p:nvPr/>
        </p:nvSpPr>
        <p:spPr>
          <a:xfrm>
            <a:off x="6626269" y="4888445"/>
            <a:ext cx="1950929" cy="150011"/>
          </a:xfrm>
          <a:prstGeom prst="rect">
            <a:avLst/>
          </a:prstGeom>
          <a:noFill/>
          <a:ln>
            <a:noFill/>
          </a:ln>
        </p:spPr>
        <p:txBody>
          <a:bodyPr spcFirstLastPara="1" wrap="square" lIns="0" tIns="34275" rIns="0" bIns="34275" anchor="t" anchorCtr="0">
            <a:spAutoFit/>
          </a:bodyPr>
          <a:lstStyle/>
          <a:p>
            <a:pPr marL="0" marR="0" lvl="0" indent="0" algn="l" rtl="0">
              <a:lnSpc>
                <a:spcPct val="100000"/>
              </a:lnSpc>
              <a:spcBef>
                <a:spcPts val="0"/>
              </a:spcBef>
              <a:spcAft>
                <a:spcPts val="0"/>
              </a:spcAft>
              <a:buClr>
                <a:srgbClr val="BBBBBB"/>
              </a:buClr>
              <a:buSzPts val="700"/>
              <a:buFont typeface="Arial"/>
              <a:buNone/>
            </a:pPr>
            <a:r>
              <a:rPr lang="en-US" sz="525">
                <a:solidFill>
                  <a:srgbClr val="BBBBBB"/>
                </a:solidFill>
                <a:latin typeface="Arial"/>
                <a:ea typeface="Arial"/>
                <a:cs typeface="Arial"/>
                <a:sym typeface="Arial"/>
              </a:rPr>
              <a:t>© 2023 Nielsen Consumer LLC. All Rights Reserved.</a:t>
            </a:r>
            <a:endParaRPr sz="1050"/>
          </a:p>
        </p:txBody>
      </p:sp>
      <p:pic>
        <p:nvPicPr>
          <p:cNvPr id="493" name="Google Shape;493;p158"/>
          <p:cNvPicPr preferRelativeResize="0"/>
          <p:nvPr/>
        </p:nvPicPr>
        <p:blipFill rotWithShape="1">
          <a:blip r:embed="rId2">
            <a:alphaModFix/>
          </a:blip>
          <a:srcRect/>
          <a:stretch/>
        </p:blipFill>
        <p:spPr>
          <a:xfrm>
            <a:off x="217596" y="4871327"/>
            <a:ext cx="483489" cy="205740"/>
          </a:xfrm>
          <a:prstGeom prst="rect">
            <a:avLst/>
          </a:prstGeom>
          <a:noFill/>
          <a:ln>
            <a:noFill/>
          </a:ln>
        </p:spPr>
      </p:pic>
      <p:sp>
        <p:nvSpPr>
          <p:cNvPr id="494" name="Google Shape;494;p158"/>
          <p:cNvSpPr txBox="1">
            <a:spLocks noGrp="1"/>
          </p:cNvSpPr>
          <p:nvPr>
            <p:ph type="body" idx="3"/>
          </p:nvPr>
        </p:nvSpPr>
        <p:spPr>
          <a:xfrm>
            <a:off x="216419" y="4488996"/>
            <a:ext cx="8686799" cy="273844"/>
          </a:xfrm>
          <a:prstGeom prst="rect">
            <a:avLst/>
          </a:prstGeom>
          <a:noFill/>
          <a:ln>
            <a:noFill/>
          </a:ln>
        </p:spPr>
        <p:txBody>
          <a:bodyPr spcFirstLastPara="1" wrap="square" lIns="0" tIns="45700" rIns="0" bIns="45700" anchor="b" anchorCtr="0">
            <a:noAutofit/>
          </a:bodyPr>
          <a:lstStyle>
            <a:lvl1pPr marL="342900" lvl="0" indent="-171450" algn="l">
              <a:lnSpc>
                <a:spcPct val="100000"/>
              </a:lnSpc>
              <a:spcBef>
                <a:spcPts val="0"/>
              </a:spcBef>
              <a:spcAft>
                <a:spcPts val="0"/>
              </a:spcAft>
              <a:buClr>
                <a:srgbClr val="B3B3B3"/>
              </a:buClr>
              <a:buSzPts val="800"/>
              <a:buNone/>
              <a:defRPr sz="600">
                <a:solidFill>
                  <a:srgbClr val="B3B3B3"/>
                </a:solidFill>
              </a:defRPr>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5" name="Google Shape;495;p158"/>
          <p:cNvSpPr txBox="1">
            <a:spLocks noGrp="1"/>
          </p:cNvSpPr>
          <p:nvPr>
            <p:ph type="body" idx="4"/>
          </p:nvPr>
        </p:nvSpPr>
        <p:spPr>
          <a:xfrm>
            <a:off x="4769681" y="134228"/>
            <a:ext cx="4164458" cy="298014"/>
          </a:xfrm>
          <a:prstGeom prst="rect">
            <a:avLst/>
          </a:prstGeom>
          <a:noFill/>
          <a:ln>
            <a:noFill/>
          </a:ln>
        </p:spPr>
        <p:txBody>
          <a:bodyPr spcFirstLastPara="1" wrap="square" lIns="0" tIns="45700" rIns="0" bIns="45700" anchor="ctr" anchorCtr="0">
            <a:noAutofit/>
          </a:bodyPr>
          <a:lstStyle>
            <a:lvl1pPr marL="342900" lvl="0" indent="-171450" algn="l">
              <a:lnSpc>
                <a:spcPct val="100000"/>
              </a:lnSpc>
              <a:spcBef>
                <a:spcPts val="0"/>
              </a:spcBef>
              <a:spcAft>
                <a:spcPts val="0"/>
              </a:spcAft>
              <a:buClr>
                <a:schemeClr val="dk1"/>
              </a:buClr>
              <a:buSzPts val="2000"/>
              <a:buNone/>
              <a:defRPr sz="1500" b="1">
                <a:solidFill>
                  <a:schemeClr val="dk1"/>
                </a:solidFill>
                <a:latin typeface="Arial"/>
                <a:ea typeface="Arial"/>
                <a:cs typeface="Arial"/>
                <a:sym typeface="Arial"/>
              </a:defRPr>
            </a:lvl1pPr>
            <a:lvl2pPr marL="685800" lvl="1" indent="-285750" algn="l">
              <a:lnSpc>
                <a:spcPct val="100000"/>
              </a:lnSpc>
              <a:spcBef>
                <a:spcPts val="450"/>
              </a:spcBef>
              <a:spcAft>
                <a:spcPts val="0"/>
              </a:spcAft>
              <a:buClr>
                <a:schemeClr val="dk1"/>
              </a:buClr>
              <a:buSzPts val="2400"/>
              <a:buChar char="-"/>
              <a:defRPr sz="1800" b="1">
                <a:latin typeface="Arial"/>
                <a:ea typeface="Arial"/>
                <a:cs typeface="Arial"/>
                <a:sym typeface="Arial"/>
              </a:defRPr>
            </a:lvl2pPr>
            <a:lvl3pPr marL="1028700" lvl="2" indent="-285750" algn="l">
              <a:lnSpc>
                <a:spcPct val="100000"/>
              </a:lnSpc>
              <a:spcBef>
                <a:spcPts val="450"/>
              </a:spcBef>
              <a:spcAft>
                <a:spcPts val="0"/>
              </a:spcAft>
              <a:buClr>
                <a:schemeClr val="dk1"/>
              </a:buClr>
              <a:buSzPts val="2400"/>
              <a:buChar char="•"/>
              <a:defRPr sz="1800" b="1">
                <a:latin typeface="Arial"/>
                <a:ea typeface="Arial"/>
                <a:cs typeface="Arial"/>
                <a:sym typeface="Arial"/>
              </a:defRPr>
            </a:lvl3pPr>
            <a:lvl4pPr marL="1371600" lvl="3" indent="-285750" algn="l">
              <a:lnSpc>
                <a:spcPct val="100000"/>
              </a:lnSpc>
              <a:spcBef>
                <a:spcPts val="450"/>
              </a:spcBef>
              <a:spcAft>
                <a:spcPts val="0"/>
              </a:spcAft>
              <a:buClr>
                <a:schemeClr val="dk1"/>
              </a:buClr>
              <a:buSzPts val="2400"/>
              <a:buChar char="•"/>
              <a:defRPr sz="1800" b="1">
                <a:latin typeface="Arial"/>
                <a:ea typeface="Arial"/>
                <a:cs typeface="Arial"/>
                <a:sym typeface="Arial"/>
              </a:defRPr>
            </a:lvl4pPr>
            <a:lvl5pPr marL="1714500" lvl="4" indent="-285750" algn="l">
              <a:lnSpc>
                <a:spcPct val="100000"/>
              </a:lnSpc>
              <a:spcBef>
                <a:spcPts val="450"/>
              </a:spcBef>
              <a:spcAft>
                <a:spcPts val="0"/>
              </a:spcAft>
              <a:buClr>
                <a:schemeClr val="dk1"/>
              </a:buClr>
              <a:buSzPts val="2400"/>
              <a:buChar char="•"/>
              <a:defRPr sz="1800" b="1">
                <a:latin typeface="Arial"/>
                <a:ea typeface="Arial"/>
                <a:cs typeface="Arial"/>
                <a:sym typeface="Arial"/>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6" name="Google Shape;496;p158"/>
          <p:cNvSpPr txBox="1">
            <a:spLocks noGrp="1"/>
          </p:cNvSpPr>
          <p:nvPr>
            <p:ph type="body" idx="5"/>
          </p:nvPr>
        </p:nvSpPr>
        <p:spPr>
          <a:xfrm>
            <a:off x="4769680" y="432242"/>
            <a:ext cx="4185560" cy="329786"/>
          </a:xfrm>
          <a:prstGeom prst="rect">
            <a:avLst/>
          </a:prstGeom>
          <a:noFill/>
          <a:ln>
            <a:noFill/>
          </a:ln>
        </p:spPr>
        <p:txBody>
          <a:bodyPr spcFirstLastPara="1" wrap="square" lIns="0" tIns="45700" rIns="0" bIns="45700" anchor="t" anchorCtr="0">
            <a:noAutofit/>
          </a:bodyPr>
          <a:lstStyle>
            <a:lvl1pPr marL="342900" lvl="0" indent="-171450" algn="l">
              <a:lnSpc>
                <a:spcPct val="100000"/>
              </a:lnSpc>
              <a:spcBef>
                <a:spcPts val="0"/>
              </a:spcBef>
              <a:spcAft>
                <a:spcPts val="0"/>
              </a:spcAft>
              <a:buClr>
                <a:schemeClr val="dk1"/>
              </a:buClr>
              <a:buSzPts val="1600"/>
              <a:buNone/>
              <a:defRPr sz="1200">
                <a:solidFill>
                  <a:schemeClr val="dk1"/>
                </a:solidFill>
              </a:defRPr>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7" name="Google Shape;497;p158"/>
          <p:cNvSpPr txBox="1">
            <a:spLocks noGrp="1"/>
          </p:cNvSpPr>
          <p:nvPr>
            <p:ph type="body" idx="6"/>
          </p:nvPr>
        </p:nvSpPr>
        <p:spPr>
          <a:xfrm>
            <a:off x="216419" y="434621"/>
            <a:ext cx="4152940" cy="327407"/>
          </a:xfrm>
          <a:prstGeom prst="rect">
            <a:avLst/>
          </a:prstGeom>
          <a:noFill/>
          <a:ln>
            <a:noFill/>
          </a:ln>
        </p:spPr>
        <p:txBody>
          <a:bodyPr spcFirstLastPara="1" wrap="square" lIns="0" tIns="45700" rIns="0" bIns="45700" anchor="t" anchorCtr="0">
            <a:noAutofit/>
          </a:bodyPr>
          <a:lstStyle>
            <a:lvl1pPr marL="342900" lvl="0" indent="-171450" algn="l">
              <a:lnSpc>
                <a:spcPct val="100000"/>
              </a:lnSpc>
              <a:spcBef>
                <a:spcPts val="0"/>
              </a:spcBef>
              <a:spcAft>
                <a:spcPts val="0"/>
              </a:spcAft>
              <a:buClr>
                <a:schemeClr val="dk1"/>
              </a:buClr>
              <a:buSzPts val="1600"/>
              <a:buNone/>
              <a:defRPr sz="1200">
                <a:solidFill>
                  <a:schemeClr val="dk1"/>
                </a:solidFill>
              </a:defRPr>
            </a:lvl1pPr>
            <a:lvl2pPr marL="685800" lvl="1" indent="-171450" algn="l">
              <a:lnSpc>
                <a:spcPct val="100000"/>
              </a:lnSpc>
              <a:spcBef>
                <a:spcPts val="0"/>
              </a:spcBef>
              <a:spcAft>
                <a:spcPts val="0"/>
              </a:spcAft>
              <a:buClr>
                <a:schemeClr val="dk1"/>
              </a:buClr>
              <a:buSzPts val="1400"/>
              <a:buNone/>
              <a:defRPr/>
            </a:lvl2pPr>
            <a:lvl3pPr marL="1028700" lvl="2" indent="-171450" algn="l">
              <a:lnSpc>
                <a:spcPct val="100000"/>
              </a:lnSpc>
              <a:spcBef>
                <a:spcPts val="450"/>
              </a:spcBef>
              <a:spcAft>
                <a:spcPts val="0"/>
              </a:spcAft>
              <a:buClr>
                <a:schemeClr val="dk1"/>
              </a:buClr>
              <a:buSzPts val="1200"/>
              <a:buNone/>
              <a:defRPr/>
            </a:lvl3pPr>
            <a:lvl4pPr marL="1371600" lvl="3" indent="-171450" algn="l">
              <a:lnSpc>
                <a:spcPct val="100000"/>
              </a:lnSpc>
              <a:spcBef>
                <a:spcPts val="450"/>
              </a:spcBef>
              <a:spcAft>
                <a:spcPts val="0"/>
              </a:spcAft>
              <a:buClr>
                <a:schemeClr val="dk1"/>
              </a:buClr>
              <a:buSzPts val="1100"/>
              <a:buNone/>
              <a:defRPr/>
            </a:lvl4pPr>
            <a:lvl5pPr marL="1714500" lvl="4" indent="-171450" algn="l">
              <a:lnSpc>
                <a:spcPct val="100000"/>
              </a:lnSpc>
              <a:spcBef>
                <a:spcPts val="450"/>
              </a:spcBef>
              <a:spcAft>
                <a:spcPts val="0"/>
              </a:spcAft>
              <a:buClr>
                <a:schemeClr val="dk1"/>
              </a:buClr>
              <a:buSzPts val="1100"/>
              <a:buNone/>
              <a:defRPr/>
            </a:lvl5pPr>
            <a:lvl6pPr marL="2057400" lvl="5" indent="-257175" algn="l">
              <a:lnSpc>
                <a:spcPct val="90000"/>
              </a:lnSpc>
              <a:spcBef>
                <a:spcPts val="450"/>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8" name="Google Shape;498;p158"/>
          <p:cNvSpPr txBox="1">
            <a:spLocks noGrp="1"/>
          </p:cNvSpPr>
          <p:nvPr>
            <p:ph type="title"/>
          </p:nvPr>
        </p:nvSpPr>
        <p:spPr>
          <a:xfrm>
            <a:off x="216419" y="134228"/>
            <a:ext cx="4152940" cy="298014"/>
          </a:xfrm>
          <a:prstGeom prst="rect">
            <a:avLst/>
          </a:prstGeom>
          <a:noFill/>
          <a:ln>
            <a:noFill/>
          </a:ln>
        </p:spPr>
        <p:txBody>
          <a:bodyPr spcFirstLastPara="1" wrap="square" lIns="0" tIns="45700" rIns="0" bIns="45700" anchor="ctr" anchorCtr="0">
            <a:noAutofit/>
          </a:bodyPr>
          <a:lstStyle>
            <a:lvl1pPr lvl="0" algn="l">
              <a:lnSpc>
                <a:spcPct val="100000"/>
              </a:lnSpc>
              <a:spcBef>
                <a:spcPts val="0"/>
              </a:spcBef>
              <a:spcAft>
                <a:spcPts val="0"/>
              </a:spcAft>
              <a:buClr>
                <a:schemeClr val="dk1"/>
              </a:buClr>
              <a:buSzPts val="2000"/>
              <a:buFont typeface="Arial"/>
              <a:buNone/>
              <a:defRPr sz="15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86280916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35_three_columns_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255055"/>
            <a:ext cx="8686800" cy="327406"/>
          </a:xfrm>
        </p:spPr>
        <p:txBody>
          <a:bodyPr/>
          <a:lstStyle/>
          <a:p>
            <a:r>
              <a:rPr lang="en-US"/>
              <a:t>Insert your slide title in Arial bold 24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749783"/>
            <a:ext cx="2763264" cy="1479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599579"/>
            <a:ext cx="8686800" cy="327407"/>
          </a:xfrm>
        </p:spPr>
        <p:txBody>
          <a:bodyPr/>
          <a:lstStyle>
            <a:lvl1pPr marL="0" indent="0">
              <a:buNone/>
              <a:defRPr sz="135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8pt</a:t>
            </a:r>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749783"/>
            <a:ext cx="2763264" cy="1479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749783"/>
            <a:ext cx="2763264" cy="1479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920664" y="4488996"/>
            <a:ext cx="5768236" cy="273844"/>
          </a:xfrm>
        </p:spPr>
        <p:txBody>
          <a:bodyPr anchor="b" anchorCtr="0"/>
          <a:lstStyle>
            <a:lvl1pPr marL="0" indent="0">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106766"/>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106766"/>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106766"/>
            <a:ext cx="2763264" cy="1530834"/>
          </a:xfrm>
        </p:spPr>
        <p:txBody>
          <a:bodyPr/>
          <a:lstStyle>
            <a:lvl1pPr marL="0" indent="0" algn="ctr">
              <a:buNone/>
              <a:defRPr/>
            </a:lvl1pPr>
          </a:lstStyle>
          <a:p>
            <a:r>
              <a:rPr lang="en-US"/>
              <a:t>Click picture icon to add photo</a:t>
            </a:r>
          </a:p>
        </p:txBody>
      </p:sp>
    </p:spTree>
    <p:extLst>
      <p:ext uri="{BB962C8B-B14F-4D97-AF65-F5344CB8AC3E}">
        <p14:creationId xmlns:p14="http://schemas.microsoft.com/office/powerpoint/2010/main" val="340545486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Q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00195621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
        <p:nvSpPr>
          <p:cNvPr id="2" name="TextBox 13">
            <a:extLst>
              <a:ext uri="{FF2B5EF4-FFF2-40B4-BE49-F238E27FC236}">
                <a16:creationId xmlns:a16="http://schemas.microsoft.com/office/drawing/2014/main" id="{6EF5F6FA-4466-B498-79B4-D43F5C7E8A49}"/>
              </a:ext>
            </a:extLst>
          </p:cNvPr>
          <p:cNvSpPr txBox="1"/>
          <p:nvPr userDrawn="1"/>
        </p:nvSpPr>
        <p:spPr>
          <a:xfrm>
            <a:off x="6626269" y="4888445"/>
            <a:ext cx="1950929" cy="173124"/>
          </a:xfrm>
          <a:prstGeom prst="rect">
            <a:avLst/>
          </a:prstGeom>
          <a:solidFill>
            <a:schemeClr val="bg1"/>
          </a:solid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38607846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
        <p:nvSpPr>
          <p:cNvPr id="10" name="TextBox 13">
            <a:extLst>
              <a:ext uri="{FF2B5EF4-FFF2-40B4-BE49-F238E27FC236}">
                <a16:creationId xmlns:a16="http://schemas.microsoft.com/office/drawing/2014/main" id="{E84F5911-97FF-CFC7-3508-3898E79D5BB5}"/>
              </a:ext>
            </a:extLst>
          </p:cNvPr>
          <p:cNvSpPr txBox="1"/>
          <p:nvPr userDrawn="1"/>
        </p:nvSpPr>
        <p:spPr>
          <a:xfrm>
            <a:off x="6626269" y="4888445"/>
            <a:ext cx="1950929" cy="173124"/>
          </a:xfrm>
          <a:prstGeom prst="rect">
            <a:avLst/>
          </a:prstGeom>
          <a:solidFill>
            <a:schemeClr val="bg1"/>
          </a:solid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9207158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34_four_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255055"/>
            <a:ext cx="8686800" cy="327406"/>
          </a:xfrm>
        </p:spPr>
        <p:txBody>
          <a:bodyPr/>
          <a:lstStyle/>
          <a:p>
            <a:r>
              <a:rPr lang="en-US"/>
              <a:t>Insert your slide title in Arial bold 24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599579"/>
            <a:ext cx="8686800" cy="327407"/>
          </a:xfrm>
        </p:spPr>
        <p:txBody>
          <a:bodyPr/>
          <a:lstStyle>
            <a:lvl1pPr marL="0" indent="0">
              <a:buNone/>
              <a:defRPr sz="135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8pt</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9" name="Text Placeholder 10">
            <a:extLst>
              <a:ext uri="{FF2B5EF4-FFF2-40B4-BE49-F238E27FC236}">
                <a16:creationId xmlns:a16="http://schemas.microsoft.com/office/drawing/2014/main" id="{09B289E2-2EC9-4A01-845C-3041887146A1}"/>
              </a:ext>
            </a:extLst>
          </p:cNvPr>
          <p:cNvSpPr>
            <a:spLocks noGrp="1"/>
          </p:cNvSpPr>
          <p:nvPr>
            <p:ph type="body" sz="quarter" idx="14" hasCustomPrompt="1"/>
          </p:nvPr>
        </p:nvSpPr>
        <p:spPr>
          <a:xfrm>
            <a:off x="920664" y="4488996"/>
            <a:ext cx="5768236" cy="273844"/>
          </a:xfrm>
        </p:spPr>
        <p:txBody>
          <a:bodyPr anchor="b" anchorCtr="0"/>
          <a:lstStyle>
            <a:lvl1pPr marL="0" indent="0">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312106685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15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20" y="4899178"/>
            <a:ext cx="1843841" cy="173124"/>
          </a:xfrm>
          <a:prstGeom prst="rect">
            <a:avLst/>
          </a:prstGeom>
          <a:noFill/>
        </p:spPr>
        <p:txBody>
          <a:bodyPr wrap="square" lIns="0" rIns="0" rtlCol="0">
            <a:spAutoFit/>
          </a:body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525">
                <a:solidFill>
                  <a:schemeClr val="bg1"/>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16418" y="476276"/>
            <a:ext cx="6481562" cy="1790700"/>
          </a:xfr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2" y="4270823"/>
            <a:ext cx="914399" cy="389105"/>
          </a:xfrm>
          <a:prstGeom prst="rect">
            <a:avLst/>
          </a:prstGeom>
        </p:spPr>
      </p:pic>
      <p:sp>
        <p:nvSpPr>
          <p:cNvPr id="19" name="Text Placeholder 17">
            <a:extLst>
              <a:ext uri="{FF2B5EF4-FFF2-40B4-BE49-F238E27FC236}">
                <a16:creationId xmlns:a16="http://schemas.microsoft.com/office/drawing/2014/main" id="{40831154-0FAA-0B70-EB28-B043A79480B0}"/>
              </a:ext>
            </a:extLst>
          </p:cNvPr>
          <p:cNvSpPr>
            <a:spLocks noGrp="1"/>
          </p:cNvSpPr>
          <p:nvPr>
            <p:ph type="body" sz="quarter" idx="10" hasCustomPrompt="1"/>
          </p:nvPr>
        </p:nvSpPr>
        <p:spPr>
          <a:xfrm>
            <a:off x="216420"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892" indent="0">
              <a:buNone/>
              <a:defRPr sz="900" b="1">
                <a:solidFill>
                  <a:schemeClr val="bg1"/>
                </a:solidFill>
              </a:defRPr>
            </a:lvl2pPr>
            <a:lvl3pPr marL="685783" indent="0">
              <a:buNone/>
              <a:defRPr sz="900" b="1">
                <a:solidFill>
                  <a:schemeClr val="bg1"/>
                </a:solidFill>
              </a:defRPr>
            </a:lvl3pPr>
            <a:lvl4pPr marL="1028675" indent="0">
              <a:buNone/>
              <a:defRPr sz="900" b="1">
                <a:solidFill>
                  <a:schemeClr val="bg1"/>
                </a:solidFill>
              </a:defRPr>
            </a:lvl4pPr>
            <a:lvl5pPr marL="1371566" indent="0">
              <a:buNone/>
              <a:defRPr sz="900" b="1">
                <a:solidFill>
                  <a:schemeClr val="bg1"/>
                </a:solidFill>
              </a:defRPr>
            </a:lvl5pPr>
          </a:lstStyle>
          <a:p>
            <a:pPr lvl="0"/>
            <a:r>
              <a:rPr lang="en-US"/>
              <a:t>First name Last name</a:t>
            </a:r>
          </a:p>
        </p:txBody>
      </p:sp>
      <p:sp>
        <p:nvSpPr>
          <p:cNvPr id="20" name="Text Placeholder 17">
            <a:extLst>
              <a:ext uri="{FF2B5EF4-FFF2-40B4-BE49-F238E27FC236}">
                <a16:creationId xmlns:a16="http://schemas.microsoft.com/office/drawing/2014/main" id="{BB7F86ED-8664-3902-8DC3-481DB65EAC76}"/>
              </a:ext>
            </a:extLst>
          </p:cNvPr>
          <p:cNvSpPr>
            <a:spLocks noGrp="1"/>
          </p:cNvSpPr>
          <p:nvPr>
            <p:ph type="body" sz="quarter" idx="11" hasCustomPrompt="1"/>
          </p:nvPr>
        </p:nvSpPr>
        <p:spPr>
          <a:xfrm>
            <a:off x="216420" y="3530612"/>
            <a:ext cx="6481562" cy="31759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892" indent="0">
              <a:buNone/>
              <a:defRPr sz="900" b="1">
                <a:solidFill>
                  <a:schemeClr val="bg1"/>
                </a:solidFill>
              </a:defRPr>
            </a:lvl2pPr>
            <a:lvl3pPr marL="685783" indent="0">
              <a:buNone/>
              <a:defRPr sz="900" b="1">
                <a:solidFill>
                  <a:schemeClr val="bg1"/>
                </a:solidFill>
              </a:defRPr>
            </a:lvl3pPr>
            <a:lvl4pPr marL="1028675" indent="0">
              <a:buNone/>
              <a:defRPr sz="900" b="1">
                <a:solidFill>
                  <a:schemeClr val="bg1"/>
                </a:solidFill>
              </a:defRPr>
            </a:lvl4pPr>
            <a:lvl5pPr marL="1371566" indent="0">
              <a:buNone/>
              <a:defRPr sz="900" b="1">
                <a:solidFill>
                  <a:schemeClr val="bg1"/>
                </a:solidFill>
              </a:defRPr>
            </a:lvl5pPr>
          </a:lstStyle>
          <a:p>
            <a:pPr lvl="0"/>
            <a:r>
              <a:rPr lang="en-US"/>
              <a:t>Title/Department</a:t>
            </a:r>
          </a:p>
          <a:p>
            <a:pPr lvl="0"/>
            <a:r>
              <a:rPr lang="en-US"/>
              <a:t>Date</a:t>
            </a:r>
          </a:p>
        </p:txBody>
      </p:sp>
    </p:spTree>
    <p:extLst>
      <p:ext uri="{BB962C8B-B14F-4D97-AF65-F5344CB8AC3E}">
        <p14:creationId xmlns:p14="http://schemas.microsoft.com/office/powerpoint/2010/main" val="774764613"/>
      </p:ext>
    </p:extLst>
  </p:cSld>
  <p:clrMapOvr>
    <a:overrideClrMapping bg1="lt1" tx1="dk1" bg2="lt2" tx2="dk2" accent1="accent1" accent2="accent2" accent3="accent3" accent4="accent4" accent5="accent5" accent6="accent6" hlink="hlink" folHlink="folHlink"/>
  </p:clrMapOvr>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15131" y="-24652"/>
            <a:ext cx="4728869"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140941211"/>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3850378507"/>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9" name="Title 8"/>
          <p:cNvSpPr>
            <a:spLocks noGrp="1"/>
          </p:cNvSpPr>
          <p:nvPr>
            <p:ph type="title" hasCustomPrompt="1"/>
          </p:nvPr>
        </p:nvSpPr>
        <p:spPr>
          <a:xfrm>
            <a:off x="594360" y="353483"/>
            <a:ext cx="8166672" cy="433917"/>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594359" y="4780026"/>
            <a:ext cx="8165592" cy="274320"/>
          </a:xfrm>
          <a:prstGeom prst="rect">
            <a:avLst/>
          </a:prstGeom>
        </p:spPr>
        <p:txBody>
          <a:bodyPr wrap="square" tIns="0" bIns="0" anchor="b" anchorCtr="0"/>
          <a:lstStyle>
            <a:lvl1pPr marL="0" indent="0">
              <a:spcBef>
                <a:spcPts val="60"/>
              </a:spcBef>
              <a:buNone/>
              <a:defRPr sz="800" b="0" baseline="0">
                <a:solidFill>
                  <a:schemeClr val="bg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Text Placeholder 2"/>
          <p:cNvSpPr>
            <a:spLocks noGrp="1"/>
          </p:cNvSpPr>
          <p:nvPr>
            <p:ph type="body" idx="16" hasCustomPrompt="1"/>
          </p:nvPr>
        </p:nvSpPr>
        <p:spPr>
          <a:xfrm>
            <a:off x="594360" y="819151"/>
            <a:ext cx="8165592" cy="236339"/>
          </a:xfrm>
          <a:prstGeom prst="rect">
            <a:avLst/>
          </a:prstGeom>
        </p:spPr>
        <p:txBody>
          <a:bodyPr wrap="square" tIns="0" bIns="0" anchor="t" anchorCtr="0"/>
          <a:lstStyle>
            <a:lvl1pPr marL="0" indent="0">
              <a:spcBef>
                <a:spcPts val="0"/>
              </a:spcBef>
              <a:buNone/>
              <a:defRPr sz="1800" b="0" baseline="0">
                <a:solidFill>
                  <a:schemeClr val="bg1"/>
                </a:solidFill>
                <a:latin typeface="Arial"/>
                <a:cs typeface="Aria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10275" y="4879725"/>
            <a:ext cx="5064000" cy="1848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500">
                <a:solidFill>
                  <a:schemeClr val="bg1"/>
                </a:solidFill>
                <a:latin typeface="+mn-lt"/>
                <a:ea typeface="Montserrat Light"/>
                <a:cs typeface="Montserrat Light"/>
                <a:sym typeface="Montserrat Light"/>
              </a:rPr>
              <a:t>© </a:t>
            </a:r>
            <a:r>
              <a:rPr lang="en-US" sz="500">
                <a:solidFill>
                  <a:schemeClr val="bg1"/>
                </a:solidFill>
                <a:latin typeface="+mn-lt"/>
                <a:ea typeface="Montserrat Light"/>
                <a:cs typeface="Montserrat Light"/>
                <a:sym typeface="Montserrat Light"/>
              </a:rPr>
              <a:t>2023 Nielsen</a:t>
            </a:r>
            <a:r>
              <a:rPr lang="en" sz="500">
                <a:solidFill>
                  <a:schemeClr val="bg1"/>
                </a:solidFill>
                <a:latin typeface="+mn-lt"/>
                <a:ea typeface="Montserrat Light"/>
                <a:cs typeface="Montserrat Light"/>
                <a:sym typeface="Montserrat Light"/>
              </a:rPr>
              <a:t> Consumer LLC. All Rights Reserved.</a:t>
            </a:r>
            <a:endParaRPr sz="500" i="0" u="none" strike="noStrike" cap="none">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8" y="4521602"/>
            <a:ext cx="483489" cy="205740"/>
          </a:xfrm>
          <a:prstGeom prst="rect">
            <a:avLst/>
          </a:prstGeom>
        </p:spPr>
      </p:pic>
    </p:spTree>
    <p:extLst>
      <p:ext uri="{BB962C8B-B14F-4D97-AF65-F5344CB8AC3E}">
        <p14:creationId xmlns:p14="http://schemas.microsoft.com/office/powerpoint/2010/main" val="3234841662"/>
      </p:ext>
    </p:extLst>
  </p:cSld>
  <p:clrMapOvr>
    <a:masterClrMapping/>
  </p:clrMapOvr>
  <p:hf sldNum="0"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37" b="-632"/>
          <a:stretch/>
        </p:blipFill>
        <p:spPr>
          <a:xfrm>
            <a:off x="0" y="0"/>
            <a:ext cx="4823460" cy="51435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3390826135"/>
      </p:ext>
    </p:extLst>
  </p:cSld>
  <p:clrMapOvr>
    <a:overrideClrMapping bg1="lt1" tx1="dk1" bg2="lt2" tx2="dk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277320035"/>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48" b="-633"/>
          <a:stretch/>
        </p:blipFill>
        <p:spPr>
          <a:xfrm>
            <a:off x="0" y="-1"/>
            <a:ext cx="4798370" cy="513513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20" y="986162"/>
            <a:ext cx="6476042" cy="1899395"/>
          </a:xfrm>
          <a:prstGeom prst="rect">
            <a:avLst/>
          </a:prstGeom>
        </p:spPr>
        <p:txBody>
          <a:bodyPr anchor="b" anchorCtr="0">
            <a:noAutofit/>
          </a:bodyPr>
          <a:lstStyle>
            <a:lvl1pPr algn="l">
              <a:defRPr sz="36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933068"/>
            <a:ext cx="647604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363432446"/>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2_title_and_content (Two Lin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 Placeholder 6">
            <a:extLst>
              <a:ext uri="{FF2B5EF4-FFF2-40B4-BE49-F238E27FC236}">
                <a16:creationId xmlns:a16="http://schemas.microsoft.com/office/drawing/2014/main" id="{49DEA424-CC98-2323-6BD6-53CACA9A98C7}"/>
              </a:ext>
            </a:extLst>
          </p:cNvPr>
          <p:cNvSpPr>
            <a:spLocks noGrp="1"/>
          </p:cNvSpPr>
          <p:nvPr>
            <p:ph type="body" sz="quarter" idx="13" hasCustomPrompt="1"/>
          </p:nvPr>
        </p:nvSpPr>
        <p:spPr>
          <a:xfrm>
            <a:off x="216418" y="673721"/>
            <a:ext cx="8698982"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8CCE40A5-B4C8-02BD-1806-899DEE912494}"/>
              </a:ext>
            </a:extLst>
          </p:cNvPr>
          <p:cNvSpPr>
            <a:spLocks noGrp="1"/>
          </p:cNvSpPr>
          <p:nvPr>
            <p:ph type="title" hasCustomPrompt="1"/>
          </p:nvPr>
        </p:nvSpPr>
        <p:spPr>
          <a:xfrm>
            <a:off x="216418" y="134228"/>
            <a:ext cx="8698982" cy="525732"/>
          </a:xfrm>
          <a:prstGeom prst="rect">
            <a:avLst/>
          </a:prstGeom>
        </p:spPr>
        <p:txBody>
          <a:bodyPr anchor="t"/>
          <a:lstStyle>
            <a:lvl1pPr>
              <a:defRPr sz="1500"/>
            </a:lvl1pPr>
          </a:lstStyle>
          <a:p>
            <a:r>
              <a:rPr lang="en-US"/>
              <a:t>Insert your slide title in Arial bold 20pt</a:t>
            </a:r>
          </a:p>
        </p:txBody>
      </p:sp>
    </p:spTree>
    <p:extLst>
      <p:ext uri="{BB962C8B-B14F-4D97-AF65-F5344CB8AC3E}">
        <p14:creationId xmlns:p14="http://schemas.microsoft.com/office/powerpoint/2010/main" val="105973946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4_divider_deep_viole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C22CB1-3C2D-8000-377A-1D9A12EEA742}"/>
              </a:ext>
            </a:extLst>
          </p:cNvPr>
          <p:cNvSpPr/>
          <p:nvPr userDrawn="1"/>
        </p:nvSpPr>
        <p:spPr>
          <a:xfrm>
            <a:off x="209199" y="105013"/>
            <a:ext cx="6653666" cy="217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rgbClr val="B3B3B3"/>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BF749EA-836B-83E3-C743-0FC08B6657F8}"/>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rgbClr val="B3B3B3"/>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836676" y="2606040"/>
            <a:ext cx="0" cy="0"/>
          </a:xfrm>
          <a:prstGeom prst="rect">
            <a:avLst/>
          </a:prstGeom>
          <a:noFill/>
        </p:spPr>
        <p:txBody>
          <a:bodyPr wrap="none" lIns="0" rIns="0" rtlCol="0">
            <a:noAutofit/>
          </a:bodyPr>
          <a:lstStyle/>
          <a:p>
            <a:pPr algn="l">
              <a:spcAft>
                <a:spcPts val="450"/>
              </a:spcAft>
            </a:pPr>
            <a:endParaRPr lang="en-US" sz="120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557213" y="4296966"/>
            <a:ext cx="0" cy="0"/>
          </a:xfrm>
          <a:prstGeom prst="rect">
            <a:avLst/>
          </a:prstGeom>
          <a:noFill/>
        </p:spPr>
        <p:txBody>
          <a:bodyPr wrap="none" lIns="0" rIns="0" rtlCol="0">
            <a:noAutofit/>
          </a:bodyPr>
          <a:lstStyle/>
          <a:p>
            <a:pPr algn="l">
              <a:spcAft>
                <a:spcPts val="450"/>
              </a:spcAft>
            </a:pPr>
            <a:endParaRPr lang="en-US" sz="1200"/>
          </a:p>
        </p:txBody>
      </p:sp>
      <p:sp>
        <p:nvSpPr>
          <p:cNvPr id="11" name="Title 1">
            <a:extLst>
              <a:ext uri="{FF2B5EF4-FFF2-40B4-BE49-F238E27FC236}">
                <a16:creationId xmlns:a16="http://schemas.microsoft.com/office/drawing/2014/main" id="{4E014DAA-9920-732B-0568-F5FD7497FF04}"/>
              </a:ext>
            </a:extLst>
          </p:cNvPr>
          <p:cNvSpPr txBox="1">
            <a:spLocks/>
          </p:cNvSpPr>
          <p:nvPr userDrawn="1"/>
        </p:nvSpPr>
        <p:spPr>
          <a:xfrm>
            <a:off x="209199" y="239241"/>
            <a:ext cx="6653666" cy="298014"/>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pPr algn="ctr"/>
            <a:r>
              <a:rPr lang="en-US" sz="2400">
                <a:solidFill>
                  <a:schemeClr val="bg1"/>
                </a:solidFill>
              </a:rPr>
              <a:t>The Full View</a:t>
            </a:r>
            <a:r>
              <a:rPr lang="en-US" sz="2400" baseline="30000">
                <a:solidFill>
                  <a:schemeClr val="bg1"/>
                </a:solidFill>
              </a:rPr>
              <a:t>™</a:t>
            </a:r>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1971675" y="-203597"/>
            <a:ext cx="0" cy="0"/>
          </a:xfrm>
          <a:prstGeom prst="rect">
            <a:avLst/>
          </a:prstGeom>
          <a:noFill/>
        </p:spPr>
        <p:txBody>
          <a:bodyPr wrap="none" lIns="0" rIns="0" rtlCol="0">
            <a:noAutofit/>
          </a:bodyPr>
          <a:lstStyle/>
          <a:p>
            <a:pPr algn="l">
              <a:spcAft>
                <a:spcPts val="450"/>
              </a:spcAft>
            </a:pPr>
            <a:endParaRPr lang="en-US" sz="1200"/>
          </a:p>
        </p:txBody>
      </p:sp>
      <p:sp>
        <p:nvSpPr>
          <p:cNvPr id="19" name="Title 1">
            <a:extLst>
              <a:ext uri="{FF2B5EF4-FFF2-40B4-BE49-F238E27FC236}">
                <a16:creationId xmlns:a16="http://schemas.microsoft.com/office/drawing/2014/main" id="{C11D6095-173E-3995-DE39-0F11791773BF}"/>
              </a:ext>
            </a:extLst>
          </p:cNvPr>
          <p:cNvSpPr txBox="1">
            <a:spLocks/>
          </p:cNvSpPr>
          <p:nvPr userDrawn="1"/>
        </p:nvSpPr>
        <p:spPr>
          <a:xfrm>
            <a:off x="209199" y="531481"/>
            <a:ext cx="6636310" cy="340878"/>
          </a:xfrm>
          <a:prstGeom prst="rect">
            <a:avLst/>
          </a:prstGeom>
        </p:spPr>
        <p:txBody>
          <a:bodyPr vert="horz" lIns="0" tIns="34290" rIns="0" bIns="3429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pPr algn="ctr"/>
            <a:r>
              <a:rPr lang="en-US" sz="1500" b="0">
                <a:solidFill>
                  <a:schemeClr val="bg1"/>
                </a:solidFill>
                <a:latin typeface="+mn-lt"/>
              </a:rPr>
              <a:t>Consumer understanding and actionable insights </a:t>
            </a:r>
          </a:p>
        </p:txBody>
      </p:sp>
      <p:sp>
        <p:nvSpPr>
          <p:cNvPr id="4" name="TextBox 3">
            <a:extLst>
              <a:ext uri="{FF2B5EF4-FFF2-40B4-BE49-F238E27FC236}">
                <a16:creationId xmlns:a16="http://schemas.microsoft.com/office/drawing/2014/main" id="{A4FF3F76-5F58-85B3-5531-CBCFE16B4D21}"/>
              </a:ext>
            </a:extLst>
          </p:cNvPr>
          <p:cNvSpPr txBox="1"/>
          <p:nvPr userDrawn="1"/>
        </p:nvSpPr>
        <p:spPr>
          <a:xfrm>
            <a:off x="473276" y="1030595"/>
            <a:ext cx="2769171" cy="1314896"/>
          </a:xfrm>
          <a:prstGeom prst="rect">
            <a:avLst/>
          </a:prstGeom>
          <a:noFill/>
        </p:spPr>
        <p:txBody>
          <a:bodyPr wrap="square" lIns="0" rIns="0" rtlCol="0">
            <a:noAutofit/>
          </a:bodyPr>
          <a:lstStyle/>
          <a:p>
            <a:pPr algn="l">
              <a:spcAft>
                <a:spcPts val="450"/>
              </a:spcAft>
            </a:pPr>
            <a:r>
              <a:rPr lang="en-US" sz="1200" b="1" i="0">
                <a:solidFill>
                  <a:schemeClr val="bg1"/>
                </a:solidFill>
                <a:latin typeface="+mj-lt"/>
              </a:rPr>
              <a:t>The most complete understanding: </a:t>
            </a:r>
            <a:br>
              <a:rPr lang="en-US" sz="1200" b="1" i="0">
                <a:solidFill>
                  <a:schemeClr val="bg1"/>
                </a:solidFill>
                <a:latin typeface="+mj-lt"/>
              </a:rPr>
            </a:br>
            <a:r>
              <a:rPr lang="en-US" sz="1200" i="0">
                <a:solidFill>
                  <a:schemeClr val="bg1"/>
                </a:solidFill>
                <a:latin typeface="Georgia" panose="02040502050405020303" pitchFamily="18" charset="0"/>
              </a:rPr>
              <a:t>Far more than just a report of purchases, the Full View also provides insights on what consumers think and feel.</a:t>
            </a:r>
          </a:p>
        </p:txBody>
      </p:sp>
      <p:sp>
        <p:nvSpPr>
          <p:cNvPr id="5" name="TextBox 4">
            <a:extLst>
              <a:ext uri="{FF2B5EF4-FFF2-40B4-BE49-F238E27FC236}">
                <a16:creationId xmlns:a16="http://schemas.microsoft.com/office/drawing/2014/main" id="{88FF996A-6E7C-5B7B-0B6C-D6719A9EE0A4}"/>
              </a:ext>
            </a:extLst>
          </p:cNvPr>
          <p:cNvSpPr txBox="1"/>
          <p:nvPr userDrawn="1"/>
        </p:nvSpPr>
        <p:spPr>
          <a:xfrm>
            <a:off x="3717790" y="1030594"/>
            <a:ext cx="2675750" cy="1159646"/>
          </a:xfrm>
          <a:prstGeom prst="rect">
            <a:avLst/>
          </a:prstGeom>
          <a:noFill/>
        </p:spPr>
        <p:txBody>
          <a:bodyPr wrap="square" lIns="0" rIns="0" rtlCol="0">
            <a:noAutofit/>
          </a:bodyPr>
          <a:lstStyle/>
          <a:p>
            <a:pPr algn="l">
              <a:spcAft>
                <a:spcPts val="450"/>
              </a:spcAft>
            </a:pPr>
            <a:r>
              <a:rPr lang="en-US" sz="1200" b="1">
                <a:solidFill>
                  <a:schemeClr val="bg1"/>
                </a:solidFill>
                <a:latin typeface="+mj-lt"/>
              </a:rPr>
              <a:t>The most clear understanding: </a:t>
            </a:r>
            <a:r>
              <a:rPr lang="en-US" sz="1200">
                <a:solidFill>
                  <a:schemeClr val="bg1"/>
                </a:solidFill>
                <a:latin typeface="Georgia" panose="02040502050405020303" pitchFamily="18" charset="0"/>
              </a:rPr>
              <a:t>Actionable insights delivered in a more straightforward way through an advanced platform with integrated analytics. </a:t>
            </a:r>
            <a:endParaRPr lang="en-US" sz="1200" i="1">
              <a:solidFill>
                <a:schemeClr val="bg1"/>
              </a:solidFill>
              <a:latin typeface="Georgia" panose="02040502050405020303" pitchFamily="18" charset="0"/>
            </a:endParaRPr>
          </a:p>
        </p:txBody>
      </p:sp>
      <p:sp>
        <p:nvSpPr>
          <p:cNvPr id="22" name="Rectangle 21">
            <a:extLst>
              <a:ext uri="{FF2B5EF4-FFF2-40B4-BE49-F238E27FC236}">
                <a16:creationId xmlns:a16="http://schemas.microsoft.com/office/drawing/2014/main" id="{294598B7-2798-1A68-C6C0-2F829EC9BCFD}"/>
              </a:ext>
            </a:extLst>
          </p:cNvPr>
          <p:cNvSpPr/>
          <p:nvPr userDrawn="1"/>
        </p:nvSpPr>
        <p:spPr>
          <a:xfrm>
            <a:off x="209199" y="2282547"/>
            <a:ext cx="6653666" cy="16646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35" name="Oval 34">
            <a:extLst>
              <a:ext uri="{FF2B5EF4-FFF2-40B4-BE49-F238E27FC236}">
                <a16:creationId xmlns:a16="http://schemas.microsoft.com/office/drawing/2014/main" id="{48E71FA6-4B2D-05ED-DB07-886B8B631F2E}"/>
              </a:ext>
            </a:extLst>
          </p:cNvPr>
          <p:cNvSpPr/>
          <p:nvPr userDrawn="1"/>
        </p:nvSpPr>
        <p:spPr>
          <a:xfrm flipH="1">
            <a:off x="659080" y="2414397"/>
            <a:ext cx="1371877" cy="1371877"/>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1">
              <a:latin typeface="Georgia" panose="02040502050405020303" pitchFamily="18" charset="0"/>
            </a:endParaRPr>
          </a:p>
        </p:txBody>
      </p:sp>
      <p:sp>
        <p:nvSpPr>
          <p:cNvPr id="36" name="TextBox 35">
            <a:extLst>
              <a:ext uri="{FF2B5EF4-FFF2-40B4-BE49-F238E27FC236}">
                <a16:creationId xmlns:a16="http://schemas.microsoft.com/office/drawing/2014/main" id="{3EBD1427-4003-59E6-C9C7-83A0D834A88E}"/>
              </a:ext>
            </a:extLst>
          </p:cNvPr>
          <p:cNvSpPr txBox="1"/>
          <p:nvPr userDrawn="1"/>
        </p:nvSpPr>
        <p:spPr>
          <a:xfrm>
            <a:off x="701085" y="2598234"/>
            <a:ext cx="1265035" cy="859915"/>
          </a:xfrm>
          <a:prstGeom prst="rect">
            <a:avLst/>
          </a:prstGeom>
          <a:noFill/>
        </p:spPr>
        <p:txBody>
          <a:bodyPr wrap="square">
            <a:spAutoFit/>
          </a:bodyPr>
          <a:lstStyle/>
          <a:p>
            <a:pPr algn="ctr"/>
            <a:r>
              <a:rPr lang="en-US" sz="1050" b="1">
                <a:solidFill>
                  <a:schemeClr val="bg1"/>
                </a:solidFill>
                <a:latin typeface="+mn-lt"/>
              </a:rPr>
              <a:t>WHAT IS HAPPENING</a:t>
            </a:r>
          </a:p>
          <a:p>
            <a:pPr algn="ctr"/>
            <a:endParaRPr lang="en-US" sz="788" b="0">
              <a:solidFill>
                <a:schemeClr val="bg1"/>
              </a:solidFill>
              <a:latin typeface="+mn-lt"/>
            </a:endParaRPr>
          </a:p>
          <a:p>
            <a:pPr algn="ctr"/>
            <a:r>
              <a:rPr lang="en-US" sz="1050" b="0" i="1">
                <a:solidFill>
                  <a:schemeClr val="bg1"/>
                </a:solidFill>
                <a:latin typeface="Georgia" panose="02040502050405020303" pitchFamily="18" charset="0"/>
              </a:rPr>
              <a:t>What consumers do and buy</a:t>
            </a:r>
          </a:p>
        </p:txBody>
      </p:sp>
      <p:sp>
        <p:nvSpPr>
          <p:cNvPr id="37" name="Oval 36">
            <a:extLst>
              <a:ext uri="{FF2B5EF4-FFF2-40B4-BE49-F238E27FC236}">
                <a16:creationId xmlns:a16="http://schemas.microsoft.com/office/drawing/2014/main" id="{CAB8284F-317D-4AD8-AAB1-B96F0EF1B703}"/>
              </a:ext>
            </a:extLst>
          </p:cNvPr>
          <p:cNvSpPr/>
          <p:nvPr userDrawn="1"/>
        </p:nvSpPr>
        <p:spPr>
          <a:xfrm flipH="1">
            <a:off x="2739813" y="2414397"/>
            <a:ext cx="1371877" cy="1371877"/>
          </a:xfrm>
          <a:prstGeom prst="ellipse">
            <a:avLst/>
          </a:prstGeom>
          <a:noFill/>
          <a:ln w="1905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b="0" i="1">
              <a:latin typeface="Georgia" panose="02040502050405020303" pitchFamily="18" charset="0"/>
            </a:endParaRPr>
          </a:p>
        </p:txBody>
      </p:sp>
      <p:sp>
        <p:nvSpPr>
          <p:cNvPr id="38" name="TextBox 37">
            <a:extLst>
              <a:ext uri="{FF2B5EF4-FFF2-40B4-BE49-F238E27FC236}">
                <a16:creationId xmlns:a16="http://schemas.microsoft.com/office/drawing/2014/main" id="{6F869526-7F63-A95F-41B6-37AD5A4A28DE}"/>
              </a:ext>
            </a:extLst>
          </p:cNvPr>
          <p:cNvSpPr txBox="1"/>
          <p:nvPr userDrawn="1"/>
        </p:nvSpPr>
        <p:spPr>
          <a:xfrm>
            <a:off x="2812438" y="2594422"/>
            <a:ext cx="1226624" cy="854080"/>
          </a:xfrm>
          <a:prstGeom prst="rect">
            <a:avLst/>
          </a:prstGeom>
          <a:noFill/>
        </p:spPr>
        <p:txBody>
          <a:bodyPr wrap="square">
            <a:spAutoFit/>
          </a:bodyPr>
          <a:lstStyle/>
          <a:p>
            <a:pPr algn="ctr"/>
            <a:r>
              <a:rPr lang="en-US" sz="1050" b="1">
                <a:solidFill>
                  <a:schemeClr val="bg1"/>
                </a:solidFill>
                <a:latin typeface="+mn-lt"/>
              </a:rPr>
              <a:t>WHY IT’S HAPPENING</a:t>
            </a:r>
          </a:p>
          <a:p>
            <a:pPr algn="ctr"/>
            <a:endParaRPr lang="en-US" sz="750" b="0">
              <a:solidFill>
                <a:schemeClr val="bg1"/>
              </a:solidFill>
              <a:latin typeface="+mn-lt"/>
            </a:endParaRPr>
          </a:p>
          <a:p>
            <a:pPr algn="ctr"/>
            <a:r>
              <a:rPr lang="en-US" sz="1050" b="0" i="1">
                <a:solidFill>
                  <a:schemeClr val="bg1"/>
                </a:solidFill>
                <a:latin typeface="Georgia" panose="02040502050405020303" pitchFamily="18" charset="0"/>
              </a:rPr>
              <a:t>What consumers think and feel</a:t>
            </a:r>
          </a:p>
        </p:txBody>
      </p:sp>
      <p:sp>
        <p:nvSpPr>
          <p:cNvPr id="39" name="Oval 38">
            <a:extLst>
              <a:ext uri="{FF2B5EF4-FFF2-40B4-BE49-F238E27FC236}">
                <a16:creationId xmlns:a16="http://schemas.microsoft.com/office/drawing/2014/main" id="{A0561630-282B-03EE-966B-C51E66CBC724}"/>
              </a:ext>
            </a:extLst>
          </p:cNvPr>
          <p:cNvSpPr/>
          <p:nvPr userDrawn="1"/>
        </p:nvSpPr>
        <p:spPr>
          <a:xfrm flipH="1">
            <a:off x="4820544" y="2414397"/>
            <a:ext cx="1371877" cy="1371877"/>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0" i="1">
              <a:latin typeface="Georgia" panose="02040502050405020303" pitchFamily="18" charset="0"/>
            </a:endParaRPr>
          </a:p>
        </p:txBody>
      </p:sp>
      <p:sp>
        <p:nvSpPr>
          <p:cNvPr id="40" name="TextBox 39">
            <a:extLst>
              <a:ext uri="{FF2B5EF4-FFF2-40B4-BE49-F238E27FC236}">
                <a16:creationId xmlns:a16="http://schemas.microsoft.com/office/drawing/2014/main" id="{B24701CA-639B-3567-FA6F-84B5AC4392BC}"/>
              </a:ext>
            </a:extLst>
          </p:cNvPr>
          <p:cNvSpPr txBox="1"/>
          <p:nvPr userDrawn="1"/>
        </p:nvSpPr>
        <p:spPr>
          <a:xfrm>
            <a:off x="4876277" y="2594422"/>
            <a:ext cx="1260408" cy="1015663"/>
          </a:xfrm>
          <a:prstGeom prst="rect">
            <a:avLst/>
          </a:prstGeom>
          <a:noFill/>
        </p:spPr>
        <p:txBody>
          <a:bodyPr wrap="square">
            <a:spAutoFit/>
          </a:bodyPr>
          <a:lstStyle/>
          <a:p>
            <a:pPr algn="ctr"/>
            <a:r>
              <a:rPr lang="en-US" sz="1050" b="1">
                <a:solidFill>
                  <a:schemeClr val="bg1"/>
                </a:solidFill>
                <a:latin typeface="+mn-lt"/>
              </a:rPr>
              <a:t>WHAT TO DO ABOUT IT</a:t>
            </a:r>
          </a:p>
          <a:p>
            <a:pPr algn="ctr"/>
            <a:endParaRPr lang="en-US" sz="750" b="0">
              <a:solidFill>
                <a:schemeClr val="bg1"/>
              </a:solidFill>
              <a:latin typeface="+mn-lt"/>
            </a:endParaRPr>
          </a:p>
          <a:p>
            <a:pPr algn="ctr"/>
            <a:r>
              <a:rPr lang="en-US" sz="1050" b="0" i="1">
                <a:solidFill>
                  <a:schemeClr val="bg1"/>
                </a:solidFill>
                <a:latin typeface="Georgia" panose="02040502050405020303" pitchFamily="18" charset="0"/>
              </a:rPr>
              <a:t>How to capitalize on opportunities &amp; mitigate risks</a:t>
            </a:r>
          </a:p>
        </p:txBody>
      </p:sp>
      <p:sp>
        <p:nvSpPr>
          <p:cNvPr id="21" name="Rectangle 20">
            <a:extLst>
              <a:ext uri="{FF2B5EF4-FFF2-40B4-BE49-F238E27FC236}">
                <a16:creationId xmlns:a16="http://schemas.microsoft.com/office/drawing/2014/main" id="{012223AB-4793-2899-DA95-C25D5459BBF9}"/>
              </a:ext>
            </a:extLst>
          </p:cNvPr>
          <p:cNvSpPr/>
          <p:nvPr userDrawn="1"/>
        </p:nvSpPr>
        <p:spPr>
          <a:xfrm>
            <a:off x="6974334" y="105013"/>
            <a:ext cx="1946030" cy="38421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42" name="Rectangle 41">
            <a:extLst>
              <a:ext uri="{FF2B5EF4-FFF2-40B4-BE49-F238E27FC236}">
                <a16:creationId xmlns:a16="http://schemas.microsoft.com/office/drawing/2014/main" id="{B5BC9B04-9202-E258-B355-180DEA7ECF85}"/>
              </a:ext>
            </a:extLst>
          </p:cNvPr>
          <p:cNvSpPr/>
          <p:nvPr userDrawn="1"/>
        </p:nvSpPr>
        <p:spPr>
          <a:xfrm>
            <a:off x="209200" y="4059415"/>
            <a:ext cx="6653666" cy="6494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43" name="Picture 42">
            <a:extLst>
              <a:ext uri="{FF2B5EF4-FFF2-40B4-BE49-F238E27FC236}">
                <a16:creationId xmlns:a16="http://schemas.microsoft.com/office/drawing/2014/main" id="{C6E9ADBE-BBB1-514D-B4B9-1D15476C8C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44" name="TextBox 43">
            <a:extLst>
              <a:ext uri="{FF2B5EF4-FFF2-40B4-BE49-F238E27FC236}">
                <a16:creationId xmlns:a16="http://schemas.microsoft.com/office/drawing/2014/main" id="{D3C09F15-ADF1-62DC-0F62-CB592E19D3A5}"/>
              </a:ext>
            </a:extLst>
          </p:cNvPr>
          <p:cNvSpPr txBox="1"/>
          <p:nvPr userDrawn="1"/>
        </p:nvSpPr>
        <p:spPr>
          <a:xfrm>
            <a:off x="425618" y="4122358"/>
            <a:ext cx="6200652" cy="553998"/>
          </a:xfrm>
          <a:prstGeom prst="rect">
            <a:avLst/>
          </a:prstGeom>
          <a:noFill/>
        </p:spPr>
        <p:txBody>
          <a:bodyPr wrap="square">
            <a:spAutoFit/>
          </a:bodyPr>
          <a:lstStyle/>
          <a:p>
            <a:pPr algn="ctr"/>
            <a:r>
              <a:rPr lang="en-US" sz="1050" b="1">
                <a:solidFill>
                  <a:schemeClr val="tx2"/>
                </a:solidFill>
                <a:latin typeface="+mn-lt"/>
              </a:rPr>
              <a:t>THE MOST COMPREHENSIVE AND HIGHEST QUALITY DATA</a:t>
            </a:r>
          </a:p>
          <a:p>
            <a:pPr algn="ctr"/>
            <a:endParaRPr lang="en-US" sz="750" b="0">
              <a:solidFill>
                <a:schemeClr val="tx2"/>
              </a:solidFill>
              <a:latin typeface="+mn-lt"/>
            </a:endParaRPr>
          </a:p>
          <a:p>
            <a:pPr algn="ctr"/>
            <a:r>
              <a:rPr lang="en-US" sz="1200" b="1">
                <a:solidFill>
                  <a:schemeClr val="tx2"/>
                </a:solidFill>
                <a:latin typeface="+mn-lt"/>
              </a:rPr>
              <a:t>More: </a:t>
            </a:r>
            <a:r>
              <a:rPr lang="en-US" sz="1200" b="0">
                <a:solidFill>
                  <a:schemeClr val="tx2"/>
                </a:solidFill>
                <a:latin typeface="+mn-lt"/>
              </a:rPr>
              <a:t>geographies • consumers • retailers • channels • categories • attributes</a:t>
            </a:r>
          </a:p>
        </p:txBody>
      </p:sp>
      <p:sp>
        <p:nvSpPr>
          <p:cNvPr id="45" name="Triangle 44">
            <a:extLst>
              <a:ext uri="{FF2B5EF4-FFF2-40B4-BE49-F238E27FC236}">
                <a16:creationId xmlns:a16="http://schemas.microsoft.com/office/drawing/2014/main" id="{2C523A63-42EB-ABFD-2403-F82DDE8427E7}"/>
              </a:ext>
            </a:extLst>
          </p:cNvPr>
          <p:cNvSpPr/>
          <p:nvPr userDrawn="1"/>
        </p:nvSpPr>
        <p:spPr>
          <a:xfrm>
            <a:off x="3440782" y="3978937"/>
            <a:ext cx="190500" cy="11225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47" name="Triangle 46">
            <a:extLst>
              <a:ext uri="{FF2B5EF4-FFF2-40B4-BE49-F238E27FC236}">
                <a16:creationId xmlns:a16="http://schemas.microsoft.com/office/drawing/2014/main" id="{F119B93D-90E3-7634-8AF1-DBC6417C3E36}"/>
              </a:ext>
            </a:extLst>
          </p:cNvPr>
          <p:cNvSpPr/>
          <p:nvPr userDrawn="1"/>
        </p:nvSpPr>
        <p:spPr>
          <a:xfrm rot="5400000">
            <a:off x="6806387" y="1182123"/>
            <a:ext cx="190500" cy="112255"/>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48" name="Triangle 47">
            <a:extLst>
              <a:ext uri="{FF2B5EF4-FFF2-40B4-BE49-F238E27FC236}">
                <a16:creationId xmlns:a16="http://schemas.microsoft.com/office/drawing/2014/main" id="{F0528602-0BE9-3923-DB03-A54BAD7EDEBA}"/>
              </a:ext>
            </a:extLst>
          </p:cNvPr>
          <p:cNvSpPr/>
          <p:nvPr userDrawn="1"/>
        </p:nvSpPr>
        <p:spPr>
          <a:xfrm rot="5400000">
            <a:off x="6806387" y="3064264"/>
            <a:ext cx="190500" cy="11225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49" name="TextBox 48">
            <a:extLst>
              <a:ext uri="{FF2B5EF4-FFF2-40B4-BE49-F238E27FC236}">
                <a16:creationId xmlns:a16="http://schemas.microsoft.com/office/drawing/2014/main" id="{0B911A14-6266-F6B1-0719-503B95224CC0}"/>
              </a:ext>
            </a:extLst>
          </p:cNvPr>
          <p:cNvSpPr txBox="1"/>
          <p:nvPr userDrawn="1"/>
        </p:nvSpPr>
        <p:spPr>
          <a:xfrm>
            <a:off x="7183189" y="111168"/>
            <a:ext cx="1591249" cy="3836948"/>
          </a:xfrm>
          <a:prstGeom prst="rect">
            <a:avLst/>
          </a:prstGeom>
          <a:noFill/>
        </p:spPr>
        <p:txBody>
          <a:bodyPr wrap="square" anchor="ctr">
            <a:spAutoFit/>
          </a:bodyPr>
          <a:lstStyle/>
          <a:p>
            <a:pPr algn="l">
              <a:spcAft>
                <a:spcPts val="450"/>
              </a:spcAft>
            </a:pPr>
            <a:r>
              <a:rPr lang="en-US" sz="1050" b="1">
                <a:solidFill>
                  <a:schemeClr val="tx2"/>
                </a:solidFill>
                <a:latin typeface="+mn-lt"/>
              </a:rPr>
              <a:t>PRODUCT CATEGORIES</a:t>
            </a:r>
            <a:endParaRPr lang="en-US" sz="1050" b="0">
              <a:solidFill>
                <a:schemeClr val="tx2"/>
              </a:solidFill>
              <a:latin typeface="+mn-lt"/>
            </a:endParaRPr>
          </a:p>
          <a:p>
            <a:pPr marL="128588" indent="-128588" algn="l">
              <a:spcAft>
                <a:spcPts val="450"/>
              </a:spcAft>
              <a:buFont typeface="Arial" panose="020B0604020202020204" pitchFamily="34" charset="0"/>
              <a:buChar char="•"/>
            </a:pPr>
            <a:r>
              <a:rPr lang="en-US" sz="1050" b="0">
                <a:solidFill>
                  <a:schemeClr val="tx2"/>
                </a:solidFill>
                <a:latin typeface="+mn-lt"/>
              </a:rPr>
              <a:t>Market performance measurement of B&amp;M, e-commerce, and omnichannel</a:t>
            </a:r>
          </a:p>
          <a:p>
            <a:pPr marL="128588" indent="-128588" algn="l">
              <a:spcAft>
                <a:spcPts val="450"/>
              </a:spcAft>
              <a:buFont typeface="Arial" panose="020B0604020202020204" pitchFamily="34" charset="0"/>
              <a:buChar char="•"/>
            </a:pPr>
            <a:r>
              <a:rPr lang="en-US" sz="1050" b="0">
                <a:solidFill>
                  <a:schemeClr val="tx2"/>
                </a:solidFill>
                <a:latin typeface="+mn-lt"/>
              </a:rPr>
              <a:t>Consumer and shopper insights</a:t>
            </a:r>
          </a:p>
          <a:p>
            <a:pPr marL="128588" indent="-128588" algn="l">
              <a:spcAft>
                <a:spcPts val="450"/>
              </a:spcAft>
              <a:buFont typeface="Arial" panose="020B0604020202020204" pitchFamily="34" charset="0"/>
              <a:buChar char="•"/>
            </a:pPr>
            <a:r>
              <a:rPr lang="en-US" sz="1050" b="0">
                <a:solidFill>
                  <a:schemeClr val="tx2"/>
                </a:solidFill>
                <a:latin typeface="+mn-lt"/>
              </a:rPr>
              <a:t>Revenue growth management</a:t>
            </a:r>
          </a:p>
          <a:p>
            <a:pPr marL="128588" indent="-128588" algn="l">
              <a:spcAft>
                <a:spcPts val="450"/>
              </a:spcAft>
              <a:buFont typeface="Arial" panose="020B0604020202020204" pitchFamily="34" charset="0"/>
              <a:buChar char="•"/>
            </a:pPr>
            <a:r>
              <a:rPr lang="en-US" sz="1050" b="0">
                <a:solidFill>
                  <a:schemeClr val="tx2"/>
                </a:solidFill>
                <a:latin typeface="+mn-lt"/>
              </a:rPr>
              <a:t>Assortment and merchandising</a:t>
            </a:r>
          </a:p>
          <a:p>
            <a:pPr marL="128588" indent="-128588" algn="l">
              <a:spcAft>
                <a:spcPts val="450"/>
              </a:spcAft>
              <a:buFont typeface="Arial" panose="020B0604020202020204" pitchFamily="34" charset="0"/>
              <a:buChar char="•"/>
            </a:pPr>
            <a:r>
              <a:rPr lang="en-US" sz="1050" b="0">
                <a:solidFill>
                  <a:schemeClr val="tx2"/>
                </a:solidFill>
                <a:latin typeface="+mn-lt"/>
              </a:rPr>
              <a:t>Route-to-market</a:t>
            </a:r>
          </a:p>
          <a:p>
            <a:pPr marL="128588" indent="-128588" algn="l">
              <a:spcAft>
                <a:spcPts val="450"/>
              </a:spcAft>
              <a:buFont typeface="Arial" panose="020B0604020202020204" pitchFamily="34" charset="0"/>
              <a:buChar char="•"/>
            </a:pPr>
            <a:r>
              <a:rPr lang="en-US" sz="1050" b="0">
                <a:solidFill>
                  <a:schemeClr val="tx2"/>
                </a:solidFill>
                <a:latin typeface="+mn-lt"/>
              </a:rPr>
              <a:t>Marketing, media, and personalized offers</a:t>
            </a:r>
          </a:p>
          <a:p>
            <a:pPr marL="128588" indent="-128588" algn="l">
              <a:spcAft>
                <a:spcPts val="450"/>
              </a:spcAft>
              <a:buFont typeface="Arial" panose="020B0604020202020204" pitchFamily="34" charset="0"/>
              <a:buChar char="•"/>
            </a:pPr>
            <a:r>
              <a:rPr lang="en-US" sz="1050" b="0">
                <a:solidFill>
                  <a:schemeClr val="tx2"/>
                </a:solidFill>
                <a:latin typeface="+mn-lt"/>
              </a:rPr>
              <a:t>Operations and supply chain</a:t>
            </a:r>
          </a:p>
          <a:p>
            <a:pPr marL="128588" indent="-128588" algn="l">
              <a:spcAft>
                <a:spcPts val="450"/>
              </a:spcAft>
              <a:buFont typeface="Arial" panose="020B0604020202020204" pitchFamily="34" charset="0"/>
              <a:buChar char="•"/>
            </a:pPr>
            <a:r>
              <a:rPr lang="en-US" sz="1050" b="0">
                <a:solidFill>
                  <a:schemeClr val="tx2"/>
                </a:solidFill>
                <a:latin typeface="+mn-lt"/>
              </a:rPr>
              <a:t>Product offer management</a:t>
            </a:r>
            <a:endParaRPr lang="en-US" sz="788" b="0">
              <a:solidFill>
                <a:schemeClr val="tx2"/>
              </a:solidFill>
              <a:latin typeface="+mn-lt"/>
            </a:endParaRPr>
          </a:p>
        </p:txBody>
      </p:sp>
    </p:spTree>
    <p:extLst>
      <p:ext uri="{BB962C8B-B14F-4D97-AF65-F5344CB8AC3E}">
        <p14:creationId xmlns:p14="http://schemas.microsoft.com/office/powerpoint/2010/main" val="1988896455"/>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31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255055"/>
            <a:ext cx="8686800" cy="327406"/>
          </a:xfrm>
        </p:spPr>
        <p:txBody>
          <a:bodyPr/>
          <a:lstStyle/>
          <a:p>
            <a:r>
              <a:rPr lang="en-US"/>
              <a:t>Insert your slide title in Arial bold 24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599579"/>
            <a:ext cx="8686800" cy="327407"/>
          </a:xfrm>
        </p:spPr>
        <p:txBody>
          <a:bodyPr/>
          <a:lstStyle>
            <a:lvl1pPr marL="0" indent="0">
              <a:buNone/>
              <a:defRPr sz="135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8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920664" y="4488996"/>
            <a:ext cx="5768236" cy="273844"/>
          </a:xfrm>
        </p:spPr>
        <p:txBody>
          <a:bodyPr anchor="b" anchorCtr="0"/>
          <a:lstStyle>
            <a:lvl1pPr marL="0" indent="0">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337749346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3931745" cy="433381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214378655"/>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32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5577685" y="0"/>
            <a:ext cx="3566315" cy="382385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6287584" y="196571"/>
            <a:ext cx="3004928" cy="3004929"/>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963827"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932290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94"/>
        <p:cNvGrpSpPr/>
        <p:nvPr/>
      </p:nvGrpSpPr>
      <p:grpSpPr>
        <a:xfrm>
          <a:off x="0" y="0"/>
          <a:ext cx="0" cy="0"/>
          <a:chOff x="0" y="0"/>
          <a:chExt cx="0" cy="0"/>
        </a:xfrm>
      </p:grpSpPr>
      <p:pic>
        <p:nvPicPr>
          <p:cNvPr id="395" name="Google Shape;395;p45"/>
          <p:cNvPicPr preferRelativeResize="0"/>
          <p:nvPr/>
        </p:nvPicPr>
        <p:blipFill rotWithShape="1">
          <a:blip r:embed="rId2">
            <a:alphaModFix/>
          </a:blip>
          <a:srcRect/>
          <a:stretch/>
        </p:blipFill>
        <p:spPr>
          <a:xfrm>
            <a:off x="1" y="2"/>
            <a:ext cx="354650" cy="355959"/>
          </a:xfrm>
          <a:prstGeom prst="rect">
            <a:avLst/>
          </a:prstGeom>
          <a:noFill/>
          <a:ln>
            <a:noFill/>
          </a:ln>
        </p:spPr>
      </p:pic>
      <p:cxnSp>
        <p:nvCxnSpPr>
          <p:cNvPr id="396" name="Google Shape;396;p45"/>
          <p:cNvCxnSpPr/>
          <p:nvPr/>
        </p:nvCxnSpPr>
        <p:spPr>
          <a:xfrm>
            <a:off x="354650" y="695850"/>
            <a:ext cx="8430900" cy="0"/>
          </a:xfrm>
          <a:prstGeom prst="straightConnector1">
            <a:avLst/>
          </a:prstGeom>
          <a:noFill/>
          <a:ln w="9525" cap="flat" cmpd="sng">
            <a:solidFill>
              <a:schemeClr val="accent4"/>
            </a:solidFill>
            <a:prstDash val="solid"/>
            <a:round/>
            <a:headEnd type="none" w="sm" len="sm"/>
            <a:tailEnd type="none" w="sm" len="sm"/>
          </a:ln>
        </p:spPr>
      </p:cxnSp>
      <p:sp>
        <p:nvSpPr>
          <p:cNvPr id="397" name="Google Shape;397;p45"/>
          <p:cNvSpPr txBox="1">
            <a:spLocks noGrp="1"/>
          </p:cNvSpPr>
          <p:nvPr>
            <p:ph type="title"/>
          </p:nvPr>
        </p:nvSpPr>
        <p:spPr>
          <a:xfrm>
            <a:off x="354650" y="292625"/>
            <a:ext cx="8434800" cy="3936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SzPts val="1400"/>
              <a:buNone/>
              <a:defRPr>
                <a:latin typeface="Montserrat"/>
                <a:ea typeface="Montserrat"/>
                <a:cs typeface="Montserrat"/>
                <a:sym typeface="Montserrat"/>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98" name="Google Shape;398;p45"/>
          <p:cNvSpPr txBox="1"/>
          <p:nvPr/>
        </p:nvSpPr>
        <p:spPr>
          <a:xfrm>
            <a:off x="8615362" y="4881430"/>
            <a:ext cx="329700" cy="1305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1000"/>
              <a:buFont typeface="Montserrat Light"/>
              <a:buNone/>
            </a:pPr>
            <a:fld id="{00000000-1234-1234-1234-123412341234}" type="slidenum">
              <a:rPr lang="en" sz="1000" b="0" i="0" u="none" strike="noStrike" cap="none">
                <a:solidFill>
                  <a:srgbClr val="000000"/>
                </a:solidFill>
                <a:latin typeface="Montserrat Light"/>
                <a:ea typeface="Montserrat Light"/>
                <a:cs typeface="Montserrat Light"/>
                <a:sym typeface="Montserrat Light"/>
              </a:rPr>
              <a:pPr marL="0" marR="0" lvl="0" indent="0" algn="r" rtl="0">
                <a:lnSpc>
                  <a:spcPct val="100000"/>
                </a:lnSpc>
                <a:spcBef>
                  <a:spcPts val="0"/>
                </a:spcBef>
                <a:spcAft>
                  <a:spcPts val="0"/>
                </a:spcAft>
                <a:buClr>
                  <a:srgbClr val="000000"/>
                </a:buClr>
                <a:buSzPts val="1000"/>
                <a:buFont typeface="Montserrat Light"/>
                <a:buNone/>
              </a:pPr>
              <a:t>‹#›</a:t>
            </a:fld>
            <a:endParaRPr sz="1000" b="0" i="0" u="none" strike="noStrike" cap="none">
              <a:solidFill>
                <a:srgbClr val="000000"/>
              </a:solidFill>
              <a:latin typeface="Montserrat Light"/>
              <a:ea typeface="Montserrat Light"/>
              <a:cs typeface="Montserrat Light"/>
              <a:sym typeface="Montserrat Light"/>
            </a:endParaRPr>
          </a:p>
        </p:txBody>
      </p:sp>
      <p:sp>
        <p:nvSpPr>
          <p:cNvPr id="399" name="Google Shape;399;p45"/>
          <p:cNvSpPr/>
          <p:nvPr/>
        </p:nvSpPr>
        <p:spPr>
          <a:xfrm>
            <a:off x="354650" y="4966350"/>
            <a:ext cx="5064000" cy="1224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500" b="0" i="0" u="none" strike="noStrike" cap="none">
                <a:solidFill>
                  <a:srgbClr val="888888"/>
                </a:solidFill>
                <a:latin typeface="Montserrat Light"/>
                <a:ea typeface="Montserrat Light"/>
                <a:cs typeface="Montserrat Light"/>
                <a:sym typeface="Montserrat Light"/>
              </a:rPr>
              <a:t>© 2022 Nielsen Consumer LLC. All Rights Reserved.</a:t>
            </a:r>
            <a:endParaRPr sz="500" b="0" i="0" u="none" strike="noStrike" cap="none">
              <a:solidFill>
                <a:srgbClr val="888888"/>
              </a:solidFill>
              <a:latin typeface="Montserrat Light"/>
              <a:ea typeface="Montserrat Light"/>
              <a:cs typeface="Montserrat Light"/>
              <a:sym typeface="Montserrat Light"/>
            </a:endParaRPr>
          </a:p>
        </p:txBody>
      </p:sp>
      <p:sp>
        <p:nvSpPr>
          <p:cNvPr id="400" name="Google Shape;400;p45"/>
          <p:cNvSpPr txBox="1">
            <a:spLocks noGrp="1"/>
          </p:cNvSpPr>
          <p:nvPr>
            <p:ph type="body" idx="1"/>
          </p:nvPr>
        </p:nvSpPr>
        <p:spPr>
          <a:xfrm>
            <a:off x="374904" y="740664"/>
            <a:ext cx="8430900" cy="420600"/>
          </a:xfrm>
          <a:prstGeom prst="rect">
            <a:avLst/>
          </a:prstGeom>
          <a:solidFill>
            <a:srgbClr val="7F7F7F"/>
          </a:solidFill>
          <a:ln>
            <a:noFill/>
          </a:ln>
        </p:spPr>
        <p:txBody>
          <a:bodyPr spcFirstLastPara="1" wrap="square" lIns="73150" tIns="36575" rIns="73150" bIns="36575" anchor="ctr" anchorCtr="0">
            <a:noAutofit/>
          </a:bodyPr>
          <a:lstStyle>
            <a:lvl1pPr marL="457178" lvl="0" indent="-228588" algn="ctr" rtl="0">
              <a:lnSpc>
                <a:spcPct val="100000"/>
              </a:lnSpc>
              <a:spcBef>
                <a:spcPts val="0"/>
              </a:spcBef>
              <a:spcAft>
                <a:spcPts val="0"/>
              </a:spcAft>
              <a:buSzPts val="1400"/>
              <a:buNone/>
              <a:defRPr b="1">
                <a:solidFill>
                  <a:srgbClr val="FFFFFF"/>
                </a:solidFill>
              </a:defRPr>
            </a:lvl1pPr>
            <a:lvl2pPr marL="914355" lvl="1" indent="-228588" algn="l" rtl="0">
              <a:lnSpc>
                <a:spcPct val="100000"/>
              </a:lnSpc>
              <a:spcBef>
                <a:spcPts val="0"/>
              </a:spcBef>
              <a:spcAft>
                <a:spcPts val="0"/>
              </a:spcAft>
              <a:buSzPts val="1400"/>
              <a:buNone/>
              <a:defRPr/>
            </a:lvl2pPr>
            <a:lvl3pPr marL="1371532" lvl="2" indent="-228588" algn="l" rtl="0">
              <a:lnSpc>
                <a:spcPct val="100000"/>
              </a:lnSpc>
              <a:spcBef>
                <a:spcPts val="0"/>
              </a:spcBef>
              <a:spcAft>
                <a:spcPts val="0"/>
              </a:spcAft>
              <a:buSzPts val="1400"/>
              <a:buNone/>
              <a:defRPr/>
            </a:lvl3pPr>
            <a:lvl4pPr marL="1828709" lvl="3" indent="-228588" algn="l" rtl="0">
              <a:lnSpc>
                <a:spcPct val="100000"/>
              </a:lnSpc>
              <a:spcBef>
                <a:spcPts val="0"/>
              </a:spcBef>
              <a:spcAft>
                <a:spcPts val="0"/>
              </a:spcAft>
              <a:buSzPts val="1400"/>
              <a:buNone/>
              <a:defRPr/>
            </a:lvl4pPr>
            <a:lvl5pPr marL="2285886" lvl="4" indent="-228588" algn="l" rtl="0">
              <a:lnSpc>
                <a:spcPct val="100000"/>
              </a:lnSpc>
              <a:spcBef>
                <a:spcPts val="0"/>
              </a:spcBef>
              <a:spcAft>
                <a:spcPts val="0"/>
              </a:spcAft>
              <a:buSzPts val="1400"/>
              <a:buNone/>
              <a:defRPr/>
            </a:lvl5pPr>
            <a:lvl6pPr marL="2743064" lvl="5" indent="-228588" algn="l" rtl="0">
              <a:lnSpc>
                <a:spcPct val="100000"/>
              </a:lnSpc>
              <a:spcBef>
                <a:spcPts val="0"/>
              </a:spcBef>
              <a:spcAft>
                <a:spcPts val="0"/>
              </a:spcAft>
              <a:buSzPts val="1400"/>
              <a:buNone/>
              <a:defRPr/>
            </a:lvl6pPr>
            <a:lvl7pPr marL="3200240" lvl="6" indent="-228588" algn="l" rtl="0">
              <a:lnSpc>
                <a:spcPct val="100000"/>
              </a:lnSpc>
              <a:spcBef>
                <a:spcPts val="0"/>
              </a:spcBef>
              <a:spcAft>
                <a:spcPts val="0"/>
              </a:spcAft>
              <a:buSzPts val="1400"/>
              <a:buNone/>
              <a:defRPr/>
            </a:lvl7pPr>
            <a:lvl8pPr marL="3657418" lvl="7" indent="-228588" algn="l" rtl="0">
              <a:lnSpc>
                <a:spcPct val="100000"/>
              </a:lnSpc>
              <a:spcBef>
                <a:spcPts val="0"/>
              </a:spcBef>
              <a:spcAft>
                <a:spcPts val="0"/>
              </a:spcAft>
              <a:buSzPts val="1400"/>
              <a:buNone/>
              <a:defRPr/>
            </a:lvl8pPr>
            <a:lvl9pPr marL="4114595" lvl="8" indent="-22858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07918556"/>
      </p:ext>
    </p:extLst>
  </p:cSld>
  <p:clrMapOvr>
    <a:masterClrMapping/>
  </p:clrMapOvr>
  <p:extLst>
    <p:ext uri="{DCECCB84-F9BA-43D5-87BE-67443E8EF086}">
      <p15:sldGuideLst xmlns:p15="http://schemas.microsoft.com/office/powerpoint/2012/main">
        <p15:guide id="1" pos="162" userDrawn="1">
          <p15:clr>
            <a:srgbClr val="CCCCCC"/>
          </p15:clr>
        </p15:guide>
        <p15:guide id="2" pos="4158" userDrawn="1">
          <p15:clr>
            <a:srgbClr val="CCCCCC"/>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5" name="TextBox 14">
            <a:extLst>
              <a:ext uri="{FF2B5EF4-FFF2-40B4-BE49-F238E27FC236}">
                <a16:creationId xmlns:a16="http://schemas.microsoft.com/office/drawing/2014/main" id="{D439B148-E719-27C3-3403-978BEDC13EC0}"/>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3374201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6" name="Title 1"/>
          <p:cNvSpPr>
            <a:spLocks noGrp="1"/>
          </p:cNvSpPr>
          <p:nvPr>
            <p:ph type="title"/>
          </p:nvPr>
        </p:nvSpPr>
        <p:spPr>
          <a:xfrm>
            <a:off x="304800" y="2064684"/>
            <a:ext cx="8046720" cy="438912"/>
          </a:xfrm>
          <a:prstGeom prst="rect">
            <a:avLst/>
          </a:prstGeom>
        </p:spPr>
        <p:txBody>
          <a:bodyPr wrap="square" anchor="t">
            <a:noAutofit/>
          </a:bodyPr>
          <a:lstStyle>
            <a:lvl1pPr algn="l">
              <a:defRPr sz="5000"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90816204"/>
      </p:ext>
    </p:extLst>
  </p:cSld>
  <p:clrMapOvr>
    <a:masterClrMapping/>
  </p:clrMapOvr>
  <p:hf sldNum="0"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FA3C0EC-F1E0-4D42-57B1-27E1B43D0E3C}"/>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85000"/>
                  </a:schemeClr>
                </a:solidFill>
              </a:rPr>
              <a:t>© 2023 Nielsen Consumer LLC. All Rights Reserved.</a:t>
            </a:r>
          </a:p>
        </p:txBody>
      </p:sp>
    </p:spTree>
    <p:extLst>
      <p:ext uri="{BB962C8B-B14F-4D97-AF65-F5344CB8AC3E}">
        <p14:creationId xmlns:p14="http://schemas.microsoft.com/office/powerpoint/2010/main" val="3635695223"/>
      </p:ext>
    </p:extLst>
  </p:cSld>
  <p:clrMapOvr>
    <a:overrideClrMapping bg1="dk1" tx1="lt1" bg2="dk2" tx2="lt2" accent1="accent1" accent2="accent2" accent3="accent3" accent4="accent4" accent5="accent5" accent6="accent6" hlink="hlink" folHlink="folHlink"/>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592948476"/>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488949065"/>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9C478FA-FA6E-05DF-854B-5D984ACB62F4}"/>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10827543"/>
      </p:ext>
    </p:extLst>
  </p:cSld>
  <p:clrMapOvr>
    <a:overrideClrMapping bg1="lt1" tx1="dk1" bg2="lt2" tx2="dk2" accent1="accent1" accent2="accent2" accent3="accent3" accent4="accent4" accent5="accent5" accent6="accent6" hlink="hlink" folHlink="folHlink"/>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82228" y="0"/>
            <a:ext cx="3761773" cy="4333816"/>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bg1"/>
          </a:solidFill>
        </p:spPr>
        <p:txBody>
          <a:bodyPr/>
          <a:lstStyle>
            <a:lvl1pPr marL="0" indent="0" algn="ctr">
              <a:buNone/>
              <a:defRPr/>
            </a:lvl1pPr>
          </a:lstStyle>
          <a:p>
            <a:r>
              <a:rPr lang="en-US"/>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990674084"/>
      </p:ext>
    </p:extLst>
  </p:cSld>
  <p:clrMapOvr>
    <a:overrideClrMapping bg1="dk1" tx1="lt1" bg2="dk2" tx2="lt2" accent1="accent1" accent2="accent2" accent3="accent3" accent4="accent4" accent5="accent5" accent6="accent6" hlink="hlink" folHlink="folHlink"/>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81626" y="0"/>
            <a:ext cx="3762375" cy="4341307"/>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498261099"/>
      </p:ext>
    </p:extLst>
  </p:cSld>
  <p:clrMapOvr>
    <a:overrideClrMapping bg1="lt1" tx1="dk1" bg2="lt2" tx2="dk2" accent1="accent1" accent2="accent2" accent3="accent3" accent4="accent4" accent5="accent5" accent6="accent6" hlink="hlink" folHlink="folHlink"/>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15131" y="-24652"/>
            <a:ext cx="4728869"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30013" y="0"/>
            <a:ext cx="4713987" cy="510556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932061373"/>
      </p:ext>
    </p:extLst>
  </p:cSld>
  <p:clrMapOvr>
    <a:overrideClrMapping bg1="lt1" tx1="dk1" bg2="lt2" tx2="dk2" accent1="accent1" accent2="accent2" accent3="accent3" accent4="accent4" accent5="accent5" accent6="accent6" hlink="hlink" folHlink="folHlink"/>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4410358" y="1"/>
            <a:ext cx="4733642"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486842748"/>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18158" y="0"/>
            <a:ext cx="4725843" cy="51236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406317683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6" name="Title 1"/>
          <p:cNvSpPr>
            <a:spLocks noGrp="1"/>
          </p:cNvSpPr>
          <p:nvPr>
            <p:ph type="title"/>
          </p:nvPr>
        </p:nvSpPr>
        <p:spPr>
          <a:xfrm>
            <a:off x="304800" y="2064684"/>
            <a:ext cx="8046720" cy="438912"/>
          </a:xfrm>
          <a:prstGeom prst="rect">
            <a:avLst/>
          </a:prstGeom>
        </p:spPr>
        <p:txBody>
          <a:bodyPr wrap="square" anchor="t">
            <a:noAutofit/>
          </a:bodyPr>
          <a:lstStyle>
            <a:lvl1pPr algn="l">
              <a:defRPr sz="5000"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10952314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4403657" y="-16913"/>
            <a:ext cx="4740344"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1434"/>
            <a:ext cx="914399" cy="387879"/>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923774262"/>
      </p:ext>
    </p:extLst>
  </p:cSld>
  <p:clrMapOvr>
    <a:overrideClrMapping bg1="lt1" tx1="dk1" bg2="lt2" tx2="dk2" accent1="accent1" accent2="accent2" accent3="accent3" accent4="accent4" accent5="accent5" accent6="accent6" hlink="hlink" folHlink="folHlink"/>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933" b="-366"/>
          <a:stretch/>
        </p:blipFill>
        <p:spPr>
          <a:xfrm>
            <a:off x="4310743" y="-24653"/>
            <a:ext cx="4833257" cy="5168153"/>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379439870"/>
      </p:ext>
    </p:extLst>
  </p:cSld>
  <p:clrMapOvr>
    <a:overrideClrMapping bg1="lt1" tx1="dk1" bg2="lt2" tx2="dk2" accent1="accent1" accent2="accent2" accent3="accent3" accent4="accent4" accent5="accent5" accent6="accent6" hlink="hlink" folHlink="folHlink"/>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05462" y="-12248"/>
            <a:ext cx="4738538" cy="51435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542879898"/>
      </p:ext>
    </p:extLst>
  </p:cSld>
  <p:clrMapOvr>
    <a:overrideClrMapping bg1="lt1" tx1="dk1" bg2="lt2" tx2="dk2" accent1="accent1" accent2="accent2" accent3="accent3" accent4="accent4" accent5="accent5" accent6="accent6" hlink="hlink" folHlink="folHlink"/>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15130" y="-24652"/>
            <a:ext cx="4728870" cy="512442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822861368"/>
      </p:ext>
    </p:extLst>
  </p:cSld>
  <p:clrMapOvr>
    <a:overrideClrMapping bg1="lt1" tx1="dk1" bg2="lt2" tx2="dk2" accent1="accent1" accent2="accent2" accent3="accent3" accent4="accent4" accent5="accent5" accent6="accent6" hlink="hlink" folHlink="folHlink"/>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151571"/>
            <a:ext cx="6481562" cy="1790700"/>
          </a:xfrm>
          <a:prstGeom prst="rect">
            <a:avLst/>
          </a:prstGeom>
        </p:spPr>
        <p:txBody>
          <a:bodyPr anchor="t" anchorCtr="0">
            <a:noAutofit/>
          </a:bodyPr>
          <a:lstStyle>
            <a:lvl1pPr algn="l">
              <a:defRPr sz="4050">
                <a:solidFill>
                  <a:schemeClr val="tx1"/>
                </a:solidFill>
              </a:defRPr>
            </a:lvl1pPr>
          </a:lstStyle>
          <a:p>
            <a:r>
              <a:rPr lang="en-US"/>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92801117"/>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3001780" y="0"/>
            <a:ext cx="6142219" cy="5143500"/>
          </a:xfrm>
          <a:solidFill>
            <a:schemeClr val="tx1"/>
          </a:solidFill>
        </p:spPr>
        <p:txBody>
          <a:bodyPr anchor="ctr" anchorCtr="0"/>
          <a:lstStyle>
            <a:lvl1pPr marL="0" indent="0" algn="ctr">
              <a:buNone/>
              <a:defRPr>
                <a:solidFill>
                  <a:schemeClr val="bg1"/>
                </a:solidFill>
              </a:defRPr>
            </a:lvl1pPr>
          </a:lstStyle>
          <a:p>
            <a:r>
              <a:rPr lang="en-US"/>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397621" y="14384"/>
            <a:ext cx="4160535" cy="4160535"/>
          </a:xfrm>
          <a:prstGeom prst="ellipse">
            <a:avLst/>
          </a:prstGeom>
          <a:solidFill>
            <a:schemeClr val="bg2"/>
          </a:solidFill>
        </p:spPr>
        <p:txBody>
          <a:bodyPr tIns="0" bIns="0" anchor="ctr" anchorCtr="0"/>
          <a:lstStyle>
            <a:lvl1pPr marL="0" indent="0" algn="l">
              <a:buFont typeface="Arial" panose="020B0604020202020204" pitchFamily="34" charset="0"/>
              <a:buNone/>
              <a:defRPr sz="2700" b="1">
                <a:solidFill>
                  <a:schemeClr val="bg1"/>
                </a:solidFill>
                <a:latin typeface="+mj-lt"/>
              </a:defRPr>
            </a:lvl1pPr>
            <a:lvl2pPr marL="342900" indent="0" algn="ctr">
              <a:buFont typeface="Arial" panose="020B0604020202020204" pitchFamily="34" charset="0"/>
              <a:buNone/>
              <a:defRPr sz="2700">
                <a:solidFill>
                  <a:schemeClr val="bg1"/>
                </a:solidFill>
                <a:latin typeface="+mj-lt"/>
              </a:defRPr>
            </a:lvl2pPr>
            <a:lvl3pPr marL="685800" indent="0" algn="ctr">
              <a:buFont typeface="Arial" panose="020B0604020202020204" pitchFamily="34" charset="0"/>
              <a:buNone/>
              <a:defRPr sz="2700">
                <a:solidFill>
                  <a:schemeClr val="bg1"/>
                </a:solidFill>
                <a:latin typeface="+mj-lt"/>
              </a:defRPr>
            </a:lvl3pPr>
            <a:lvl4pPr marL="1028700" indent="0" algn="ctr">
              <a:buFont typeface="Arial" panose="020B0604020202020204" pitchFamily="34" charset="0"/>
              <a:buNone/>
              <a:defRPr sz="2700">
                <a:solidFill>
                  <a:schemeClr val="bg1"/>
                </a:solidFill>
                <a:latin typeface="+mj-lt"/>
              </a:defRPr>
            </a:lvl4pPr>
            <a:lvl5pPr marL="1371600" indent="0" algn="ctr">
              <a:buFont typeface="Arial" panose="020B0604020202020204" pitchFamily="34" charset="0"/>
              <a:buNone/>
              <a:defRPr sz="27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Tree>
    <p:extLst>
      <p:ext uri="{BB962C8B-B14F-4D97-AF65-F5344CB8AC3E}">
        <p14:creationId xmlns:p14="http://schemas.microsoft.com/office/powerpoint/2010/main" val="179304991"/>
      </p:ext>
    </p:extLst>
  </p:cSld>
  <p:clrMapOvr>
    <a:overrideClrMapping bg1="lt1" tx1="dk1" bg2="lt2" tx2="dk2" accent1="accent1" accent2="accent2" accent3="accent3" accent4="accent4" accent5="accent5" accent6="accent6" hlink="hlink" folHlink="folHlink"/>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59330298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3366235887"/>
      </p:ext>
    </p:extLst>
  </p:cSld>
  <p:clrMapOvr>
    <a:overrideClrMapping bg1="lt1" tx1="dk1" bg2="lt2" tx2="dk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9416329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354650" y="4966350"/>
            <a:ext cx="5064000" cy="1848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500">
                <a:solidFill>
                  <a:schemeClr val="bg1"/>
                </a:solidFill>
                <a:latin typeface="Montserrat" panose="00000500000000000000" pitchFamily="2" charset="0"/>
                <a:ea typeface="Montserrat Light"/>
                <a:cs typeface="Montserrat Light"/>
                <a:sym typeface="Montserrat Light"/>
              </a:rPr>
              <a:t>© </a:t>
            </a:r>
            <a:r>
              <a:rPr lang="en-US" sz="500">
                <a:solidFill>
                  <a:schemeClr val="bg1"/>
                </a:solidFill>
                <a:latin typeface="Montserrat" panose="00000500000000000000" pitchFamily="2" charset="0"/>
                <a:ea typeface="Montserrat Light"/>
                <a:cs typeface="Montserrat Light"/>
                <a:sym typeface="Montserrat Light"/>
              </a:rPr>
              <a:t>2023 Nielsen</a:t>
            </a:r>
            <a:r>
              <a:rPr lang="en" sz="500">
                <a:solidFill>
                  <a:schemeClr val="bg1"/>
                </a:solidFill>
                <a:latin typeface="Montserrat" panose="00000500000000000000" pitchFamily="2" charset="0"/>
                <a:ea typeface="Montserrat Light"/>
                <a:cs typeface="Montserrat Light"/>
                <a:sym typeface="Montserrat Light"/>
              </a:rPr>
              <a:t> Consumer LLC. All Rights Reserved.</a:t>
            </a:r>
            <a:endParaRPr sz="500" i="0" u="none" strike="noStrike" cap="none">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7" y="4521602"/>
            <a:ext cx="483489" cy="205740"/>
          </a:xfrm>
          <a:prstGeom prst="rect">
            <a:avLst/>
          </a:prstGeom>
        </p:spPr>
      </p:pic>
    </p:spTree>
    <p:extLst>
      <p:ext uri="{BB962C8B-B14F-4D97-AF65-F5344CB8AC3E}">
        <p14:creationId xmlns:p14="http://schemas.microsoft.com/office/powerpoint/2010/main" val="3021860671"/>
      </p:ext>
    </p:extLst>
  </p:cSld>
  <p:clrMapOvr>
    <a:masterClrMapping/>
  </p:clrMapOvr>
  <p:hf sldNum="0"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16418" y="476276"/>
            <a:ext cx="6481562" cy="1790700"/>
          </a:xfrm>
        </p:spPr>
        <p:txBody>
          <a:bodyPr anchor="b">
            <a:noAutofit/>
          </a:bodyPr>
          <a:lstStyle>
            <a:lvl1pPr algn="l">
              <a:defRPr sz="2700">
                <a:solidFill>
                  <a:schemeClr val="bg1"/>
                </a:solidFill>
              </a:defRPr>
            </a:lvl1pPr>
          </a:lstStyle>
          <a:p>
            <a:r>
              <a:rPr lang="en-US"/>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16419"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16419" y="3530611"/>
            <a:ext cx="6481562" cy="31759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8238994" y="4826403"/>
            <a:ext cx="676406" cy="273844"/>
          </a:xfrm>
        </p:spPr>
        <p:txBody>
          <a:bodyPr/>
          <a:lstStyle>
            <a:lvl1pPr>
              <a:defRPr>
                <a:solidFill>
                  <a:schemeClr val="bg1"/>
                </a:solidFill>
              </a:defRPr>
            </a:lvl1pPr>
          </a:lstStyle>
          <a:p>
            <a:fld id="{403EF4E2-7A7A-0548-85F1-5479B7C9E1B2}" type="slidenum">
              <a:rPr lang="en-US" smtClean="0"/>
              <a:pPr/>
              <a:t>‹#›</a:t>
            </a:fld>
            <a:endParaRPr lang="en-US"/>
          </a:p>
        </p:txBody>
      </p:sp>
      <p:sp>
        <p:nvSpPr>
          <p:cNvPr id="6" name="TextBox 5">
            <a:extLst>
              <a:ext uri="{FF2B5EF4-FFF2-40B4-BE49-F238E27FC236}">
                <a16:creationId xmlns:a16="http://schemas.microsoft.com/office/drawing/2014/main" id="{F7DAD2E5-E506-6900-CAA8-ABF57EC21828}"/>
              </a:ext>
            </a:extLst>
          </p:cNvPr>
          <p:cNvSpPr txBox="1"/>
          <p:nvPr userDrawn="1"/>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151862680"/>
      </p:ext>
    </p:extLst>
  </p:cSld>
  <p:clrMapOvr>
    <a:overrideClrMapping bg1="lt1" tx1="dk1" bg2="lt2" tx2="dk2" accent1="accent1" accent2="accent2" accent3="accent3" accent4="accent4" accent5="accent5" accent6="accent6" hlink="hlink" folHlink="folHlink"/>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_cover_niq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13" name="Rectangle 12">
            <a:extLst>
              <a:ext uri="{FF2B5EF4-FFF2-40B4-BE49-F238E27FC236}">
                <a16:creationId xmlns:a16="http://schemas.microsoft.com/office/drawing/2014/main" id="{379C8770-90B9-F88B-B841-692D5E95FE1A}"/>
              </a:ext>
            </a:extLst>
          </p:cNvPr>
          <p:cNvSpPr/>
          <p:nvPr userDrawn="1"/>
        </p:nvSpPr>
        <p:spPr>
          <a:xfrm>
            <a:off x="676275" y="1089112"/>
            <a:ext cx="8464153" cy="40624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6736557" y="1301044"/>
            <a:ext cx="2407444" cy="36218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6962775" y="1627274"/>
            <a:ext cx="19240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E81BB36-C635-8123-94F2-5323D079308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userDrawn="1">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12" name="Text Placeholder 10">
            <a:extLst>
              <a:ext uri="{FF2B5EF4-FFF2-40B4-BE49-F238E27FC236}">
                <a16:creationId xmlns:a16="http://schemas.microsoft.com/office/drawing/2014/main" id="{2915F535-53DA-2E53-DF25-4606E720ADFF}"/>
              </a:ext>
            </a:extLst>
          </p:cNvPr>
          <p:cNvSpPr>
            <a:spLocks noGrp="1"/>
          </p:cNvSpPr>
          <p:nvPr userDrawn="1">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22" name="Straight Connector 21">
            <a:extLst>
              <a:ext uri="{FF2B5EF4-FFF2-40B4-BE49-F238E27FC236}">
                <a16:creationId xmlns:a16="http://schemas.microsoft.com/office/drawing/2014/main" id="{C04815F4-A9EA-70F9-D28F-E786EBC320F1}"/>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20603AA-5645-C5F2-8470-0DE2C7DF4F05}"/>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EAEE7F0-84DF-EA21-B902-13693F2A0D44}"/>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 Placeholder 32">
            <a:extLst>
              <a:ext uri="{FF2B5EF4-FFF2-40B4-BE49-F238E27FC236}">
                <a16:creationId xmlns:a16="http://schemas.microsoft.com/office/drawing/2014/main" id="{EA3ABB1C-47F2-F467-DE71-7E606BEDC5D9}"/>
              </a:ext>
            </a:extLst>
          </p:cNvPr>
          <p:cNvSpPr>
            <a:spLocks noGrp="1"/>
          </p:cNvSpPr>
          <p:nvPr userDrawn="1">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37" name="Text Placeholder 34">
            <a:extLst>
              <a:ext uri="{FF2B5EF4-FFF2-40B4-BE49-F238E27FC236}">
                <a16:creationId xmlns:a16="http://schemas.microsoft.com/office/drawing/2014/main" id="{36E46EEC-E818-E164-9FF3-AF8DEABBAE90}"/>
              </a:ext>
            </a:extLst>
          </p:cNvPr>
          <p:cNvSpPr>
            <a:spLocks noGrp="1"/>
          </p:cNvSpPr>
          <p:nvPr userDrawn="1">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40" name="Text Placeholder 38">
            <a:extLst>
              <a:ext uri="{FF2B5EF4-FFF2-40B4-BE49-F238E27FC236}">
                <a16:creationId xmlns:a16="http://schemas.microsoft.com/office/drawing/2014/main" id="{D84F345D-E6BF-A91F-1DD2-99984554A044}"/>
              </a:ext>
            </a:extLst>
          </p:cNvPr>
          <p:cNvSpPr>
            <a:spLocks noGrp="1"/>
          </p:cNvSpPr>
          <p:nvPr userDrawn="1">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6" name="Content Placeholder 44">
            <a:extLst>
              <a:ext uri="{FF2B5EF4-FFF2-40B4-BE49-F238E27FC236}">
                <a16:creationId xmlns:a16="http://schemas.microsoft.com/office/drawing/2014/main" id="{00942F0E-89C8-4C35-6D8C-ED9118BD3716}"/>
              </a:ext>
            </a:extLst>
          </p:cNvPr>
          <p:cNvSpPr>
            <a:spLocks noGrp="1"/>
          </p:cNvSpPr>
          <p:nvPr userDrawn="1">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8">
            <a:extLst>
              <a:ext uri="{FF2B5EF4-FFF2-40B4-BE49-F238E27FC236}">
                <a16:creationId xmlns:a16="http://schemas.microsoft.com/office/drawing/2014/main" id="{D1F1B5CB-ECC2-958E-328D-6615B3CBC0F5}"/>
              </a:ext>
            </a:extLst>
          </p:cNvPr>
          <p:cNvSpPr>
            <a:spLocks noGrp="1"/>
          </p:cNvSpPr>
          <p:nvPr userDrawn="1">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0" name="Content Placeholder 44">
            <a:extLst>
              <a:ext uri="{FF2B5EF4-FFF2-40B4-BE49-F238E27FC236}">
                <a16:creationId xmlns:a16="http://schemas.microsoft.com/office/drawing/2014/main" id="{203C1418-E0FD-74F6-80D4-021EB1032ADD}"/>
              </a:ext>
            </a:extLst>
          </p:cNvPr>
          <p:cNvSpPr>
            <a:spLocks noGrp="1"/>
          </p:cNvSpPr>
          <p:nvPr userDrawn="1">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38">
            <a:extLst>
              <a:ext uri="{FF2B5EF4-FFF2-40B4-BE49-F238E27FC236}">
                <a16:creationId xmlns:a16="http://schemas.microsoft.com/office/drawing/2014/main" id="{DE442F49-965E-8FCD-AF86-A30EFB29CB85}"/>
              </a:ext>
            </a:extLst>
          </p:cNvPr>
          <p:cNvSpPr>
            <a:spLocks noGrp="1"/>
          </p:cNvSpPr>
          <p:nvPr userDrawn="1">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2" name="Content Placeholder 44">
            <a:extLst>
              <a:ext uri="{FF2B5EF4-FFF2-40B4-BE49-F238E27FC236}">
                <a16:creationId xmlns:a16="http://schemas.microsoft.com/office/drawing/2014/main" id="{6D2C8DC1-92AD-67C1-4687-DE812786C29A}"/>
              </a:ext>
            </a:extLst>
          </p:cNvPr>
          <p:cNvSpPr>
            <a:spLocks noGrp="1"/>
          </p:cNvSpPr>
          <p:nvPr userDrawn="1">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 name="Text Placeholder 101">
            <a:extLst>
              <a:ext uri="{FF2B5EF4-FFF2-40B4-BE49-F238E27FC236}">
                <a16:creationId xmlns:a16="http://schemas.microsoft.com/office/drawing/2014/main" id="{FF4C4C2C-AC16-5179-753E-A91464667422}"/>
              </a:ext>
            </a:extLst>
          </p:cNvPr>
          <p:cNvSpPr>
            <a:spLocks noGrp="1"/>
          </p:cNvSpPr>
          <p:nvPr userDrawn="1">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112" name="Content Placeholder 110">
            <a:extLst>
              <a:ext uri="{FF2B5EF4-FFF2-40B4-BE49-F238E27FC236}">
                <a16:creationId xmlns:a16="http://schemas.microsoft.com/office/drawing/2014/main" id="{BA6C599D-FFFA-015D-4B25-9C2AE37B9BB8}"/>
              </a:ext>
            </a:extLst>
          </p:cNvPr>
          <p:cNvSpPr>
            <a:spLocks noGrp="1"/>
          </p:cNvSpPr>
          <p:nvPr userDrawn="1">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5" name="Text Placeholder 113">
            <a:extLst>
              <a:ext uri="{FF2B5EF4-FFF2-40B4-BE49-F238E27FC236}">
                <a16:creationId xmlns:a16="http://schemas.microsoft.com/office/drawing/2014/main" id="{0BD96262-ECD4-E803-E14F-A5ED193E066B}"/>
              </a:ext>
            </a:extLst>
          </p:cNvPr>
          <p:cNvSpPr>
            <a:spLocks noGrp="1"/>
          </p:cNvSpPr>
          <p:nvPr userDrawn="1">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1" name="Text Placeholder 119">
            <a:extLst>
              <a:ext uri="{FF2B5EF4-FFF2-40B4-BE49-F238E27FC236}">
                <a16:creationId xmlns:a16="http://schemas.microsoft.com/office/drawing/2014/main" id="{8F16D308-D05D-3657-4B70-3D0449895F22}"/>
              </a:ext>
            </a:extLst>
          </p:cNvPr>
          <p:cNvSpPr>
            <a:spLocks noGrp="1"/>
          </p:cNvSpPr>
          <p:nvPr userDrawn="1">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831434572"/>
      </p:ext>
    </p:extLst>
  </p:cSld>
  <p:clrMapOvr>
    <a:overrideClrMapping bg1="lt1" tx1="dk1" bg2="lt2" tx2="dk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inside1_niq">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AC8C36-C187-2142-52E6-24325380BECA}"/>
              </a:ext>
            </a:extLst>
          </p:cNvPr>
          <p:cNvSpPr/>
          <p:nvPr userDrawn="1"/>
        </p:nvSpPr>
        <p:spPr>
          <a:xfrm>
            <a:off x="676275" y="1081087"/>
            <a:ext cx="8464153" cy="40624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75FBFCF9-5E29-C866-A41E-FCC1B950E2AB}"/>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11" name="Picture 10">
            <a:extLst>
              <a:ext uri="{FF2B5EF4-FFF2-40B4-BE49-F238E27FC236}">
                <a16:creationId xmlns:a16="http://schemas.microsoft.com/office/drawing/2014/main" id="{53741AFA-9E4A-EA7F-855A-26C768B2BE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15" name="Text Placeholder 32">
            <a:extLst>
              <a:ext uri="{FF2B5EF4-FFF2-40B4-BE49-F238E27FC236}">
                <a16:creationId xmlns:a16="http://schemas.microsoft.com/office/drawing/2014/main" id="{A656C79A-C740-0FAA-FB2F-3CA18202083E}"/>
              </a:ext>
            </a:extLst>
          </p:cNvPr>
          <p:cNvSpPr>
            <a:spLocks noGrp="1"/>
          </p:cNvSpPr>
          <p:nvPr>
            <p:ph type="body" sz="quarter" idx="14" hasCustomPrompt="1"/>
          </p:nvPr>
        </p:nvSpPr>
        <p:spPr>
          <a:xfrm>
            <a:off x="1078706" y="1504950"/>
            <a:ext cx="5143500" cy="319537"/>
          </a:xfrm>
        </p:spPr>
        <p:txBody>
          <a:bodyPr/>
          <a:lstStyle>
            <a:lvl1pPr marL="0" indent="0">
              <a:lnSpc>
                <a:spcPct val="100000"/>
              </a:lnSpc>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6" name="Text Placeholder 34">
            <a:extLst>
              <a:ext uri="{FF2B5EF4-FFF2-40B4-BE49-F238E27FC236}">
                <a16:creationId xmlns:a16="http://schemas.microsoft.com/office/drawing/2014/main" id="{FB340157-CF3E-A964-E0E0-120F2908806D}"/>
              </a:ext>
            </a:extLst>
          </p:cNvPr>
          <p:cNvSpPr>
            <a:spLocks noGrp="1"/>
          </p:cNvSpPr>
          <p:nvPr>
            <p:ph type="body" sz="quarter" idx="15" hasCustomPrompt="1"/>
          </p:nvPr>
        </p:nvSpPr>
        <p:spPr>
          <a:xfrm>
            <a:off x="1078706" y="1824038"/>
            <a:ext cx="5143500" cy="469106"/>
          </a:xfrm>
        </p:spPr>
        <p:txBody>
          <a:bodyPr/>
          <a:lstStyle>
            <a:lvl1pPr marL="0" indent="0">
              <a:lnSpc>
                <a:spcPct val="100000"/>
              </a:lnSpc>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28" name="TextBox 27">
            <a:extLst>
              <a:ext uri="{FF2B5EF4-FFF2-40B4-BE49-F238E27FC236}">
                <a16:creationId xmlns:a16="http://schemas.microsoft.com/office/drawing/2014/main" id="{7EB4465F-43D6-D0F6-24EA-7D7E65FC1E3F}"/>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sp>
        <p:nvSpPr>
          <p:cNvPr id="29" name="Text Placeholder 28">
            <a:extLst>
              <a:ext uri="{FF2B5EF4-FFF2-40B4-BE49-F238E27FC236}">
                <a16:creationId xmlns:a16="http://schemas.microsoft.com/office/drawing/2014/main" id="{DAFE5EA7-9483-D0A4-4AD9-B923670042E4}"/>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34" name="Text Placeholder 10">
            <a:extLst>
              <a:ext uri="{FF2B5EF4-FFF2-40B4-BE49-F238E27FC236}">
                <a16:creationId xmlns:a16="http://schemas.microsoft.com/office/drawing/2014/main" id="{4D225AD8-5C33-5B11-0BC4-D446194870DF}"/>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14" name="Straight Connector 13">
            <a:extLst>
              <a:ext uri="{FF2B5EF4-FFF2-40B4-BE49-F238E27FC236}">
                <a16:creationId xmlns:a16="http://schemas.microsoft.com/office/drawing/2014/main" id="{D387F203-D63F-6889-A61C-51A1BC35DF87}"/>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4E7CEF6-0425-94A5-4455-697E21742617}"/>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023E953-5384-7B2F-0B3F-9F3C7723CD15}"/>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 Placeholder 38">
            <a:extLst>
              <a:ext uri="{FF2B5EF4-FFF2-40B4-BE49-F238E27FC236}">
                <a16:creationId xmlns:a16="http://schemas.microsoft.com/office/drawing/2014/main" id="{82E32E5B-EB30-680D-4712-690F264BDD6B}"/>
              </a:ext>
            </a:extLst>
          </p:cNvPr>
          <p:cNvSpPr>
            <a:spLocks noGrp="1"/>
          </p:cNvSpPr>
          <p:nvPr>
            <p:ph type="body" sz="quarter" idx="24"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33" name="Content Placeholder 44">
            <a:extLst>
              <a:ext uri="{FF2B5EF4-FFF2-40B4-BE49-F238E27FC236}">
                <a16:creationId xmlns:a16="http://schemas.microsoft.com/office/drawing/2014/main" id="{7B079604-9349-0A32-C68A-5C4F5A014A62}"/>
              </a:ext>
            </a:extLst>
          </p:cNvPr>
          <p:cNvSpPr>
            <a:spLocks noGrp="1"/>
          </p:cNvSpPr>
          <p:nvPr>
            <p:ph sz="quarter" idx="25"/>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8">
            <a:extLst>
              <a:ext uri="{FF2B5EF4-FFF2-40B4-BE49-F238E27FC236}">
                <a16:creationId xmlns:a16="http://schemas.microsoft.com/office/drawing/2014/main" id="{EF30185D-01EF-7A1C-7252-6DAAF35B8BEE}"/>
              </a:ext>
            </a:extLst>
          </p:cNvPr>
          <p:cNvSpPr>
            <a:spLocks noGrp="1"/>
          </p:cNvSpPr>
          <p:nvPr>
            <p:ph type="body" sz="quarter" idx="26"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36" name="Content Placeholder 44">
            <a:extLst>
              <a:ext uri="{FF2B5EF4-FFF2-40B4-BE49-F238E27FC236}">
                <a16:creationId xmlns:a16="http://schemas.microsoft.com/office/drawing/2014/main" id="{677A3CD0-CFEE-570F-F205-149F62A9EE4D}"/>
              </a:ext>
            </a:extLst>
          </p:cNvPr>
          <p:cNvSpPr>
            <a:spLocks noGrp="1"/>
          </p:cNvSpPr>
          <p:nvPr>
            <p:ph sz="quarter" idx="27"/>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8">
            <a:extLst>
              <a:ext uri="{FF2B5EF4-FFF2-40B4-BE49-F238E27FC236}">
                <a16:creationId xmlns:a16="http://schemas.microsoft.com/office/drawing/2014/main" id="{FA40298F-BC9C-EA07-EAB8-8C5606D2A506}"/>
              </a:ext>
            </a:extLst>
          </p:cNvPr>
          <p:cNvSpPr>
            <a:spLocks noGrp="1"/>
          </p:cNvSpPr>
          <p:nvPr>
            <p:ph type="body" sz="quarter" idx="28"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38" name="Content Placeholder 44">
            <a:extLst>
              <a:ext uri="{FF2B5EF4-FFF2-40B4-BE49-F238E27FC236}">
                <a16:creationId xmlns:a16="http://schemas.microsoft.com/office/drawing/2014/main" id="{46531157-9AC5-CC89-7D05-14E6FB061201}"/>
              </a:ext>
            </a:extLst>
          </p:cNvPr>
          <p:cNvSpPr>
            <a:spLocks noGrp="1"/>
          </p:cNvSpPr>
          <p:nvPr>
            <p:ph sz="quarter" idx="29"/>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38">
            <a:extLst>
              <a:ext uri="{FF2B5EF4-FFF2-40B4-BE49-F238E27FC236}">
                <a16:creationId xmlns:a16="http://schemas.microsoft.com/office/drawing/2014/main" id="{B109F0AB-DE47-3736-C3E4-06D29E415573}"/>
              </a:ext>
            </a:extLst>
          </p:cNvPr>
          <p:cNvCxnSpPr>
            <a:cxnSpLocks/>
          </p:cNvCxnSpPr>
          <p:nvPr userDrawn="1"/>
        </p:nvCxnSpPr>
        <p:spPr>
          <a:xfrm>
            <a:off x="6350794"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Content Placeholder 44">
            <a:extLst>
              <a:ext uri="{FF2B5EF4-FFF2-40B4-BE49-F238E27FC236}">
                <a16:creationId xmlns:a16="http://schemas.microsoft.com/office/drawing/2014/main" id="{5025D101-B1E6-DE9E-D06B-C658687892F2}"/>
              </a:ext>
            </a:extLst>
          </p:cNvPr>
          <p:cNvSpPr>
            <a:spLocks noGrp="1"/>
          </p:cNvSpPr>
          <p:nvPr>
            <p:ph sz="quarter" idx="31"/>
          </p:nvPr>
        </p:nvSpPr>
        <p:spPr>
          <a:xfrm>
            <a:off x="6336506"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3977040"/>
      </p:ext>
    </p:extLst>
  </p:cSld>
  <p:clrMapOvr>
    <a:overrideClrMapping bg1="lt1" tx1="dk1" bg2="lt2" tx2="dk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inside2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E6E2B64-3E2A-19E6-4A17-086F6DEEE3DE}"/>
              </a:ext>
            </a:extLst>
          </p:cNvPr>
          <p:cNvGrpSpPr/>
          <p:nvPr userDrawn="1"/>
        </p:nvGrpSpPr>
        <p:grpSpPr>
          <a:xfrm>
            <a:off x="676275" y="1081087"/>
            <a:ext cx="8467725" cy="4062413"/>
            <a:chOff x="901700" y="1441450"/>
            <a:chExt cx="11290300" cy="5416550"/>
          </a:xfrm>
        </p:grpSpPr>
        <p:sp>
          <p:nvSpPr>
            <p:cNvPr id="4" name="Rectangle 3">
              <a:extLst>
                <a:ext uri="{FF2B5EF4-FFF2-40B4-BE49-F238E27FC236}">
                  <a16:creationId xmlns:a16="http://schemas.microsoft.com/office/drawing/2014/main" id="{2280ABE8-B479-9D51-2E54-F3AB6A34F697}"/>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DD5AE5E1-6B5F-54A8-553A-1A935DA0E7CF}"/>
                </a:ext>
              </a:extLst>
            </p:cNvPr>
            <p:cNvSpPr/>
            <p:nvPr userDrawn="1"/>
          </p:nvSpPr>
          <p:spPr>
            <a:xfrm>
              <a:off x="8982075" y="1724025"/>
              <a:ext cx="3209925" cy="4829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sp>
        <p:nvSpPr>
          <p:cNvPr id="23" name="Rectangle 22">
            <a:extLst>
              <a:ext uri="{FF2B5EF4-FFF2-40B4-BE49-F238E27FC236}">
                <a16:creationId xmlns:a16="http://schemas.microsoft.com/office/drawing/2014/main" id="{51F98959-B034-8C14-F99D-94EC959C31FB}"/>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24" name="Picture 23">
            <a:extLst>
              <a:ext uri="{FF2B5EF4-FFF2-40B4-BE49-F238E27FC236}">
                <a16:creationId xmlns:a16="http://schemas.microsoft.com/office/drawing/2014/main" id="{5F3E379C-7223-23AD-E004-EE397EE9FB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27" name="Text Placeholder 10">
            <a:extLst>
              <a:ext uri="{FF2B5EF4-FFF2-40B4-BE49-F238E27FC236}">
                <a16:creationId xmlns:a16="http://schemas.microsoft.com/office/drawing/2014/main" id="{8163225D-1562-1DCE-81C7-EA992AB2242E}"/>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
        <p:nvSpPr>
          <p:cNvPr id="43" name="Content Placeholder 27">
            <a:extLst>
              <a:ext uri="{FF2B5EF4-FFF2-40B4-BE49-F238E27FC236}">
                <a16:creationId xmlns:a16="http://schemas.microsoft.com/office/drawing/2014/main" id="{96139FD5-BA68-412C-0823-74B3E218B9B8}"/>
              </a:ext>
            </a:extLst>
          </p:cNvPr>
          <p:cNvSpPr>
            <a:spLocks noGrp="1"/>
          </p:cNvSpPr>
          <p:nvPr>
            <p:ph sz="quarter" idx="23"/>
          </p:nvPr>
        </p:nvSpPr>
        <p:spPr>
          <a:xfrm>
            <a:off x="6922294" y="1504950"/>
            <a:ext cx="2006204" cy="1300163"/>
          </a:xfrm>
        </p:spPr>
        <p:txBody>
          <a:bodyPr/>
          <a:lstStyle>
            <a:lvl1pPr>
              <a:lnSpc>
                <a:spcPct val="100000"/>
              </a:lnSpc>
              <a:spcBef>
                <a:spcPts val="0"/>
              </a:spcBef>
              <a:spcAft>
                <a:spcPts val="450"/>
              </a:spcAft>
              <a:defRPr sz="825"/>
            </a:lvl1pPr>
            <a:lvl2pPr>
              <a:lnSpc>
                <a:spcPct val="100000"/>
              </a:lnSpc>
              <a:spcBef>
                <a:spcPts val="0"/>
              </a:spcBef>
              <a:spcAft>
                <a:spcPts val="450"/>
              </a:spcAft>
              <a:defRPr sz="825"/>
            </a:lvl2pPr>
            <a:lvl3pPr>
              <a:lnSpc>
                <a:spcPct val="100000"/>
              </a:lnSpc>
              <a:spcBef>
                <a:spcPts val="0"/>
              </a:spcBef>
              <a:spcAft>
                <a:spcPts val="450"/>
              </a:spcAft>
              <a:defRPr sz="825"/>
            </a:lvl3pPr>
            <a:lvl4pPr>
              <a:lnSpc>
                <a:spcPct val="100000"/>
              </a:lnSpc>
              <a:spcBef>
                <a:spcPts val="0"/>
              </a:spcBef>
              <a:spcAft>
                <a:spcPts val="450"/>
              </a:spcAft>
              <a:defRPr sz="825"/>
            </a:lvl4pPr>
            <a:lvl5pPr>
              <a:lnSpc>
                <a:spcPct val="100000"/>
              </a:lnSpc>
              <a:spcBef>
                <a:spcPts val="0"/>
              </a:spcBef>
              <a:spcAft>
                <a:spcPts val="450"/>
              </a:spcAft>
              <a:defRPr sz="8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1">
            <a:extLst>
              <a:ext uri="{FF2B5EF4-FFF2-40B4-BE49-F238E27FC236}">
                <a16:creationId xmlns:a16="http://schemas.microsoft.com/office/drawing/2014/main" id="{75AFE137-6E32-29AE-1EDC-EBB091D2DB2F}"/>
              </a:ext>
            </a:extLst>
          </p:cNvPr>
          <p:cNvSpPr>
            <a:spLocks noGrp="1"/>
          </p:cNvSpPr>
          <p:nvPr>
            <p:ph type="body" sz="quarter" idx="24" hasCustomPrompt="1"/>
          </p:nvPr>
        </p:nvSpPr>
        <p:spPr>
          <a:xfrm>
            <a:off x="6922294" y="3142168"/>
            <a:ext cx="2034779" cy="1117889"/>
          </a:xfrm>
        </p:spPr>
        <p:txBody>
          <a:bodyPr/>
          <a:lstStyle>
            <a:lvl1pPr marL="0" indent="0">
              <a:lnSpc>
                <a:spcPct val="100000"/>
              </a:lnSpc>
              <a:spcBef>
                <a:spcPts val="0"/>
              </a:spcBef>
              <a:spcAft>
                <a:spcPts val="450"/>
              </a:spcAft>
              <a:buNone/>
              <a:defRPr sz="1500" b="1"/>
            </a:lvl1pPr>
            <a:lvl2pPr marL="342900" indent="0">
              <a:buNone/>
              <a:defRPr sz="1500" b="1"/>
            </a:lvl2pPr>
            <a:lvl3pPr marL="685800" indent="0">
              <a:buNone/>
              <a:defRPr sz="1500" b="1"/>
            </a:lvl3pPr>
            <a:lvl4pPr marL="1028700" indent="0">
              <a:buNone/>
              <a:defRPr sz="1500" b="1"/>
            </a:lvl4pPr>
            <a:lvl5pPr marL="1371600" indent="0">
              <a:buNone/>
              <a:defRPr sz="1500" b="1"/>
            </a:lvl5pPr>
          </a:lstStyle>
          <a:p>
            <a:pPr lvl="0"/>
            <a:r>
              <a:rPr lang="en-US"/>
              <a:t>Click to add text</a:t>
            </a:r>
          </a:p>
        </p:txBody>
      </p:sp>
      <p:sp>
        <p:nvSpPr>
          <p:cNvPr id="45" name="Text Placeholder 35">
            <a:extLst>
              <a:ext uri="{FF2B5EF4-FFF2-40B4-BE49-F238E27FC236}">
                <a16:creationId xmlns:a16="http://schemas.microsoft.com/office/drawing/2014/main" id="{99EFF32C-0FB2-4C6F-F1C3-C5764EE46E29}"/>
              </a:ext>
            </a:extLst>
          </p:cNvPr>
          <p:cNvSpPr>
            <a:spLocks noGrp="1"/>
          </p:cNvSpPr>
          <p:nvPr>
            <p:ph type="body" sz="quarter" idx="25" hasCustomPrompt="1"/>
          </p:nvPr>
        </p:nvSpPr>
        <p:spPr>
          <a:xfrm>
            <a:off x="6922294" y="2967038"/>
            <a:ext cx="2034779" cy="175022"/>
          </a:xfrm>
        </p:spPr>
        <p:txBody>
          <a:bodyPr/>
          <a:lstStyle>
            <a:lvl1pPr marL="0" indent="0">
              <a:lnSpc>
                <a:spcPct val="100000"/>
              </a:lnSpc>
              <a:spcBef>
                <a:spcPts val="0"/>
              </a:spcBef>
              <a:spcAft>
                <a:spcPts val="450"/>
              </a:spcAft>
              <a:buNone/>
              <a:defRPr sz="600"/>
            </a:lvl1pPr>
            <a:lvl2pPr marL="342900" indent="0">
              <a:buNone/>
              <a:defRPr sz="600"/>
            </a:lvl2pPr>
            <a:lvl3pPr marL="685800" indent="0">
              <a:buNone/>
              <a:defRPr sz="600"/>
            </a:lvl3pPr>
            <a:lvl4pPr marL="1028700" indent="0">
              <a:buNone/>
              <a:defRPr sz="600"/>
            </a:lvl4pPr>
            <a:lvl5pPr marL="1371600" indent="0">
              <a:buNone/>
              <a:defRPr sz="600"/>
            </a:lvl5pPr>
          </a:lstStyle>
          <a:p>
            <a:pPr lvl="0"/>
            <a:r>
              <a:rPr lang="en-US"/>
              <a:t>Eyebrow</a:t>
            </a:r>
          </a:p>
        </p:txBody>
      </p:sp>
      <p:sp>
        <p:nvSpPr>
          <p:cNvPr id="47" name="TextBox 46">
            <a:extLst>
              <a:ext uri="{FF2B5EF4-FFF2-40B4-BE49-F238E27FC236}">
                <a16:creationId xmlns:a16="http://schemas.microsoft.com/office/drawing/2014/main" id="{EE89A84D-40C4-7946-34C7-2AC467389DBC}"/>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59" name="Straight Connector 58">
            <a:extLst>
              <a:ext uri="{FF2B5EF4-FFF2-40B4-BE49-F238E27FC236}">
                <a16:creationId xmlns:a16="http://schemas.microsoft.com/office/drawing/2014/main" id="{2BA25E5E-93F0-3E8D-AA3B-6093B7671365}"/>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806F73E-DF49-AFD3-80D6-FCFD1DB46BB4}"/>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4D1C45C-4973-6FCC-84F4-328B286842B7}"/>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 Placeholder 32">
            <a:extLst>
              <a:ext uri="{FF2B5EF4-FFF2-40B4-BE49-F238E27FC236}">
                <a16:creationId xmlns:a16="http://schemas.microsoft.com/office/drawing/2014/main" id="{6AABDEAF-25B4-1D1E-4BA0-C5D8B18C661A}"/>
              </a:ext>
            </a:extLst>
          </p:cNvPr>
          <p:cNvSpPr>
            <a:spLocks noGrp="1"/>
          </p:cNvSpPr>
          <p:nvPr>
            <p:ph type="body" sz="quarter" idx="1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63" name="Text Placeholder 34">
            <a:extLst>
              <a:ext uri="{FF2B5EF4-FFF2-40B4-BE49-F238E27FC236}">
                <a16:creationId xmlns:a16="http://schemas.microsoft.com/office/drawing/2014/main" id="{530621A0-909B-CAB4-7AE8-B55A4E76013F}"/>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64" name="Text Placeholder 38">
            <a:extLst>
              <a:ext uri="{FF2B5EF4-FFF2-40B4-BE49-F238E27FC236}">
                <a16:creationId xmlns:a16="http://schemas.microsoft.com/office/drawing/2014/main" id="{1DCBA25B-7F01-9E56-BC4E-A35844C3C31F}"/>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65" name="Content Placeholder 44">
            <a:extLst>
              <a:ext uri="{FF2B5EF4-FFF2-40B4-BE49-F238E27FC236}">
                <a16:creationId xmlns:a16="http://schemas.microsoft.com/office/drawing/2014/main" id="{F8C1ED98-99FC-8895-FDB5-E7B4B5B48720}"/>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Text Placeholder 38">
            <a:extLst>
              <a:ext uri="{FF2B5EF4-FFF2-40B4-BE49-F238E27FC236}">
                <a16:creationId xmlns:a16="http://schemas.microsoft.com/office/drawing/2014/main" id="{74236EC7-D75C-F70A-DB3A-DEEDE0952357}"/>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67" name="Content Placeholder 44">
            <a:extLst>
              <a:ext uri="{FF2B5EF4-FFF2-40B4-BE49-F238E27FC236}">
                <a16:creationId xmlns:a16="http://schemas.microsoft.com/office/drawing/2014/main" id="{F29781C2-5284-EBA2-C80D-257A27947E37}"/>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 name="Text Placeholder 38">
            <a:extLst>
              <a:ext uri="{FF2B5EF4-FFF2-40B4-BE49-F238E27FC236}">
                <a16:creationId xmlns:a16="http://schemas.microsoft.com/office/drawing/2014/main" id="{465686AC-9214-B145-BF01-7F7C24FBF8D2}"/>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69" name="Content Placeholder 44">
            <a:extLst>
              <a:ext uri="{FF2B5EF4-FFF2-40B4-BE49-F238E27FC236}">
                <a16:creationId xmlns:a16="http://schemas.microsoft.com/office/drawing/2014/main" id="{A90B5CCD-DCD5-54FA-EACF-5296E3F80493}"/>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Text Placeholder 28">
            <a:extLst>
              <a:ext uri="{FF2B5EF4-FFF2-40B4-BE49-F238E27FC236}">
                <a16:creationId xmlns:a16="http://schemas.microsoft.com/office/drawing/2014/main" id="{8D562587-4D72-9E83-3BB1-4D5959C4DE75}"/>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Tree>
    <p:extLst>
      <p:ext uri="{BB962C8B-B14F-4D97-AF65-F5344CB8AC3E}">
        <p14:creationId xmlns:p14="http://schemas.microsoft.com/office/powerpoint/2010/main" val="3967108132"/>
      </p:ext>
    </p:extLst>
  </p:cSld>
  <p:clrMapOvr>
    <a:overrideClrMapping bg1="lt1" tx1="dk1" bg2="lt2" tx2="dk2" accent1="accent1" accent2="accent2" accent3="accent3" accent4="accent4" accent5="accent5" accent6="accent6" hlink="hlink" folHlink="folHlink"/>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qoute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01271E1-58B8-AEBC-F7E5-2CCF0EE1F401}"/>
              </a:ext>
            </a:extLst>
          </p:cNvPr>
          <p:cNvGrpSpPr/>
          <p:nvPr userDrawn="1"/>
        </p:nvGrpSpPr>
        <p:grpSpPr>
          <a:xfrm>
            <a:off x="676275" y="1081087"/>
            <a:ext cx="8467725" cy="4062413"/>
            <a:chOff x="901700" y="1441450"/>
            <a:chExt cx="11290300" cy="5416550"/>
          </a:xfrm>
        </p:grpSpPr>
        <p:sp>
          <p:nvSpPr>
            <p:cNvPr id="4" name="Rectangle 3">
              <a:extLst>
                <a:ext uri="{FF2B5EF4-FFF2-40B4-BE49-F238E27FC236}">
                  <a16:creationId xmlns:a16="http://schemas.microsoft.com/office/drawing/2014/main" id="{F2AD3342-D34A-7744-707D-3083B593EC18}"/>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F5E2A94D-6187-8BFF-4FE7-B1B01E6B9F6E}"/>
                </a:ext>
              </a:extLst>
            </p:cNvPr>
            <p:cNvSpPr/>
            <p:nvPr userDrawn="1"/>
          </p:nvSpPr>
          <p:spPr>
            <a:xfrm>
              <a:off x="8982075" y="1724025"/>
              <a:ext cx="3209925" cy="4829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sp>
        <p:nvSpPr>
          <p:cNvPr id="23" name="Rectangle 22">
            <a:extLst>
              <a:ext uri="{FF2B5EF4-FFF2-40B4-BE49-F238E27FC236}">
                <a16:creationId xmlns:a16="http://schemas.microsoft.com/office/drawing/2014/main" id="{9D5FE80C-668A-B092-036B-D680B00E7A9A}"/>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24" name="Picture 23">
            <a:extLst>
              <a:ext uri="{FF2B5EF4-FFF2-40B4-BE49-F238E27FC236}">
                <a16:creationId xmlns:a16="http://schemas.microsoft.com/office/drawing/2014/main" id="{5D3AAE58-F289-F87F-5523-0E5BEB6CAFD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41" name="Text Placeholder 26">
            <a:extLst>
              <a:ext uri="{FF2B5EF4-FFF2-40B4-BE49-F238E27FC236}">
                <a16:creationId xmlns:a16="http://schemas.microsoft.com/office/drawing/2014/main" id="{71D8E7CB-4472-00B5-00BD-0FD0F2466EDE}"/>
              </a:ext>
            </a:extLst>
          </p:cNvPr>
          <p:cNvSpPr>
            <a:spLocks noGrp="1"/>
          </p:cNvSpPr>
          <p:nvPr>
            <p:ph type="body" sz="quarter" idx="23" hasCustomPrompt="1"/>
          </p:nvPr>
        </p:nvSpPr>
        <p:spPr>
          <a:xfrm>
            <a:off x="7043738" y="2109788"/>
            <a:ext cx="1731169" cy="2002631"/>
          </a:xfrm>
        </p:spPr>
        <p:txBody>
          <a:bodyPr anchor="ctr"/>
          <a:lstStyle>
            <a:lvl1pPr marL="0" indent="0" algn="ctr">
              <a:buNone/>
              <a:defRPr sz="1200">
                <a:solidFill>
                  <a:schemeClr val="bg1"/>
                </a:solidFill>
                <a:latin typeface="Georgia" panose="02040502050405020303" pitchFamily="18" charset="0"/>
              </a:defRPr>
            </a:lvl1pPr>
            <a:lvl2pPr marL="342900" indent="0">
              <a:buNone/>
              <a:defRPr sz="1200">
                <a:solidFill>
                  <a:schemeClr val="bg1"/>
                </a:solidFill>
                <a:latin typeface="Grandview" panose="020B0502040204020203" pitchFamily="34" charset="0"/>
              </a:defRPr>
            </a:lvl2pPr>
            <a:lvl3pPr marL="685800" indent="0">
              <a:buNone/>
              <a:defRPr sz="1200">
                <a:solidFill>
                  <a:schemeClr val="bg1"/>
                </a:solidFill>
                <a:latin typeface="Grandview" panose="020B0502040204020203" pitchFamily="34" charset="0"/>
              </a:defRPr>
            </a:lvl3pPr>
            <a:lvl4pPr marL="1028700" indent="0">
              <a:buNone/>
              <a:defRPr sz="1200">
                <a:solidFill>
                  <a:schemeClr val="bg1"/>
                </a:solidFill>
                <a:latin typeface="Grandview" panose="020B0502040204020203" pitchFamily="34" charset="0"/>
              </a:defRPr>
            </a:lvl4pPr>
            <a:lvl5pPr marL="1371600" indent="0">
              <a:buNone/>
              <a:defRPr sz="1200">
                <a:solidFill>
                  <a:schemeClr val="bg1"/>
                </a:solidFill>
                <a:latin typeface="Grandview" panose="020B0502040204020203" pitchFamily="34" charset="0"/>
              </a:defRPr>
            </a:lvl5pPr>
          </a:lstStyle>
          <a:p>
            <a:pPr lvl="0"/>
            <a:r>
              <a:rPr lang="en-US"/>
              <a:t>“Insert quote here Insert </a:t>
            </a:r>
            <a:br>
              <a:rPr lang="en-US"/>
            </a:br>
            <a:r>
              <a:rPr lang="en-US"/>
              <a:t>quote here Insert </a:t>
            </a:r>
            <a:br>
              <a:rPr lang="en-US"/>
            </a:br>
            <a:r>
              <a:rPr lang="en-US"/>
              <a:t>quote here </a:t>
            </a:r>
            <a:br>
              <a:rPr lang="en-US"/>
            </a:br>
            <a:r>
              <a:rPr lang="en-US"/>
              <a:t>Insert quote here.”</a:t>
            </a:r>
          </a:p>
        </p:txBody>
      </p:sp>
      <p:sp>
        <p:nvSpPr>
          <p:cNvPr id="43" name="TextBox 42">
            <a:extLst>
              <a:ext uri="{FF2B5EF4-FFF2-40B4-BE49-F238E27FC236}">
                <a16:creationId xmlns:a16="http://schemas.microsoft.com/office/drawing/2014/main" id="{1A1F849A-5D5E-CA96-6851-22259EFA9A28}"/>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44" name="Straight Connector 43">
            <a:extLst>
              <a:ext uri="{FF2B5EF4-FFF2-40B4-BE49-F238E27FC236}">
                <a16:creationId xmlns:a16="http://schemas.microsoft.com/office/drawing/2014/main" id="{6E536676-8AF6-ADAC-BB98-2F10EC3B3A30}"/>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188D587-4BE6-E078-03A7-FDF6D94923C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2F7AF25-FF4F-EB82-4F62-6A39C9795289}"/>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 Placeholder 32">
            <a:extLst>
              <a:ext uri="{FF2B5EF4-FFF2-40B4-BE49-F238E27FC236}">
                <a16:creationId xmlns:a16="http://schemas.microsoft.com/office/drawing/2014/main" id="{DE33C244-3806-5E8C-996A-A4C2BDB95E28}"/>
              </a:ext>
            </a:extLst>
          </p:cNvPr>
          <p:cNvSpPr>
            <a:spLocks noGrp="1"/>
          </p:cNvSpPr>
          <p:nvPr>
            <p:ph type="body" sz="quarter" idx="1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48" name="Text Placeholder 34">
            <a:extLst>
              <a:ext uri="{FF2B5EF4-FFF2-40B4-BE49-F238E27FC236}">
                <a16:creationId xmlns:a16="http://schemas.microsoft.com/office/drawing/2014/main" id="{EC53B7DE-1459-8C47-8EBA-6E900D1DF650}"/>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49" name="Text Placeholder 38">
            <a:extLst>
              <a:ext uri="{FF2B5EF4-FFF2-40B4-BE49-F238E27FC236}">
                <a16:creationId xmlns:a16="http://schemas.microsoft.com/office/drawing/2014/main" id="{51FCA056-4EB4-6BDB-D3DD-8D29DB31F5E4}"/>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0" name="Content Placeholder 44">
            <a:extLst>
              <a:ext uri="{FF2B5EF4-FFF2-40B4-BE49-F238E27FC236}">
                <a16:creationId xmlns:a16="http://schemas.microsoft.com/office/drawing/2014/main" id="{C7161E2A-9294-499B-AA6B-CD4D8B94B441}"/>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38">
            <a:extLst>
              <a:ext uri="{FF2B5EF4-FFF2-40B4-BE49-F238E27FC236}">
                <a16:creationId xmlns:a16="http://schemas.microsoft.com/office/drawing/2014/main" id="{ADEC4A38-E11A-138C-2E66-21D6DEE1E725}"/>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2" name="Content Placeholder 44">
            <a:extLst>
              <a:ext uri="{FF2B5EF4-FFF2-40B4-BE49-F238E27FC236}">
                <a16:creationId xmlns:a16="http://schemas.microsoft.com/office/drawing/2014/main" id="{03257FF4-7ACD-AD43-2C7E-2188599E5715}"/>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38">
            <a:extLst>
              <a:ext uri="{FF2B5EF4-FFF2-40B4-BE49-F238E27FC236}">
                <a16:creationId xmlns:a16="http://schemas.microsoft.com/office/drawing/2014/main" id="{9258D9C0-E970-0E2B-384D-B7A568D2DD2F}"/>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4" name="Content Placeholder 44">
            <a:extLst>
              <a:ext uri="{FF2B5EF4-FFF2-40B4-BE49-F238E27FC236}">
                <a16:creationId xmlns:a16="http://schemas.microsoft.com/office/drawing/2014/main" id="{CBB4E282-7408-50B2-1418-A94521E0802D}"/>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28">
            <a:extLst>
              <a:ext uri="{FF2B5EF4-FFF2-40B4-BE49-F238E27FC236}">
                <a16:creationId xmlns:a16="http://schemas.microsoft.com/office/drawing/2014/main" id="{C98C806A-8523-5145-185D-104165AEC739}"/>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56" name="Text Placeholder 10">
            <a:extLst>
              <a:ext uri="{FF2B5EF4-FFF2-40B4-BE49-F238E27FC236}">
                <a16:creationId xmlns:a16="http://schemas.microsoft.com/office/drawing/2014/main" id="{C2816A5C-166A-2E15-F6A7-44D5FCC91A9F}"/>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290443784"/>
      </p:ext>
    </p:extLst>
  </p:cSld>
  <p:clrMapOvr>
    <a:overrideClrMapping bg1="lt1" tx1="dk1" bg2="lt2" tx2="dk2" accent1="accent1" accent2="accent2" accent3="accent3" accent4="accent4" accent5="accent5" accent6="accent6" hlink="hlink" folHlink="folHlink"/>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image1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01E4567-D544-AB7F-1FCC-BDDCAA8DADE0}"/>
              </a:ext>
            </a:extLst>
          </p:cNvPr>
          <p:cNvGrpSpPr/>
          <p:nvPr userDrawn="1"/>
        </p:nvGrpSpPr>
        <p:grpSpPr>
          <a:xfrm>
            <a:off x="676275" y="1081087"/>
            <a:ext cx="8467725" cy="4062413"/>
            <a:chOff x="901700" y="1441450"/>
            <a:chExt cx="11290300" cy="5416550"/>
          </a:xfrm>
        </p:grpSpPr>
        <p:sp>
          <p:nvSpPr>
            <p:cNvPr id="4" name="Rectangle 3">
              <a:extLst>
                <a:ext uri="{FF2B5EF4-FFF2-40B4-BE49-F238E27FC236}">
                  <a16:creationId xmlns:a16="http://schemas.microsoft.com/office/drawing/2014/main" id="{2261501A-E923-B76F-0BA4-63AA37ADAF20}"/>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452B1813-458A-1D8D-4420-C58A59A7591A}"/>
                </a:ext>
              </a:extLst>
            </p:cNvPr>
            <p:cNvSpPr/>
            <p:nvPr userDrawn="1"/>
          </p:nvSpPr>
          <p:spPr>
            <a:xfrm>
              <a:off x="8982075" y="1724025"/>
              <a:ext cx="3209925" cy="4829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sp>
        <p:nvSpPr>
          <p:cNvPr id="24" name="Picture Placeholder 5">
            <a:extLst>
              <a:ext uri="{FF2B5EF4-FFF2-40B4-BE49-F238E27FC236}">
                <a16:creationId xmlns:a16="http://schemas.microsoft.com/office/drawing/2014/main" id="{31CF6F54-7086-ADB6-B037-4BD90D4140C7}"/>
              </a:ext>
            </a:extLst>
          </p:cNvPr>
          <p:cNvSpPr>
            <a:spLocks noGrp="1"/>
          </p:cNvSpPr>
          <p:nvPr>
            <p:ph type="pic" sz="quarter" idx="12"/>
          </p:nvPr>
        </p:nvSpPr>
        <p:spPr>
          <a:xfrm>
            <a:off x="6736557" y="1293019"/>
            <a:ext cx="2403872" cy="2526506"/>
          </a:xfrm>
          <a:solidFill>
            <a:schemeClr val="tx1"/>
          </a:solidFill>
        </p:spPr>
        <p:txBody>
          <a:bodyPr anchor="ctr"/>
          <a:lstStyle>
            <a:lvl1pPr marL="0" indent="0" algn="ctr">
              <a:buNone/>
              <a:defRPr>
                <a:solidFill>
                  <a:schemeClr val="bg1"/>
                </a:solidFill>
              </a:defRPr>
            </a:lvl1pPr>
          </a:lstStyle>
          <a:p>
            <a:endParaRPr lang="en-US"/>
          </a:p>
        </p:txBody>
      </p:sp>
      <p:sp>
        <p:nvSpPr>
          <p:cNvPr id="26" name="Rectangle 25">
            <a:extLst>
              <a:ext uri="{FF2B5EF4-FFF2-40B4-BE49-F238E27FC236}">
                <a16:creationId xmlns:a16="http://schemas.microsoft.com/office/drawing/2014/main" id="{D2D6AC70-39A4-4522-6A58-EA066452F922}"/>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28" name="Picture 27">
            <a:extLst>
              <a:ext uri="{FF2B5EF4-FFF2-40B4-BE49-F238E27FC236}">
                <a16:creationId xmlns:a16="http://schemas.microsoft.com/office/drawing/2014/main" id="{F337C02A-2783-B9BD-7A12-78B24F7BE2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43" name="Text Placeholder 25">
            <a:extLst>
              <a:ext uri="{FF2B5EF4-FFF2-40B4-BE49-F238E27FC236}">
                <a16:creationId xmlns:a16="http://schemas.microsoft.com/office/drawing/2014/main" id="{D72F9B26-A584-F625-5B24-6E71EB86B774}"/>
              </a:ext>
            </a:extLst>
          </p:cNvPr>
          <p:cNvSpPr>
            <a:spLocks noGrp="1"/>
          </p:cNvSpPr>
          <p:nvPr>
            <p:ph type="body" sz="quarter" idx="23" hasCustomPrompt="1"/>
          </p:nvPr>
        </p:nvSpPr>
        <p:spPr>
          <a:xfrm>
            <a:off x="6922294" y="3880247"/>
            <a:ext cx="2034779" cy="815578"/>
          </a:xfrm>
        </p:spPr>
        <p:txBody>
          <a:bodyPr/>
          <a:lstStyle>
            <a:lvl1pPr marL="0" indent="0">
              <a:buNone/>
              <a:defRPr sz="900" b="1">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a:t>Click to add text</a:t>
            </a:r>
          </a:p>
        </p:txBody>
      </p:sp>
      <p:sp>
        <p:nvSpPr>
          <p:cNvPr id="44" name="TextBox 43">
            <a:extLst>
              <a:ext uri="{FF2B5EF4-FFF2-40B4-BE49-F238E27FC236}">
                <a16:creationId xmlns:a16="http://schemas.microsoft.com/office/drawing/2014/main" id="{4C0B213B-6447-322E-287F-6158B86FA4B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48" name="Straight Connector 47">
            <a:extLst>
              <a:ext uri="{FF2B5EF4-FFF2-40B4-BE49-F238E27FC236}">
                <a16:creationId xmlns:a16="http://schemas.microsoft.com/office/drawing/2014/main" id="{35E8A7A2-85DD-0867-560A-16D6C8F3566D}"/>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A589FE5-7308-14FB-8BA8-67CAE12FF50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3C30521-9A70-25DB-4173-E50E93654247}"/>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 Placeholder 32">
            <a:extLst>
              <a:ext uri="{FF2B5EF4-FFF2-40B4-BE49-F238E27FC236}">
                <a16:creationId xmlns:a16="http://schemas.microsoft.com/office/drawing/2014/main" id="{1088379C-DA88-0262-07B9-0E49AF6ECA45}"/>
              </a:ext>
            </a:extLst>
          </p:cNvPr>
          <p:cNvSpPr>
            <a:spLocks noGrp="1"/>
          </p:cNvSpPr>
          <p:nvPr>
            <p:ph type="body" sz="quarter" idx="2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52" name="Text Placeholder 34">
            <a:extLst>
              <a:ext uri="{FF2B5EF4-FFF2-40B4-BE49-F238E27FC236}">
                <a16:creationId xmlns:a16="http://schemas.microsoft.com/office/drawing/2014/main" id="{75039060-A65D-254A-5424-0B9599995E1B}"/>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53" name="Text Placeholder 38">
            <a:extLst>
              <a:ext uri="{FF2B5EF4-FFF2-40B4-BE49-F238E27FC236}">
                <a16:creationId xmlns:a16="http://schemas.microsoft.com/office/drawing/2014/main" id="{E347842E-8DD9-B38C-1AC9-7EF156121B7C}"/>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4" name="Content Placeholder 44">
            <a:extLst>
              <a:ext uri="{FF2B5EF4-FFF2-40B4-BE49-F238E27FC236}">
                <a16:creationId xmlns:a16="http://schemas.microsoft.com/office/drawing/2014/main" id="{50765046-CE24-9EF3-2884-CDD0632C0D12}"/>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38">
            <a:extLst>
              <a:ext uri="{FF2B5EF4-FFF2-40B4-BE49-F238E27FC236}">
                <a16:creationId xmlns:a16="http://schemas.microsoft.com/office/drawing/2014/main" id="{AD832700-FDE3-F026-F053-FCBA48C8D483}"/>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6" name="Content Placeholder 44">
            <a:extLst>
              <a:ext uri="{FF2B5EF4-FFF2-40B4-BE49-F238E27FC236}">
                <a16:creationId xmlns:a16="http://schemas.microsoft.com/office/drawing/2014/main" id="{CBCFB7D6-F7DE-A159-6636-C9EBF79232AA}"/>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38">
            <a:extLst>
              <a:ext uri="{FF2B5EF4-FFF2-40B4-BE49-F238E27FC236}">
                <a16:creationId xmlns:a16="http://schemas.microsoft.com/office/drawing/2014/main" id="{1D764C3B-CB41-8560-BAA7-61B46B890AAC}"/>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8" name="Content Placeholder 44">
            <a:extLst>
              <a:ext uri="{FF2B5EF4-FFF2-40B4-BE49-F238E27FC236}">
                <a16:creationId xmlns:a16="http://schemas.microsoft.com/office/drawing/2014/main" id="{999C48E6-DBB0-7BC6-47AF-40CDD336D356}"/>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28">
            <a:extLst>
              <a:ext uri="{FF2B5EF4-FFF2-40B4-BE49-F238E27FC236}">
                <a16:creationId xmlns:a16="http://schemas.microsoft.com/office/drawing/2014/main" id="{07FD31C5-E7BF-F06D-80D3-026AB9FC94AF}"/>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60" name="Text Placeholder 10">
            <a:extLst>
              <a:ext uri="{FF2B5EF4-FFF2-40B4-BE49-F238E27FC236}">
                <a16:creationId xmlns:a16="http://schemas.microsoft.com/office/drawing/2014/main" id="{43857EDF-4D89-CF42-D866-F95D973986A7}"/>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3681030866"/>
      </p:ext>
    </p:extLst>
  </p:cSld>
  <p:clrMapOvr>
    <a:overrideClrMapping bg1="lt1" tx1="dk1" bg2="lt2" tx2="dk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_sidebar1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1DA13BC-60C2-46F1-4BC1-35B8638021EE}"/>
              </a:ext>
            </a:extLst>
          </p:cNvPr>
          <p:cNvGrpSpPr/>
          <p:nvPr userDrawn="1"/>
        </p:nvGrpSpPr>
        <p:grpSpPr>
          <a:xfrm>
            <a:off x="676275" y="1081087"/>
            <a:ext cx="8467725" cy="4062413"/>
            <a:chOff x="901700" y="1441450"/>
            <a:chExt cx="11290300" cy="5416550"/>
          </a:xfrm>
        </p:grpSpPr>
        <p:sp>
          <p:nvSpPr>
            <p:cNvPr id="4" name="Rectangle 3">
              <a:extLst>
                <a:ext uri="{FF2B5EF4-FFF2-40B4-BE49-F238E27FC236}">
                  <a16:creationId xmlns:a16="http://schemas.microsoft.com/office/drawing/2014/main" id="{939D44C4-27E5-C564-DEE7-35D9E69A0D91}"/>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5" name="Rectangle 4">
              <a:extLst>
                <a:ext uri="{FF2B5EF4-FFF2-40B4-BE49-F238E27FC236}">
                  <a16:creationId xmlns:a16="http://schemas.microsoft.com/office/drawing/2014/main" id="{7D1BBCE2-8412-58DB-2A4E-6ECFCAA59595}"/>
                </a:ext>
              </a:extLst>
            </p:cNvPr>
            <p:cNvSpPr/>
            <p:nvPr userDrawn="1"/>
          </p:nvSpPr>
          <p:spPr>
            <a:xfrm>
              <a:off x="8982075" y="1724025"/>
              <a:ext cx="3209925" cy="4829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sp>
        <p:nvSpPr>
          <p:cNvPr id="23" name="Rectangle 22">
            <a:extLst>
              <a:ext uri="{FF2B5EF4-FFF2-40B4-BE49-F238E27FC236}">
                <a16:creationId xmlns:a16="http://schemas.microsoft.com/office/drawing/2014/main" id="{336299A4-E072-7B2F-13F7-FA74A964549E}"/>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27" name="Picture 26">
            <a:extLst>
              <a:ext uri="{FF2B5EF4-FFF2-40B4-BE49-F238E27FC236}">
                <a16:creationId xmlns:a16="http://schemas.microsoft.com/office/drawing/2014/main" id="{66EA8041-3FD3-7AAA-8BA8-4000B6D4D9B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42" name="Text Placeholder 113">
            <a:extLst>
              <a:ext uri="{FF2B5EF4-FFF2-40B4-BE49-F238E27FC236}">
                <a16:creationId xmlns:a16="http://schemas.microsoft.com/office/drawing/2014/main" id="{1FE4B2C1-76B8-5D83-36D7-9F85FB6A6762}"/>
              </a:ext>
            </a:extLst>
          </p:cNvPr>
          <p:cNvSpPr>
            <a:spLocks noGrp="1"/>
          </p:cNvSpPr>
          <p:nvPr>
            <p:ph type="body" sz="quarter" idx="27"/>
          </p:nvPr>
        </p:nvSpPr>
        <p:spPr>
          <a:xfrm>
            <a:off x="6952060" y="1930943"/>
            <a:ext cx="1924050" cy="2362702"/>
          </a:xfrm>
        </p:spPr>
        <p:txBody>
          <a:bodyPr/>
          <a:lstStyle>
            <a:lvl1pPr>
              <a:defRPr sz="825">
                <a:solidFill>
                  <a:schemeClr val="bg1"/>
                </a:solidFill>
                <a:latin typeface="Georgia" panose="02040502050405020303" pitchFamily="18" charset="0"/>
              </a:defRPr>
            </a:lvl1pPr>
            <a:lvl2pPr marL="377190">
              <a:defRPr sz="825">
                <a:solidFill>
                  <a:schemeClr val="bg1"/>
                </a:solidFill>
                <a:latin typeface="Georgia" panose="02040502050405020303" pitchFamily="18" charset="0"/>
              </a:defRPr>
            </a:lvl2pPr>
            <a:lvl3pPr marL="582930">
              <a:defRPr sz="825">
                <a:solidFill>
                  <a:schemeClr val="bg1"/>
                </a:solidFill>
                <a:latin typeface="Georgia" panose="02040502050405020303" pitchFamily="18" charset="0"/>
              </a:defRPr>
            </a:lvl3pPr>
            <a:lvl4pPr marL="822960">
              <a:defRPr sz="825">
                <a:solidFill>
                  <a:schemeClr val="bg1"/>
                </a:solidFill>
                <a:latin typeface="Georgia" panose="02040502050405020303" pitchFamily="18" charset="0"/>
              </a:defRPr>
            </a:lvl4pPr>
            <a:lvl5pPr marL="1028700">
              <a:defRPr sz="825">
                <a:solidFill>
                  <a:schemeClr val="bg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101">
            <a:extLst>
              <a:ext uri="{FF2B5EF4-FFF2-40B4-BE49-F238E27FC236}">
                <a16:creationId xmlns:a16="http://schemas.microsoft.com/office/drawing/2014/main" id="{4927862A-20F5-9A24-34E3-FEF40CDCD32E}"/>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44" name="TextBox 43">
            <a:extLst>
              <a:ext uri="{FF2B5EF4-FFF2-40B4-BE49-F238E27FC236}">
                <a16:creationId xmlns:a16="http://schemas.microsoft.com/office/drawing/2014/main" id="{EA0B4D4D-897F-C18E-18E9-DE458FD395BC}"/>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48" name="Straight Connector 47">
            <a:extLst>
              <a:ext uri="{FF2B5EF4-FFF2-40B4-BE49-F238E27FC236}">
                <a16:creationId xmlns:a16="http://schemas.microsoft.com/office/drawing/2014/main" id="{58D8DAFD-7760-1FB5-F2E9-0FBA9191AD3A}"/>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765633E-772E-4FFB-1B10-751632578E22}"/>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A7FE0DD-A273-76B9-2465-22D76DCBAF57}"/>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 Placeholder 32">
            <a:extLst>
              <a:ext uri="{FF2B5EF4-FFF2-40B4-BE49-F238E27FC236}">
                <a16:creationId xmlns:a16="http://schemas.microsoft.com/office/drawing/2014/main" id="{F0CF1084-0D1C-C03B-C10F-99FC7ABA1219}"/>
              </a:ext>
            </a:extLst>
          </p:cNvPr>
          <p:cNvSpPr>
            <a:spLocks noGrp="1"/>
          </p:cNvSpPr>
          <p:nvPr>
            <p:ph type="body" sz="quarter" idx="1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52" name="Text Placeholder 34">
            <a:extLst>
              <a:ext uri="{FF2B5EF4-FFF2-40B4-BE49-F238E27FC236}">
                <a16:creationId xmlns:a16="http://schemas.microsoft.com/office/drawing/2014/main" id="{4E065A65-41C1-EDF3-3990-485540F461B9}"/>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53" name="Text Placeholder 38">
            <a:extLst>
              <a:ext uri="{FF2B5EF4-FFF2-40B4-BE49-F238E27FC236}">
                <a16:creationId xmlns:a16="http://schemas.microsoft.com/office/drawing/2014/main" id="{901093C3-AFF0-ED05-01AE-CA6F6AE5B295}"/>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4" name="Content Placeholder 44">
            <a:extLst>
              <a:ext uri="{FF2B5EF4-FFF2-40B4-BE49-F238E27FC236}">
                <a16:creationId xmlns:a16="http://schemas.microsoft.com/office/drawing/2014/main" id="{475762B8-A285-9270-609A-A97FCCFA0A8E}"/>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Text Placeholder 38">
            <a:extLst>
              <a:ext uri="{FF2B5EF4-FFF2-40B4-BE49-F238E27FC236}">
                <a16:creationId xmlns:a16="http://schemas.microsoft.com/office/drawing/2014/main" id="{A1269125-EC6B-72E3-4DC7-411BFAE68AB6}"/>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6" name="Content Placeholder 44">
            <a:extLst>
              <a:ext uri="{FF2B5EF4-FFF2-40B4-BE49-F238E27FC236}">
                <a16:creationId xmlns:a16="http://schemas.microsoft.com/office/drawing/2014/main" id="{9FA13714-0EB6-8D20-3AFC-DC06BCFB5C97}"/>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38">
            <a:extLst>
              <a:ext uri="{FF2B5EF4-FFF2-40B4-BE49-F238E27FC236}">
                <a16:creationId xmlns:a16="http://schemas.microsoft.com/office/drawing/2014/main" id="{E19D62DE-4B0D-4D11-214D-9A00A2FD8EAC}"/>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8" name="Content Placeholder 44">
            <a:extLst>
              <a:ext uri="{FF2B5EF4-FFF2-40B4-BE49-F238E27FC236}">
                <a16:creationId xmlns:a16="http://schemas.microsoft.com/office/drawing/2014/main" id="{88D78964-7D45-5F25-D57C-42A33C556E89}"/>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28">
            <a:extLst>
              <a:ext uri="{FF2B5EF4-FFF2-40B4-BE49-F238E27FC236}">
                <a16:creationId xmlns:a16="http://schemas.microsoft.com/office/drawing/2014/main" id="{BA026548-D761-9EBC-6076-31ABAD4EC7F2}"/>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60" name="Text Placeholder 10">
            <a:extLst>
              <a:ext uri="{FF2B5EF4-FFF2-40B4-BE49-F238E27FC236}">
                <a16:creationId xmlns:a16="http://schemas.microsoft.com/office/drawing/2014/main" id="{C8424775-0C0B-C4C7-659B-92FF308A0677}"/>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1842517374"/>
      </p:ext>
    </p:extLst>
  </p:cSld>
  <p:clrMapOvr>
    <a:overrideClrMapping bg1="lt1" tx1="dk1" bg2="lt2" tx2="dk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6_phone_niq">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05B6614-96B6-E8BC-6082-CBB9154A47F2}"/>
              </a:ext>
            </a:extLst>
          </p:cNvPr>
          <p:cNvGrpSpPr/>
          <p:nvPr userDrawn="1"/>
        </p:nvGrpSpPr>
        <p:grpSpPr>
          <a:xfrm>
            <a:off x="676275" y="1081087"/>
            <a:ext cx="8467725" cy="4062413"/>
            <a:chOff x="901700" y="1441450"/>
            <a:chExt cx="11290300" cy="5416550"/>
          </a:xfrm>
        </p:grpSpPr>
        <p:sp>
          <p:nvSpPr>
            <p:cNvPr id="5" name="Rectangle 4">
              <a:extLst>
                <a:ext uri="{FF2B5EF4-FFF2-40B4-BE49-F238E27FC236}">
                  <a16:creationId xmlns:a16="http://schemas.microsoft.com/office/drawing/2014/main" id="{3FB8617C-5BE5-6028-F1EB-68B414044FB3}"/>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6" name="Rectangle 5">
              <a:extLst>
                <a:ext uri="{FF2B5EF4-FFF2-40B4-BE49-F238E27FC236}">
                  <a16:creationId xmlns:a16="http://schemas.microsoft.com/office/drawing/2014/main" id="{AE6F1332-BB80-C1C6-F9F6-145ED8F7B9E2}"/>
                </a:ext>
              </a:extLst>
            </p:cNvPr>
            <p:cNvSpPr/>
            <p:nvPr userDrawn="1"/>
          </p:nvSpPr>
          <p:spPr>
            <a:xfrm>
              <a:off x="8982075" y="1724025"/>
              <a:ext cx="3209925" cy="4829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grpSp>
      <p:pic>
        <p:nvPicPr>
          <p:cNvPr id="26" name="Shape">
            <a:extLst>
              <a:ext uri="{FF2B5EF4-FFF2-40B4-BE49-F238E27FC236}">
                <a16:creationId xmlns:a16="http://schemas.microsoft.com/office/drawing/2014/main" id="{CF426A61-7E05-00E0-10C6-7B17E1EBAE92}"/>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6767517" y="1962259"/>
            <a:ext cx="2322000" cy="2952641"/>
          </a:xfrm>
          <a:prstGeom prst="rect">
            <a:avLst/>
          </a:prstGeom>
        </p:spPr>
      </p:pic>
      <p:sp>
        <p:nvSpPr>
          <p:cNvPr id="27" name="Picture Placeholder 8">
            <a:extLst>
              <a:ext uri="{FF2B5EF4-FFF2-40B4-BE49-F238E27FC236}">
                <a16:creationId xmlns:a16="http://schemas.microsoft.com/office/drawing/2014/main" id="{651C73FE-E98B-EFBE-5EC1-BCA29DBCC03D}"/>
              </a:ext>
            </a:extLst>
          </p:cNvPr>
          <p:cNvSpPr>
            <a:spLocks noGrp="1"/>
          </p:cNvSpPr>
          <p:nvPr>
            <p:ph type="pic" sz="quarter" idx="12" hasCustomPrompt="1"/>
          </p:nvPr>
        </p:nvSpPr>
        <p:spPr>
          <a:xfrm>
            <a:off x="7128272" y="2015728"/>
            <a:ext cx="1609725" cy="2899172"/>
          </a:xfrm>
          <a:prstGeom prst="round2SameRect">
            <a:avLst>
              <a:gd name="adj1" fmla="val 12762"/>
              <a:gd name="adj2" fmla="val 0"/>
            </a:avLst>
          </a:prstGeom>
          <a:solidFill>
            <a:schemeClr val="tx1"/>
          </a:solidFill>
        </p:spPr>
        <p:txBody>
          <a:bodyPr anchor="ctr"/>
          <a:lstStyle>
            <a:lvl1pPr marL="0" indent="0" algn="ctr">
              <a:buNone/>
              <a:defRPr>
                <a:solidFill>
                  <a:schemeClr val="bg1"/>
                </a:solidFill>
              </a:defRPr>
            </a:lvl1pPr>
          </a:lstStyle>
          <a:p>
            <a:r>
              <a:rPr lang="en-US"/>
              <a:t> Click picture icon to add photo</a:t>
            </a:r>
          </a:p>
        </p:txBody>
      </p:sp>
      <p:sp>
        <p:nvSpPr>
          <p:cNvPr id="29" name="Rectangle 28">
            <a:extLst>
              <a:ext uri="{FF2B5EF4-FFF2-40B4-BE49-F238E27FC236}">
                <a16:creationId xmlns:a16="http://schemas.microsoft.com/office/drawing/2014/main" id="{4534E30F-D653-4E12-F2F5-43DE3C255FFC}"/>
              </a:ext>
            </a:extLst>
          </p:cNvPr>
          <p:cNvSpPr/>
          <p:nvPr userDrawn="1"/>
        </p:nvSpPr>
        <p:spPr>
          <a:xfrm>
            <a:off x="676275" y="1"/>
            <a:ext cx="3895725" cy="10215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31" name="Picture 30">
            <a:extLst>
              <a:ext uri="{FF2B5EF4-FFF2-40B4-BE49-F238E27FC236}">
                <a16:creationId xmlns:a16="http://schemas.microsoft.com/office/drawing/2014/main" id="{AC128741-15E9-1307-2992-B039AB774EC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sp>
        <p:nvSpPr>
          <p:cNvPr id="45" name="Text Placeholder 26">
            <a:extLst>
              <a:ext uri="{FF2B5EF4-FFF2-40B4-BE49-F238E27FC236}">
                <a16:creationId xmlns:a16="http://schemas.microsoft.com/office/drawing/2014/main" id="{4E7C9BB4-DF6F-C78D-27D1-DC372D191A34}"/>
              </a:ext>
            </a:extLst>
          </p:cNvPr>
          <p:cNvSpPr>
            <a:spLocks noGrp="1"/>
          </p:cNvSpPr>
          <p:nvPr>
            <p:ph type="body" sz="quarter" idx="23" hasCustomPrompt="1"/>
          </p:nvPr>
        </p:nvSpPr>
        <p:spPr>
          <a:xfrm>
            <a:off x="6922294" y="1441848"/>
            <a:ext cx="2034779" cy="458390"/>
          </a:xfrm>
        </p:spPr>
        <p:txBody>
          <a:bodyPr/>
          <a:lstStyle>
            <a:lvl1pPr marL="0" indent="0">
              <a:buNone/>
              <a:defRPr sz="900" b="1">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a:t>Click to add text</a:t>
            </a:r>
          </a:p>
        </p:txBody>
      </p:sp>
      <p:sp>
        <p:nvSpPr>
          <p:cNvPr id="46" name="TextBox 45">
            <a:extLst>
              <a:ext uri="{FF2B5EF4-FFF2-40B4-BE49-F238E27FC236}">
                <a16:creationId xmlns:a16="http://schemas.microsoft.com/office/drawing/2014/main" id="{1D5DF22C-FD31-F2B1-5B0B-A47F750DD16C}"/>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cxnSp>
        <p:nvCxnSpPr>
          <p:cNvPr id="50" name="Straight Connector 49">
            <a:extLst>
              <a:ext uri="{FF2B5EF4-FFF2-40B4-BE49-F238E27FC236}">
                <a16:creationId xmlns:a16="http://schemas.microsoft.com/office/drawing/2014/main" id="{233FB0C6-5E35-754C-7D6D-8452EA5FA3B0}"/>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AAEC6A-C689-1FC8-8439-3D1E85E4E9F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6B23104-3938-EFC0-E540-5FE44A4A7C15}"/>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 Placeholder 32">
            <a:extLst>
              <a:ext uri="{FF2B5EF4-FFF2-40B4-BE49-F238E27FC236}">
                <a16:creationId xmlns:a16="http://schemas.microsoft.com/office/drawing/2014/main" id="{68A8570B-6E18-6213-9994-4527E01BB733}"/>
              </a:ext>
            </a:extLst>
          </p:cNvPr>
          <p:cNvSpPr>
            <a:spLocks noGrp="1"/>
          </p:cNvSpPr>
          <p:nvPr>
            <p:ph type="body" sz="quarter" idx="24" hasCustomPrompt="1"/>
          </p:nvPr>
        </p:nvSpPr>
        <p:spPr>
          <a:xfrm>
            <a:off x="1078706" y="1504950"/>
            <a:ext cx="5143500" cy="319537"/>
          </a:xfrm>
        </p:spPr>
        <p:txBody>
          <a:bodyPr/>
          <a:lstStyle>
            <a:lvl1pPr marL="0" indent="0">
              <a:lnSpc>
                <a:spcPct val="100000"/>
              </a:lnSpc>
              <a:spcBef>
                <a:spcPts val="0"/>
              </a:spcBef>
              <a:spcAft>
                <a:spcPts val="450"/>
              </a:spcAft>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54" name="Text Placeholder 34">
            <a:extLst>
              <a:ext uri="{FF2B5EF4-FFF2-40B4-BE49-F238E27FC236}">
                <a16:creationId xmlns:a16="http://schemas.microsoft.com/office/drawing/2014/main" id="{C095CF5F-4BF8-4600-2977-86CCFA5A8DE7}"/>
              </a:ext>
            </a:extLst>
          </p:cNvPr>
          <p:cNvSpPr>
            <a:spLocks noGrp="1"/>
          </p:cNvSpPr>
          <p:nvPr>
            <p:ph type="body" sz="quarter" idx="15" hasCustomPrompt="1"/>
          </p:nvPr>
        </p:nvSpPr>
        <p:spPr>
          <a:xfrm>
            <a:off x="1078706" y="1824038"/>
            <a:ext cx="5143500" cy="469106"/>
          </a:xfrm>
        </p:spPr>
        <p:txBody>
          <a:bodyPr/>
          <a:lstStyle>
            <a:lvl1pPr marL="0" indent="0">
              <a:lnSpc>
                <a:spcPct val="100000"/>
              </a:lnSpc>
              <a:spcBef>
                <a:spcPts val="0"/>
              </a:spcBef>
              <a:spcAft>
                <a:spcPts val="450"/>
              </a:spcAft>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55" name="Text Placeholder 38">
            <a:extLst>
              <a:ext uri="{FF2B5EF4-FFF2-40B4-BE49-F238E27FC236}">
                <a16:creationId xmlns:a16="http://schemas.microsoft.com/office/drawing/2014/main" id="{59CA3BC3-0EAF-CFB7-84C9-976D34D9CEF5}"/>
              </a:ext>
            </a:extLst>
          </p:cNvPr>
          <p:cNvSpPr>
            <a:spLocks noGrp="1"/>
          </p:cNvSpPr>
          <p:nvPr>
            <p:ph type="body" sz="quarter" idx="16" hasCustomPrompt="1"/>
          </p:nvPr>
        </p:nvSpPr>
        <p:spPr>
          <a:xfrm>
            <a:off x="1067991"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6" name="Content Placeholder 44">
            <a:extLst>
              <a:ext uri="{FF2B5EF4-FFF2-40B4-BE49-F238E27FC236}">
                <a16:creationId xmlns:a16="http://schemas.microsoft.com/office/drawing/2014/main" id="{E290961D-692E-3094-A611-BCE68EA123C2}"/>
              </a:ext>
            </a:extLst>
          </p:cNvPr>
          <p:cNvSpPr>
            <a:spLocks noGrp="1"/>
          </p:cNvSpPr>
          <p:nvPr>
            <p:ph sz="quarter" idx="18"/>
          </p:nvPr>
        </p:nvSpPr>
        <p:spPr>
          <a:xfrm>
            <a:off x="1067991"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38">
            <a:extLst>
              <a:ext uri="{FF2B5EF4-FFF2-40B4-BE49-F238E27FC236}">
                <a16:creationId xmlns:a16="http://schemas.microsoft.com/office/drawing/2014/main" id="{BAD17D9A-33D1-E809-E566-77D22EA52A32}"/>
              </a:ext>
            </a:extLst>
          </p:cNvPr>
          <p:cNvSpPr>
            <a:spLocks noGrp="1"/>
          </p:cNvSpPr>
          <p:nvPr>
            <p:ph type="body" sz="quarter" idx="19" hasCustomPrompt="1"/>
          </p:nvPr>
        </p:nvSpPr>
        <p:spPr>
          <a:xfrm>
            <a:off x="2832497"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8" name="Content Placeholder 44">
            <a:extLst>
              <a:ext uri="{FF2B5EF4-FFF2-40B4-BE49-F238E27FC236}">
                <a16:creationId xmlns:a16="http://schemas.microsoft.com/office/drawing/2014/main" id="{3EE5A755-F813-B4CB-7F2C-308DE83B2396}"/>
              </a:ext>
            </a:extLst>
          </p:cNvPr>
          <p:cNvSpPr>
            <a:spLocks noGrp="1"/>
          </p:cNvSpPr>
          <p:nvPr>
            <p:ph sz="quarter" idx="20"/>
          </p:nvPr>
        </p:nvSpPr>
        <p:spPr>
          <a:xfrm>
            <a:off x="2832497"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38">
            <a:extLst>
              <a:ext uri="{FF2B5EF4-FFF2-40B4-BE49-F238E27FC236}">
                <a16:creationId xmlns:a16="http://schemas.microsoft.com/office/drawing/2014/main" id="{437FA255-3E23-21B0-F7F7-79AAAED0649E}"/>
              </a:ext>
            </a:extLst>
          </p:cNvPr>
          <p:cNvSpPr>
            <a:spLocks noGrp="1"/>
          </p:cNvSpPr>
          <p:nvPr>
            <p:ph type="body" sz="quarter" idx="21" hasCustomPrompt="1"/>
          </p:nvPr>
        </p:nvSpPr>
        <p:spPr>
          <a:xfrm>
            <a:off x="4572000" y="2571750"/>
            <a:ext cx="1646634" cy="321469"/>
          </a:xfrm>
        </p:spPr>
        <p:txBody>
          <a:bodyPr anchor="b"/>
          <a:lstStyle>
            <a:lvl1pPr marL="0" indent="0">
              <a:lnSpc>
                <a:spcPct val="100000"/>
              </a:lnSpc>
              <a:spcBef>
                <a:spcPts val="0"/>
              </a:spcBef>
              <a:spcAft>
                <a:spcPts val="450"/>
              </a:spcAft>
              <a:buNone/>
              <a:defRPr sz="1200"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60" name="Content Placeholder 44">
            <a:extLst>
              <a:ext uri="{FF2B5EF4-FFF2-40B4-BE49-F238E27FC236}">
                <a16:creationId xmlns:a16="http://schemas.microsoft.com/office/drawing/2014/main" id="{6CBEDE62-53FD-62C7-4D80-A494114779DC}"/>
              </a:ext>
            </a:extLst>
          </p:cNvPr>
          <p:cNvSpPr>
            <a:spLocks noGrp="1"/>
          </p:cNvSpPr>
          <p:nvPr>
            <p:ph sz="quarter" idx="22"/>
          </p:nvPr>
        </p:nvSpPr>
        <p:spPr>
          <a:xfrm>
            <a:off x="4572000" y="3012282"/>
            <a:ext cx="1646634" cy="1194197"/>
          </a:xfrm>
        </p:spPr>
        <p:txBody>
          <a:bodyPr/>
          <a:lstStyle>
            <a:lvl1pPr>
              <a:lnSpc>
                <a:spcPct val="100000"/>
              </a:lnSpc>
              <a:spcAft>
                <a:spcPts val="450"/>
              </a:spcAft>
              <a:defRPr sz="750">
                <a:latin typeface="Georgia" panose="02040502050405020303" pitchFamily="18" charset="0"/>
              </a:defRPr>
            </a:lvl1pPr>
            <a:lvl2pPr marL="342900">
              <a:lnSpc>
                <a:spcPct val="100000"/>
              </a:lnSpc>
              <a:spcAft>
                <a:spcPts val="450"/>
              </a:spcAft>
              <a:defRPr sz="750">
                <a:latin typeface="Georgia" panose="02040502050405020303" pitchFamily="18" charset="0"/>
              </a:defRPr>
            </a:lvl2pPr>
            <a:lvl3pPr marL="514350">
              <a:lnSpc>
                <a:spcPct val="100000"/>
              </a:lnSpc>
              <a:spcAft>
                <a:spcPts val="450"/>
              </a:spcAft>
              <a:defRPr sz="750">
                <a:latin typeface="Georgia" panose="02040502050405020303" pitchFamily="18" charset="0"/>
              </a:defRPr>
            </a:lvl3pPr>
            <a:lvl4pPr marL="685800">
              <a:lnSpc>
                <a:spcPct val="100000"/>
              </a:lnSpc>
              <a:spcAft>
                <a:spcPts val="450"/>
              </a:spcAft>
              <a:defRPr sz="750">
                <a:latin typeface="Georgia" panose="02040502050405020303" pitchFamily="18" charset="0"/>
              </a:defRPr>
            </a:lvl4pPr>
            <a:lvl5pPr marL="857250">
              <a:lnSpc>
                <a:spcPct val="100000"/>
              </a:lnSpc>
              <a:spcAft>
                <a:spcPts val="450"/>
              </a:spcAft>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Text Placeholder 28">
            <a:extLst>
              <a:ext uri="{FF2B5EF4-FFF2-40B4-BE49-F238E27FC236}">
                <a16:creationId xmlns:a16="http://schemas.microsoft.com/office/drawing/2014/main" id="{6F2EACD6-C22E-870E-88A7-1F217A0D0F06}"/>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62" name="Text Placeholder 10">
            <a:extLst>
              <a:ext uri="{FF2B5EF4-FFF2-40B4-BE49-F238E27FC236}">
                <a16:creationId xmlns:a16="http://schemas.microsoft.com/office/drawing/2014/main" id="{EDFB20AE-DA67-C63D-509B-4622249C04B8}"/>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2559571454"/>
      </p:ext>
    </p:extLst>
  </p:cSld>
  <p:clrMapOvr>
    <a:overrideClrMapping bg1="lt1" tx1="dk1" bg2="lt2" tx2="dk2" accent1="accent1" accent2="accent2" accent3="accent3" accent4="accent4" accent5="accent5" accent6="accent6" hlink="hlink" folHlink="folHlink"/>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_cover_niq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7" name="Graphic 6">
            <a:extLst>
              <a:ext uri="{FF2B5EF4-FFF2-40B4-BE49-F238E27FC236}">
                <a16:creationId xmlns:a16="http://schemas.microsoft.com/office/drawing/2014/main" id="{C78F5622-45D7-6154-33FC-E6096ABB05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2" y="221456"/>
            <a:ext cx="472345" cy="198882"/>
          </a:xfrm>
          <a:prstGeom prst="rect">
            <a:avLst/>
          </a:prstGeom>
        </p:spPr>
      </p:pic>
      <p:sp>
        <p:nvSpPr>
          <p:cNvPr id="5" name="Text Placeholder 10">
            <a:extLst>
              <a:ext uri="{FF2B5EF4-FFF2-40B4-BE49-F238E27FC236}">
                <a16:creationId xmlns:a16="http://schemas.microsoft.com/office/drawing/2014/main" id="{130557C2-0937-EAB7-AA8E-C50C812C09BF}"/>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6" name="Straight Connector 5">
            <a:extLst>
              <a:ext uri="{FF2B5EF4-FFF2-40B4-BE49-F238E27FC236}">
                <a16:creationId xmlns:a16="http://schemas.microsoft.com/office/drawing/2014/main" id="{F4BE7AF4-188B-B2EC-030F-1911FBD8EA50}"/>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2E66E4-F772-BA3D-C269-8D2FA49E1284}"/>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B211ADF-3AB9-11B9-9299-B3F822D953EE}"/>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82463671-D7AC-9ECF-0147-C606B4FB0403}"/>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1B5FB6CB-CAEC-DC36-8987-14EAE01604F2}"/>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01C02687-501B-33D5-EFF2-EEB5AFDFC42F}"/>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BF21E51A-090C-7B78-E616-38B202BC37CC}"/>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BE1F09E6-8333-D999-A67F-BFA340AB394D}"/>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D61D6DBD-CBBC-ECAE-9AE3-2DBE95FEB173}"/>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BDFC3E4A-50AB-5650-8768-BB2D84E6AE17}"/>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B05FC6FB-A97F-AD05-582D-72E7AC420CDC}"/>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DE615614-FD15-00A2-82D9-F3A9F5272E1D}"/>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293E5C6C-A68C-B0A0-C018-76FCB1856EF2}"/>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8BEB52F2-B8E3-3E05-8434-956F0B29771B}"/>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24CDAD9A-CF04-8B00-E57D-5D455A7DF8CA}"/>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2397519996"/>
      </p:ext>
    </p:extLst>
  </p:cSld>
  <p:clrMapOvr>
    <a:overrideClrMapping bg1="lt1" tx1="dk1" bg2="lt2" tx2="dk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6_cover_niq_light 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6" name="Graphic 5">
            <a:extLst>
              <a:ext uri="{FF2B5EF4-FFF2-40B4-BE49-F238E27FC236}">
                <a16:creationId xmlns:a16="http://schemas.microsoft.com/office/drawing/2014/main" id="{2CD62A69-35B0-2260-EB00-6826DDABE6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1" y="221456"/>
            <a:ext cx="472345" cy="198882"/>
          </a:xfrm>
          <a:prstGeom prst="rect">
            <a:avLst/>
          </a:prstGeom>
        </p:spPr>
      </p:pic>
      <p:sp>
        <p:nvSpPr>
          <p:cNvPr id="5" name="Text Placeholder 10">
            <a:extLst>
              <a:ext uri="{FF2B5EF4-FFF2-40B4-BE49-F238E27FC236}">
                <a16:creationId xmlns:a16="http://schemas.microsoft.com/office/drawing/2014/main" id="{5388CEC3-980E-0B0F-6DEB-C004796A5705}"/>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7" name="Straight Connector 6">
            <a:extLst>
              <a:ext uri="{FF2B5EF4-FFF2-40B4-BE49-F238E27FC236}">
                <a16:creationId xmlns:a16="http://schemas.microsoft.com/office/drawing/2014/main" id="{5B670554-8A7F-C73F-61F5-0FB02B783F36}"/>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9DB53C5-FF8A-34F3-13E8-A835AA7CED7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F9F281C-FC6A-D69F-A53D-DF0A260D2BE6}"/>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8E1FECF5-BE4B-D54D-71D0-ED676ADE83D0}"/>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22C4C6BF-CA87-EDD1-E3F9-BC03CB260E65}"/>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082BF294-25E9-7B09-6AB8-74FF401C12FE}"/>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9917D8D3-A4AF-A878-B244-812EF632B206}"/>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18F154E9-EFC7-0FB9-FE53-08E2F7694FC4}"/>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D80E15FB-2D5D-E5CA-0E66-A77AF721F917}"/>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A582F645-2840-D603-8E7A-AB130DDDD6F3}"/>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7ECAE513-FAE1-BCDB-24D6-442668E3FF08}"/>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AE582650-0D4D-07AA-9524-E17B7F808B3C}"/>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AB4F7345-0481-E176-4DAA-CC97D03DCBF7}"/>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1FB990DD-1D82-ECA6-9A74-31941803D5EF}"/>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D2CA6CB9-B615-B77B-E5FD-32935324917F}"/>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342773244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8" name="Subtitle 2"/>
          <p:cNvSpPr>
            <a:spLocks noGrp="1"/>
          </p:cNvSpPr>
          <p:nvPr>
            <p:ph type="subTitle" idx="1" hasCustomPrompt="1"/>
          </p:nvPr>
        </p:nvSpPr>
        <p:spPr>
          <a:xfrm>
            <a:off x="287930" y="3019822"/>
            <a:ext cx="6919293" cy="498872"/>
          </a:xfrm>
          <a:prstGeom prst="rect">
            <a:avLst/>
          </a:prstGeom>
        </p:spPr>
        <p:txBody>
          <a:bodyPr wrap="square" tIns="0" bIns="0"/>
          <a:lstStyle>
            <a:lvl1pPr marL="0" indent="0" algn="l">
              <a:lnSpc>
                <a:spcPct val="100000"/>
              </a:lnSpc>
              <a:buNone/>
              <a:defRPr sz="2000" cap="none" baseline="0">
                <a:solidFill>
                  <a:srgbClr val="FFFFFF"/>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247428" y="4106104"/>
            <a:ext cx="2891063" cy="523046"/>
          </a:xfrm>
          <a:prstGeom prst="rect">
            <a:avLst/>
          </a:prstGeom>
        </p:spPr>
        <p:txBody>
          <a:bodyPr wrap="square" anchor="b" anchorCtr="0"/>
          <a:lstStyle>
            <a:lvl1pPr marL="0" indent="0" algn="l">
              <a:lnSpc>
                <a:spcPct val="100000"/>
              </a:lnSpc>
              <a:spcBef>
                <a:spcPts val="0"/>
              </a:spcBef>
              <a:buNone/>
              <a:defRPr sz="1200" b="0">
                <a:solidFill>
                  <a:srgbClr val="FFFFFF"/>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itle 1"/>
          <p:cNvSpPr>
            <a:spLocks noGrp="1"/>
          </p:cNvSpPr>
          <p:nvPr>
            <p:ph type="ctrTitle" hasCustomPrompt="1"/>
          </p:nvPr>
        </p:nvSpPr>
        <p:spPr>
          <a:xfrm>
            <a:off x="242829" y="2038351"/>
            <a:ext cx="6919972" cy="982664"/>
          </a:xfrm>
          <a:prstGeom prst="rect">
            <a:avLst/>
          </a:prstGeom>
        </p:spPr>
        <p:txBody>
          <a:bodyPr wrap="square" tIns="0" bIns="0">
            <a:noAutofit/>
          </a:bodyPr>
          <a:lstStyle>
            <a:lvl1pPr algn="l">
              <a:lnSpc>
                <a:spcPct val="90000"/>
              </a:lnSpc>
              <a:tabLst>
                <a:tab pos="507987" algn="l"/>
              </a:tabLst>
              <a:defRPr sz="42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118857079"/>
      </p:ext>
    </p:extLst>
  </p:cSld>
  <p:clrMapOvr>
    <a:masterClrMapping/>
  </p:clrMapOvr>
  <p:hf sldNum="0"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7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7" name="Graphic 6">
            <a:extLst>
              <a:ext uri="{FF2B5EF4-FFF2-40B4-BE49-F238E27FC236}">
                <a16:creationId xmlns:a16="http://schemas.microsoft.com/office/drawing/2014/main" id="{96D1C3AE-8757-4DE8-F0A3-814EAACEE9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1" y="218309"/>
            <a:ext cx="472345" cy="198882"/>
          </a:xfrm>
          <a:prstGeom prst="rect">
            <a:avLst/>
          </a:prstGeom>
        </p:spPr>
      </p:pic>
      <p:sp>
        <p:nvSpPr>
          <p:cNvPr id="5" name="Text Placeholder 10">
            <a:extLst>
              <a:ext uri="{FF2B5EF4-FFF2-40B4-BE49-F238E27FC236}">
                <a16:creationId xmlns:a16="http://schemas.microsoft.com/office/drawing/2014/main" id="{9DA79089-252F-C9BE-2CDB-E823CF01AAB1}"/>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6" name="Straight Connector 5">
            <a:extLst>
              <a:ext uri="{FF2B5EF4-FFF2-40B4-BE49-F238E27FC236}">
                <a16:creationId xmlns:a16="http://schemas.microsoft.com/office/drawing/2014/main" id="{BE11263B-7802-1E3B-8BFA-27D3A0D1154F}"/>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64DCD17-5A31-1689-27BA-329B5BD342AB}"/>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494038B-2AA7-4DCF-F838-0B1FB7C5E133}"/>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CC3833CA-81B3-D904-A55D-352D47BCD6FD}"/>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DAE4BEF5-1CC3-12B7-8460-C8BC3D698A1B}"/>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E96513EB-3B47-D9E6-9E9F-C55960C5518A}"/>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148C05AC-8BF7-2425-9991-DAD0F3E097CC}"/>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2F9972A5-80AB-E8F4-2C1E-7E40E04EBCD4}"/>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A61B968D-06D8-873A-68DB-ACE1A2EF63EC}"/>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29132115-E540-C456-E1DF-92D115A39514}"/>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B9986DC0-FDAF-C5D2-704E-82F6C73F9B92}"/>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918F0D71-3229-ACA4-EE62-282DF1EC8A2D}"/>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99C2BD03-60A6-873F-E2DD-D739FCD7EC42}"/>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DDFC555C-FB29-2BE6-577D-89CC96AF0F25}"/>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A0CA0B97-AAC8-44BA-B477-5AA4C39F6394}"/>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1191904896"/>
      </p:ext>
    </p:extLst>
  </p:cSld>
  <p:clrMapOvr>
    <a:overrideClrMapping bg1="lt1" tx1="dk1" bg2="lt2" tx2="dk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8_cover_niq_deep 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1D1F2A"/>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6" name="Graphic 5">
            <a:extLst>
              <a:ext uri="{FF2B5EF4-FFF2-40B4-BE49-F238E27FC236}">
                <a16:creationId xmlns:a16="http://schemas.microsoft.com/office/drawing/2014/main" id="{0FB3A51C-0D93-0671-86DD-8E07238720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0" y="218309"/>
            <a:ext cx="472345" cy="198882"/>
          </a:xfrm>
          <a:prstGeom prst="rect">
            <a:avLst/>
          </a:prstGeom>
        </p:spPr>
      </p:pic>
      <p:sp>
        <p:nvSpPr>
          <p:cNvPr id="5" name="Text Placeholder 10">
            <a:extLst>
              <a:ext uri="{FF2B5EF4-FFF2-40B4-BE49-F238E27FC236}">
                <a16:creationId xmlns:a16="http://schemas.microsoft.com/office/drawing/2014/main" id="{2D9D26F7-2CB6-C291-7E6F-4CC3E8274D6F}"/>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7" name="Straight Connector 6">
            <a:extLst>
              <a:ext uri="{FF2B5EF4-FFF2-40B4-BE49-F238E27FC236}">
                <a16:creationId xmlns:a16="http://schemas.microsoft.com/office/drawing/2014/main" id="{1845A93B-3C2D-E11A-6DD3-92D72F5CD10A}"/>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BB31A3C-63C2-262B-99FE-A89D8D8B79FD}"/>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7AB9476-0F93-7849-8586-BC9912F7AB78}"/>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B66AFDFA-0AC5-C3C8-6552-566725F42527}"/>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CD59BC35-AFD6-76B9-5ED6-5E16B76EE61D}"/>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BF4626C1-D538-F7E4-D3DE-03BB08B53D3F}"/>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938395FC-36AA-0F10-03F4-5E2480AB6459}"/>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8FDCD7C8-00D2-7DA7-D9D1-20DF23E30B11}"/>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EF452EB0-27B0-C20E-4F16-3B63339800D3}"/>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95266BE3-2E16-C052-31B6-38B6E3F24C20}"/>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9572E93E-522C-9BB2-C2DE-87271F50781B}"/>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C0D0A237-753C-8437-AD5A-BD773A1B5D3B}"/>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1C915C0D-5671-4AD6-1571-9A71825FCACB}"/>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954B374F-695B-C92C-FE99-7B6A3E06B108}"/>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D68FD6B2-566F-212C-B5C8-46804550E971}"/>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3411256213"/>
      </p:ext>
    </p:extLst>
  </p:cSld>
  <p:clrMapOvr>
    <a:overrideClrMapping bg1="lt1" tx1="dk1" bg2="lt2" tx2="dk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9_cover_niq_green">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1E2C1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7" name="Graphic 6">
            <a:extLst>
              <a:ext uri="{FF2B5EF4-FFF2-40B4-BE49-F238E27FC236}">
                <a16:creationId xmlns:a16="http://schemas.microsoft.com/office/drawing/2014/main" id="{84B2CCE9-F6E7-51D1-EA3F-533E3FFFB8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0" y="216375"/>
            <a:ext cx="472345" cy="198882"/>
          </a:xfrm>
          <a:prstGeom prst="rect">
            <a:avLst/>
          </a:prstGeom>
        </p:spPr>
      </p:pic>
      <p:sp>
        <p:nvSpPr>
          <p:cNvPr id="5" name="Text Placeholder 10">
            <a:extLst>
              <a:ext uri="{FF2B5EF4-FFF2-40B4-BE49-F238E27FC236}">
                <a16:creationId xmlns:a16="http://schemas.microsoft.com/office/drawing/2014/main" id="{27422F89-CF27-39C5-6DE5-CC2FD356C482}"/>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6" name="Straight Connector 5">
            <a:extLst>
              <a:ext uri="{FF2B5EF4-FFF2-40B4-BE49-F238E27FC236}">
                <a16:creationId xmlns:a16="http://schemas.microsoft.com/office/drawing/2014/main" id="{D5D324DC-83DF-E6B8-073E-F70AF06661B0}"/>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2535B5B-19B5-0F46-4F5D-9985BBF3CA62}"/>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922B899-AB07-E3AA-0C6A-EDBA2795C58A}"/>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583C919B-FC0D-DBCF-9ABD-00C8B6B2C500}"/>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F5A61827-4CF5-CC41-48BF-CADF08C8036B}"/>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4FDFA74B-5415-8FBE-CFE4-6D042D31480D}"/>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4E57B21C-4EE2-9584-49B6-9992BBEAC097}"/>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D47AF384-76A4-B827-69BB-EB89E6E76ADF}"/>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6DF37C41-6C33-0E73-783A-5AFDE0DC9118}"/>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51D8B56F-2ACB-1F6C-EAC6-2A3745286C77}"/>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7840023C-65D4-BCBA-54D9-60DED89D67B2}"/>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DCD8B1F1-1E7E-CC81-5C80-E621F39BA085}"/>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E8147761-E495-39AE-7B31-701669A424C3}"/>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B7691B2C-E41B-05B6-33F5-16F2B887936A}"/>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4BD1E179-980A-0069-F9E5-05073769830A}"/>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844222709"/>
      </p:ext>
    </p:extLst>
  </p:cSld>
  <p:clrMapOvr>
    <a:overrideClrMapping bg1="lt1" tx1="dk1" bg2="lt2" tx2="dk2" accent1="accent1" accent2="accent2" accent3="accent3" accent4="accent4" accent5="accent5" accent6="accent6" hlink="hlink" folHlink="folHlink"/>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0_cover_niq_magenta">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3C162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6" name="Graphic 5">
            <a:extLst>
              <a:ext uri="{FF2B5EF4-FFF2-40B4-BE49-F238E27FC236}">
                <a16:creationId xmlns:a16="http://schemas.microsoft.com/office/drawing/2014/main" id="{58201D87-8607-6150-6980-5493F618E9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0" y="216375"/>
            <a:ext cx="472345" cy="198882"/>
          </a:xfrm>
          <a:prstGeom prst="rect">
            <a:avLst/>
          </a:prstGeom>
        </p:spPr>
      </p:pic>
      <p:sp>
        <p:nvSpPr>
          <p:cNvPr id="5" name="Text Placeholder 10">
            <a:extLst>
              <a:ext uri="{FF2B5EF4-FFF2-40B4-BE49-F238E27FC236}">
                <a16:creationId xmlns:a16="http://schemas.microsoft.com/office/drawing/2014/main" id="{93A8DA7E-87D9-E625-6CA8-2D2AE33BFB3B}"/>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7" name="Straight Connector 6">
            <a:extLst>
              <a:ext uri="{FF2B5EF4-FFF2-40B4-BE49-F238E27FC236}">
                <a16:creationId xmlns:a16="http://schemas.microsoft.com/office/drawing/2014/main" id="{A552F270-F313-8DA0-085D-D00F7D1EE7B1}"/>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E644513-6771-3EFA-4A40-1013FBB09634}"/>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55D42BE-7EBA-8296-73C5-68A8999162F2}"/>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B6FBD085-4E7A-37AC-9479-8F277C93FBC8}"/>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8DA13861-4876-B1F7-B5D5-6C108685912E}"/>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829DAE0B-EF37-A889-590A-C6BF8A725ACB}"/>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2D3F5A9F-DA5A-A93B-E935-5849E4852AD0}"/>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12A4A94F-95F1-B8E1-3AE6-A12F78365A2B}"/>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6475A999-362C-EE3F-FCBE-618047F9015A}"/>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B55907A8-99FD-D960-5507-53B37321F277}"/>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5FF0FA01-5E15-F37A-BFEB-507B4BAE3729}"/>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BC90E57D-4424-303B-B975-1E4140517C6F}"/>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96162808-F616-2826-C152-5314121FA9E4}"/>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A2378721-CE99-C105-52F6-3F43F0C34198}"/>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CBDD77A4-78DD-16C7-E717-D689D46BAA20}"/>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3360877992"/>
      </p:ext>
    </p:extLst>
  </p:cSld>
  <p:clrMapOvr>
    <a:overrideClrMapping bg1="lt1" tx1="dk1" bg2="lt2" tx2="dk2" accent1="accent1" accent2="accent2" accent3="accent3" accent4="accent4" accent5="accent5" accent6="accent6" hlink="hlink" folHlink="folHlink"/>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1_cover_niq_yellow">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4CCEE20-F684-3C4A-9B28-DDBC3C85AD9F}"/>
              </a:ext>
            </a:extLst>
          </p:cNvPr>
          <p:cNvSpPr/>
          <p:nvPr userDrawn="1"/>
        </p:nvSpPr>
        <p:spPr>
          <a:xfrm>
            <a:off x="676275" y="1"/>
            <a:ext cx="3895725" cy="1021556"/>
          </a:xfrm>
          <a:prstGeom prst="rect">
            <a:avLst/>
          </a:prstGeom>
          <a:solidFill>
            <a:srgbClr val="FFB500"/>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grpSp>
        <p:nvGrpSpPr>
          <p:cNvPr id="25" name="Group 24">
            <a:extLst>
              <a:ext uri="{FF2B5EF4-FFF2-40B4-BE49-F238E27FC236}">
                <a16:creationId xmlns:a16="http://schemas.microsoft.com/office/drawing/2014/main" id="{325D250A-9CEF-4E15-C862-4C959A4C39CE}"/>
              </a:ext>
            </a:extLst>
          </p:cNvPr>
          <p:cNvGrpSpPr/>
          <p:nvPr userDrawn="1"/>
        </p:nvGrpSpPr>
        <p:grpSpPr>
          <a:xfrm>
            <a:off x="676275" y="1081087"/>
            <a:ext cx="8467725" cy="4062413"/>
            <a:chOff x="901700" y="1441450"/>
            <a:chExt cx="11290300" cy="5416550"/>
          </a:xfrm>
        </p:grpSpPr>
        <p:sp>
          <p:nvSpPr>
            <p:cNvPr id="13" name="Rectangle 12">
              <a:extLst>
                <a:ext uri="{FF2B5EF4-FFF2-40B4-BE49-F238E27FC236}">
                  <a16:creationId xmlns:a16="http://schemas.microsoft.com/office/drawing/2014/main" id="{379C8770-90B9-F88B-B841-692D5E95FE1A}"/>
                </a:ext>
              </a:extLst>
            </p:cNvPr>
            <p:cNvSpPr/>
            <p:nvPr userDrawn="1"/>
          </p:nvSpPr>
          <p:spPr>
            <a:xfrm>
              <a:off x="901700" y="1441450"/>
              <a:ext cx="11285537" cy="541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sp>
          <p:nvSpPr>
            <p:cNvPr id="14" name="Rectangle 13">
              <a:extLst>
                <a:ext uri="{FF2B5EF4-FFF2-40B4-BE49-F238E27FC236}">
                  <a16:creationId xmlns:a16="http://schemas.microsoft.com/office/drawing/2014/main" id="{0DB10B8D-4D04-2250-036C-29CB3E268BFC}"/>
                </a:ext>
              </a:extLst>
            </p:cNvPr>
            <p:cNvSpPr/>
            <p:nvPr userDrawn="1"/>
          </p:nvSpPr>
          <p:spPr>
            <a:xfrm>
              <a:off x="8982075" y="1724025"/>
              <a:ext cx="3209925" cy="4829175"/>
            </a:xfrm>
            <a:prstGeom prst="rect">
              <a:avLst/>
            </a:prstGeom>
            <a:solidFill>
              <a:srgbClr val="3E2F1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450"/>
                </a:spcAft>
              </a:pPr>
              <a:endParaRPr lang="en-US" sz="1200"/>
            </a:p>
          </p:txBody>
        </p:sp>
        <p:cxnSp>
          <p:nvCxnSpPr>
            <p:cNvPr id="18" name="Straight Connector 17">
              <a:extLst>
                <a:ext uri="{FF2B5EF4-FFF2-40B4-BE49-F238E27FC236}">
                  <a16:creationId xmlns:a16="http://schemas.microsoft.com/office/drawing/2014/main" id="{91B7AB45-A9F2-03D3-55A9-0DA37A567BCC}"/>
                </a:ext>
              </a:extLst>
            </p:cNvPr>
            <p:cNvCxnSpPr/>
            <p:nvPr userDrawn="1"/>
          </p:nvCxnSpPr>
          <p:spPr>
            <a:xfrm>
              <a:off x="9283700" y="2159000"/>
              <a:ext cx="25654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C640DB2A-33F8-9ED0-D3F8-1363338A045A}"/>
              </a:ext>
            </a:extLst>
          </p:cNvPr>
          <p:cNvSpPr txBox="1"/>
          <p:nvPr userDrawn="1"/>
        </p:nvSpPr>
        <p:spPr>
          <a:xfrm rot="16200000">
            <a:off x="-4293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rPr>
              <a:t>© 2023 Nielsen Consumer LLC. All Rights Reserved.</a:t>
            </a:r>
          </a:p>
        </p:txBody>
      </p:sp>
      <p:sp>
        <p:nvSpPr>
          <p:cNvPr id="20" name="Text Placeholder 28">
            <a:extLst>
              <a:ext uri="{FF2B5EF4-FFF2-40B4-BE49-F238E27FC236}">
                <a16:creationId xmlns:a16="http://schemas.microsoft.com/office/drawing/2014/main" id="{05AA1022-49AD-6194-4EAC-6B9C5D8D2B2E}"/>
              </a:ext>
            </a:extLst>
          </p:cNvPr>
          <p:cNvSpPr>
            <a:spLocks noGrp="1"/>
          </p:cNvSpPr>
          <p:nvPr>
            <p:ph type="body" sz="quarter" idx="11"/>
          </p:nvPr>
        </p:nvSpPr>
        <p:spPr>
          <a:xfrm>
            <a:off x="6736556" y="580306"/>
            <a:ext cx="1753787" cy="250031"/>
          </a:xfrm>
        </p:spPr>
        <p:txBody>
          <a:bodyPr/>
          <a:lstStyle>
            <a:lvl1pPr marL="0" indent="0" algn="r">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pic>
        <p:nvPicPr>
          <p:cNvPr id="7" name="Graphic 6">
            <a:extLst>
              <a:ext uri="{FF2B5EF4-FFF2-40B4-BE49-F238E27FC236}">
                <a16:creationId xmlns:a16="http://schemas.microsoft.com/office/drawing/2014/main" id="{C2521BFF-4902-96F8-267C-2244F04567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48460" y="216375"/>
            <a:ext cx="472345" cy="198882"/>
          </a:xfrm>
          <a:prstGeom prst="rect">
            <a:avLst/>
          </a:prstGeom>
        </p:spPr>
      </p:pic>
      <p:sp>
        <p:nvSpPr>
          <p:cNvPr id="5" name="Text Placeholder 10">
            <a:extLst>
              <a:ext uri="{FF2B5EF4-FFF2-40B4-BE49-F238E27FC236}">
                <a16:creationId xmlns:a16="http://schemas.microsoft.com/office/drawing/2014/main" id="{C86749B0-41E6-F448-A214-F5024496325C}"/>
              </a:ext>
            </a:extLst>
          </p:cNvPr>
          <p:cNvSpPr>
            <a:spLocks noGrp="1"/>
          </p:cNvSpPr>
          <p:nvPr>
            <p:ph type="body" sz="quarter" idx="13" hasCustomPrompt="1"/>
          </p:nvPr>
        </p:nvSpPr>
        <p:spPr>
          <a:xfrm>
            <a:off x="1067988" y="451448"/>
            <a:ext cx="2613334" cy="410766"/>
          </a:xfrm>
        </p:spPr>
        <p:txBody>
          <a:bodyPr anchor="b"/>
          <a:lstStyle>
            <a:lvl1pPr marL="0" indent="0">
              <a:buNone/>
              <a:defRPr sz="1950">
                <a:solidFill>
                  <a:schemeClr val="bg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cxnSp>
        <p:nvCxnSpPr>
          <p:cNvPr id="6" name="Straight Connector 5">
            <a:extLst>
              <a:ext uri="{FF2B5EF4-FFF2-40B4-BE49-F238E27FC236}">
                <a16:creationId xmlns:a16="http://schemas.microsoft.com/office/drawing/2014/main" id="{7D894616-74D0-7B6D-A003-976299618726}"/>
              </a:ext>
            </a:extLst>
          </p:cNvPr>
          <p:cNvCxnSpPr>
            <a:cxnSpLocks/>
          </p:cNvCxnSpPr>
          <p:nvPr userDrawn="1"/>
        </p:nvCxnSpPr>
        <p:spPr>
          <a:xfrm>
            <a:off x="107870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D545319-3BC9-B8CC-0842-D0B511DA3B86}"/>
              </a:ext>
            </a:extLst>
          </p:cNvPr>
          <p:cNvCxnSpPr>
            <a:cxnSpLocks/>
          </p:cNvCxnSpPr>
          <p:nvPr userDrawn="1"/>
        </p:nvCxnSpPr>
        <p:spPr>
          <a:xfrm>
            <a:off x="2832497"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9403613-C351-94FE-4114-6EE6B12EA13B}"/>
              </a:ext>
            </a:extLst>
          </p:cNvPr>
          <p:cNvCxnSpPr>
            <a:cxnSpLocks/>
          </p:cNvCxnSpPr>
          <p:nvPr userDrawn="1"/>
        </p:nvCxnSpPr>
        <p:spPr>
          <a:xfrm>
            <a:off x="4586288" y="2957513"/>
            <a:ext cx="16359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32">
            <a:extLst>
              <a:ext uri="{FF2B5EF4-FFF2-40B4-BE49-F238E27FC236}">
                <a16:creationId xmlns:a16="http://schemas.microsoft.com/office/drawing/2014/main" id="{4DFE843B-8CEA-1CF9-5C30-5E6B55665569}"/>
              </a:ext>
            </a:extLst>
          </p:cNvPr>
          <p:cNvSpPr>
            <a:spLocks noGrp="1"/>
          </p:cNvSpPr>
          <p:nvPr>
            <p:ph type="body" sz="quarter" idx="14" hasCustomPrompt="1"/>
          </p:nvPr>
        </p:nvSpPr>
        <p:spPr>
          <a:xfrm>
            <a:off x="1078706" y="1504950"/>
            <a:ext cx="5143500" cy="319537"/>
          </a:xfrm>
        </p:spPr>
        <p:txBody>
          <a:bodyPr/>
          <a:lstStyle>
            <a:lvl1pPr marL="0" indent="0">
              <a:buNone/>
              <a:defRPr sz="1650" b="1"/>
            </a:lvl1pPr>
            <a:lvl2pPr marL="342900" indent="0">
              <a:buNone/>
              <a:defRPr sz="1650" b="1"/>
            </a:lvl2pPr>
            <a:lvl3pPr marL="685800" indent="0">
              <a:buNone/>
              <a:defRPr sz="1650" b="1"/>
            </a:lvl3pPr>
            <a:lvl4pPr marL="1028700" indent="0">
              <a:buNone/>
              <a:defRPr sz="1650" b="1"/>
            </a:lvl4pPr>
            <a:lvl5pPr marL="1371600" indent="0">
              <a:buNone/>
              <a:defRPr sz="1650" b="1"/>
            </a:lvl5pPr>
          </a:lstStyle>
          <a:p>
            <a:pPr lvl="0"/>
            <a:r>
              <a:rPr lang="en-US"/>
              <a:t>Insert your slide title</a:t>
            </a:r>
          </a:p>
        </p:txBody>
      </p:sp>
      <p:sp>
        <p:nvSpPr>
          <p:cNvPr id="11" name="Text Placeholder 34">
            <a:extLst>
              <a:ext uri="{FF2B5EF4-FFF2-40B4-BE49-F238E27FC236}">
                <a16:creationId xmlns:a16="http://schemas.microsoft.com/office/drawing/2014/main" id="{1DCBF038-21EF-4E56-B22E-151370F2EF4F}"/>
              </a:ext>
            </a:extLst>
          </p:cNvPr>
          <p:cNvSpPr>
            <a:spLocks noGrp="1"/>
          </p:cNvSpPr>
          <p:nvPr>
            <p:ph type="body" sz="quarter" idx="15" hasCustomPrompt="1"/>
          </p:nvPr>
        </p:nvSpPr>
        <p:spPr>
          <a:xfrm>
            <a:off x="1078706" y="1824038"/>
            <a:ext cx="5143500" cy="469106"/>
          </a:xfrm>
        </p:spPr>
        <p:txBody>
          <a:bodyPr/>
          <a:lstStyle>
            <a:lvl1pPr marL="0" indent="0">
              <a:buNone/>
              <a:defRPr sz="1350" i="1">
                <a:latin typeface="Georgia" panose="02040502050405020303" pitchFamily="18" charset="0"/>
              </a:defRPr>
            </a:lvl1pPr>
            <a:lvl2pPr marL="342900" indent="0">
              <a:buNone/>
              <a:defRPr sz="1350"/>
            </a:lvl2pPr>
            <a:lvl3pPr marL="685800" indent="0">
              <a:buNone/>
              <a:defRPr sz="1350"/>
            </a:lvl3pPr>
            <a:lvl4pPr marL="1028700" indent="0">
              <a:buNone/>
              <a:defRPr sz="1350"/>
            </a:lvl4pPr>
            <a:lvl5pPr marL="1371600" indent="0">
              <a:buNone/>
              <a:defRPr sz="1350"/>
            </a:lvl5pPr>
          </a:lstStyle>
          <a:p>
            <a:pPr lvl="0"/>
            <a:r>
              <a:rPr lang="en-US"/>
              <a:t>Click to add subtitle</a:t>
            </a:r>
          </a:p>
        </p:txBody>
      </p:sp>
      <p:sp>
        <p:nvSpPr>
          <p:cNvPr id="12" name="Text Placeholder 38">
            <a:extLst>
              <a:ext uri="{FF2B5EF4-FFF2-40B4-BE49-F238E27FC236}">
                <a16:creationId xmlns:a16="http://schemas.microsoft.com/office/drawing/2014/main" id="{300C56FA-5D07-1702-2D09-9F36E21CE6A1}"/>
              </a:ext>
            </a:extLst>
          </p:cNvPr>
          <p:cNvSpPr>
            <a:spLocks noGrp="1"/>
          </p:cNvSpPr>
          <p:nvPr>
            <p:ph type="body" sz="quarter" idx="16" hasCustomPrompt="1"/>
          </p:nvPr>
        </p:nvSpPr>
        <p:spPr>
          <a:xfrm>
            <a:off x="1067991"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44">
            <a:extLst>
              <a:ext uri="{FF2B5EF4-FFF2-40B4-BE49-F238E27FC236}">
                <a16:creationId xmlns:a16="http://schemas.microsoft.com/office/drawing/2014/main" id="{3C20CA77-C651-D5D7-7E11-39B19A2314C1}"/>
              </a:ext>
            </a:extLst>
          </p:cNvPr>
          <p:cNvSpPr>
            <a:spLocks noGrp="1"/>
          </p:cNvSpPr>
          <p:nvPr>
            <p:ph sz="quarter" idx="18"/>
          </p:nvPr>
        </p:nvSpPr>
        <p:spPr>
          <a:xfrm>
            <a:off x="1067991"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8">
            <a:extLst>
              <a:ext uri="{FF2B5EF4-FFF2-40B4-BE49-F238E27FC236}">
                <a16:creationId xmlns:a16="http://schemas.microsoft.com/office/drawing/2014/main" id="{7DA563CD-42F0-8E5F-7367-8A13CC7E5C59}"/>
              </a:ext>
            </a:extLst>
          </p:cNvPr>
          <p:cNvSpPr>
            <a:spLocks noGrp="1"/>
          </p:cNvSpPr>
          <p:nvPr>
            <p:ph type="body" sz="quarter" idx="19" hasCustomPrompt="1"/>
          </p:nvPr>
        </p:nvSpPr>
        <p:spPr>
          <a:xfrm>
            <a:off x="2832497"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44">
            <a:extLst>
              <a:ext uri="{FF2B5EF4-FFF2-40B4-BE49-F238E27FC236}">
                <a16:creationId xmlns:a16="http://schemas.microsoft.com/office/drawing/2014/main" id="{57802154-E113-6C1C-D406-2169BE40B9FE}"/>
              </a:ext>
            </a:extLst>
          </p:cNvPr>
          <p:cNvSpPr>
            <a:spLocks noGrp="1"/>
          </p:cNvSpPr>
          <p:nvPr>
            <p:ph sz="quarter" idx="20"/>
          </p:nvPr>
        </p:nvSpPr>
        <p:spPr>
          <a:xfrm>
            <a:off x="2832497"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8">
            <a:extLst>
              <a:ext uri="{FF2B5EF4-FFF2-40B4-BE49-F238E27FC236}">
                <a16:creationId xmlns:a16="http://schemas.microsoft.com/office/drawing/2014/main" id="{62EE8349-2480-3BFC-4C93-628AC307646E}"/>
              </a:ext>
            </a:extLst>
          </p:cNvPr>
          <p:cNvSpPr>
            <a:spLocks noGrp="1"/>
          </p:cNvSpPr>
          <p:nvPr>
            <p:ph type="body" sz="quarter" idx="21" hasCustomPrompt="1"/>
          </p:nvPr>
        </p:nvSpPr>
        <p:spPr>
          <a:xfrm>
            <a:off x="4572000" y="2571750"/>
            <a:ext cx="1646634" cy="321469"/>
          </a:xfrm>
        </p:spPr>
        <p:txBody>
          <a:bodyPr anchor="b"/>
          <a:lstStyle>
            <a:lvl1pPr marL="0" indent="0">
              <a:buNone/>
              <a:defRPr b="1"/>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22" name="Content Placeholder 44">
            <a:extLst>
              <a:ext uri="{FF2B5EF4-FFF2-40B4-BE49-F238E27FC236}">
                <a16:creationId xmlns:a16="http://schemas.microsoft.com/office/drawing/2014/main" id="{53566DC4-D396-1C33-68B9-8133D39A7C31}"/>
              </a:ext>
            </a:extLst>
          </p:cNvPr>
          <p:cNvSpPr>
            <a:spLocks noGrp="1"/>
          </p:cNvSpPr>
          <p:nvPr>
            <p:ph sz="quarter" idx="22"/>
          </p:nvPr>
        </p:nvSpPr>
        <p:spPr>
          <a:xfrm>
            <a:off x="4572000" y="3012282"/>
            <a:ext cx="1646634" cy="1194197"/>
          </a:xfrm>
        </p:spPr>
        <p:txBody>
          <a:bodyPr/>
          <a:lstStyle>
            <a:lvl1pPr>
              <a:defRPr sz="750">
                <a:latin typeface="Georgia" panose="02040502050405020303" pitchFamily="18" charset="0"/>
              </a:defRPr>
            </a:lvl1pPr>
            <a:lvl2pPr marL="342900">
              <a:defRPr sz="750">
                <a:latin typeface="Georgia" panose="02040502050405020303" pitchFamily="18" charset="0"/>
              </a:defRPr>
            </a:lvl2pPr>
            <a:lvl3pPr marL="514350">
              <a:defRPr sz="750">
                <a:latin typeface="Georgia" panose="02040502050405020303" pitchFamily="18" charset="0"/>
              </a:defRPr>
            </a:lvl3pPr>
            <a:lvl4pPr marL="685800">
              <a:defRPr sz="750">
                <a:latin typeface="Georgia" panose="02040502050405020303" pitchFamily="18" charset="0"/>
              </a:defRPr>
            </a:lvl4pPr>
            <a:lvl5pPr marL="857250">
              <a:defRPr sz="750">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01">
            <a:extLst>
              <a:ext uri="{FF2B5EF4-FFF2-40B4-BE49-F238E27FC236}">
                <a16:creationId xmlns:a16="http://schemas.microsoft.com/office/drawing/2014/main" id="{E860CDEE-AEC3-279E-34A9-C4230D1FB728}"/>
              </a:ext>
            </a:extLst>
          </p:cNvPr>
          <p:cNvSpPr>
            <a:spLocks noGrp="1"/>
          </p:cNvSpPr>
          <p:nvPr>
            <p:ph type="body" sz="quarter" idx="23" hasCustomPrompt="1"/>
          </p:nvPr>
        </p:nvSpPr>
        <p:spPr>
          <a:xfrm>
            <a:off x="6952060" y="1691879"/>
            <a:ext cx="1924050" cy="178594"/>
          </a:xfrm>
        </p:spPr>
        <p:txBody>
          <a:bodyPr/>
          <a:lstStyle>
            <a:lvl1pPr marL="0" indent="0">
              <a:buNone/>
              <a:defRPr sz="975" b="1">
                <a:solidFill>
                  <a:schemeClr val="bg1"/>
                </a:solidFill>
              </a:defRPr>
            </a:lvl1pPr>
            <a:lvl2pPr marL="342900" indent="0">
              <a:buNone/>
              <a:defRPr sz="975" b="1">
                <a:solidFill>
                  <a:schemeClr val="bg2"/>
                </a:solidFill>
              </a:defRPr>
            </a:lvl2pPr>
            <a:lvl3pPr marL="685800" indent="0">
              <a:buNone/>
              <a:defRPr sz="975" b="1">
                <a:solidFill>
                  <a:schemeClr val="bg2"/>
                </a:solidFill>
              </a:defRPr>
            </a:lvl3pPr>
            <a:lvl4pPr marL="1028700" indent="0">
              <a:buNone/>
              <a:defRPr sz="975" b="1">
                <a:solidFill>
                  <a:schemeClr val="bg2"/>
                </a:solidFill>
              </a:defRPr>
            </a:lvl4pPr>
            <a:lvl5pPr marL="1371600" indent="0">
              <a:buNone/>
              <a:defRPr sz="975" b="1">
                <a:solidFill>
                  <a:schemeClr val="bg2"/>
                </a:solidFill>
              </a:defRPr>
            </a:lvl5pPr>
          </a:lstStyle>
          <a:p>
            <a:pPr lvl="0"/>
            <a:r>
              <a:rPr lang="en-US"/>
              <a:t>Click to add text</a:t>
            </a:r>
          </a:p>
        </p:txBody>
      </p:sp>
      <p:sp>
        <p:nvSpPr>
          <p:cNvPr id="26" name="Content Placeholder 110">
            <a:extLst>
              <a:ext uri="{FF2B5EF4-FFF2-40B4-BE49-F238E27FC236}">
                <a16:creationId xmlns:a16="http://schemas.microsoft.com/office/drawing/2014/main" id="{FEC76958-5AB3-15C3-BF0A-5EC66E7D620C}"/>
              </a:ext>
            </a:extLst>
          </p:cNvPr>
          <p:cNvSpPr>
            <a:spLocks noGrp="1"/>
          </p:cNvSpPr>
          <p:nvPr>
            <p:ph sz="quarter" idx="26"/>
          </p:nvPr>
        </p:nvSpPr>
        <p:spPr>
          <a:xfrm>
            <a:off x="6962775" y="2957513"/>
            <a:ext cx="1924050" cy="1498997"/>
          </a:xfrm>
        </p:spPr>
        <p:txBody>
          <a:bodyPr/>
          <a:lstStyle>
            <a:lvl1pPr>
              <a:defRPr sz="825">
                <a:solidFill>
                  <a:schemeClr val="bg1"/>
                </a:solidFill>
              </a:defRPr>
            </a:lvl1pPr>
            <a:lvl2pPr marL="377190">
              <a:defRPr sz="825">
                <a:solidFill>
                  <a:schemeClr val="bg1"/>
                </a:solidFill>
              </a:defRPr>
            </a:lvl2pPr>
            <a:lvl3pPr marL="548640">
              <a:defRPr sz="825">
                <a:solidFill>
                  <a:schemeClr val="bg1"/>
                </a:solidFill>
              </a:defRPr>
            </a:lvl3pPr>
            <a:lvl4pPr marL="754380">
              <a:defRPr sz="825">
                <a:solidFill>
                  <a:schemeClr val="bg1"/>
                </a:solidFill>
              </a:defRPr>
            </a:lvl4pPr>
            <a:lvl5pPr marL="92583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3">
            <a:extLst>
              <a:ext uri="{FF2B5EF4-FFF2-40B4-BE49-F238E27FC236}">
                <a16:creationId xmlns:a16="http://schemas.microsoft.com/office/drawing/2014/main" id="{B876E1E3-F528-9FDA-E523-32A223D7D401}"/>
              </a:ext>
            </a:extLst>
          </p:cNvPr>
          <p:cNvSpPr>
            <a:spLocks noGrp="1"/>
          </p:cNvSpPr>
          <p:nvPr>
            <p:ph type="body" sz="quarter" idx="27"/>
          </p:nvPr>
        </p:nvSpPr>
        <p:spPr>
          <a:xfrm>
            <a:off x="6952060" y="1909763"/>
            <a:ext cx="1924050" cy="956072"/>
          </a:xfrm>
        </p:spPr>
        <p:txBody>
          <a:bodyPr/>
          <a:lstStyle>
            <a:lvl1pPr>
              <a:defRPr sz="825">
                <a:solidFill>
                  <a:schemeClr val="bg1"/>
                </a:solidFill>
              </a:defRPr>
            </a:lvl1pPr>
            <a:lvl2pPr marL="377190">
              <a:defRPr sz="825">
                <a:solidFill>
                  <a:schemeClr val="bg1"/>
                </a:solidFill>
              </a:defRPr>
            </a:lvl2pPr>
            <a:lvl3pPr marL="582930">
              <a:defRPr sz="825">
                <a:solidFill>
                  <a:schemeClr val="bg1"/>
                </a:solidFill>
              </a:defRPr>
            </a:lvl3pPr>
            <a:lvl4pPr marL="822960">
              <a:defRPr sz="825">
                <a:solidFill>
                  <a:schemeClr val="bg1"/>
                </a:solidFill>
              </a:defRPr>
            </a:lvl4pPr>
            <a:lvl5pPr marL="1028700">
              <a:defRPr sz="82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119">
            <a:extLst>
              <a:ext uri="{FF2B5EF4-FFF2-40B4-BE49-F238E27FC236}">
                <a16:creationId xmlns:a16="http://schemas.microsoft.com/office/drawing/2014/main" id="{F86974DF-B0DE-014C-EE0F-2FB469023B64}"/>
              </a:ext>
            </a:extLst>
          </p:cNvPr>
          <p:cNvSpPr>
            <a:spLocks noGrp="1"/>
          </p:cNvSpPr>
          <p:nvPr>
            <p:ph type="body" sz="quarter" idx="28" hasCustomPrompt="1"/>
          </p:nvPr>
        </p:nvSpPr>
        <p:spPr>
          <a:xfrm>
            <a:off x="6962776" y="4631531"/>
            <a:ext cx="1924049" cy="104775"/>
          </a:xfrm>
        </p:spPr>
        <p:txBody>
          <a:bodyPr/>
          <a:lstStyle>
            <a:lvl1pPr marL="0" indent="0">
              <a:buNone/>
              <a:defRPr sz="450">
                <a:solidFill>
                  <a:schemeClr val="bg1"/>
                </a:solidFill>
              </a:defRPr>
            </a:lvl1pPr>
            <a:lvl2pPr marL="342900" indent="0">
              <a:buNone/>
              <a:defRPr sz="450">
                <a:solidFill>
                  <a:schemeClr val="bg1"/>
                </a:solidFill>
              </a:defRPr>
            </a:lvl2pPr>
            <a:lvl3pPr marL="685800" indent="0">
              <a:buNone/>
              <a:defRPr sz="450">
                <a:solidFill>
                  <a:schemeClr val="bg1"/>
                </a:solidFill>
              </a:defRPr>
            </a:lvl3pPr>
            <a:lvl4pPr marL="1028700" indent="0">
              <a:buNone/>
              <a:defRPr sz="450">
                <a:solidFill>
                  <a:schemeClr val="bg1"/>
                </a:solidFill>
              </a:defRPr>
            </a:lvl4pPr>
            <a:lvl5pPr marL="1371600" indent="0">
              <a:buNone/>
              <a:defRPr sz="450">
                <a:solidFill>
                  <a:schemeClr val="bg1"/>
                </a:solidFill>
              </a:defRPr>
            </a:lvl5pPr>
          </a:lstStyle>
          <a:p>
            <a:pPr lvl="0"/>
            <a:r>
              <a:rPr lang="en-US"/>
              <a:t>Source, footnote</a:t>
            </a:r>
          </a:p>
        </p:txBody>
      </p:sp>
    </p:spTree>
    <p:extLst>
      <p:ext uri="{BB962C8B-B14F-4D97-AF65-F5344CB8AC3E}">
        <p14:creationId xmlns:p14="http://schemas.microsoft.com/office/powerpoint/2010/main" val="4169541741"/>
      </p:ext>
    </p:extLst>
  </p:cSld>
  <p:clrMapOvr>
    <a:overrideClrMapping bg1="lt1" tx1="dk1" bg2="lt2" tx2="dk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4_inside4_niq">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D0FBEC-735A-E445-E6C0-F7400D41B8D6}"/>
              </a:ext>
            </a:extLst>
          </p:cNvPr>
          <p:cNvSpPr/>
          <p:nvPr userDrawn="1"/>
        </p:nvSpPr>
        <p:spPr>
          <a:xfrm>
            <a:off x="0" y="1085943"/>
            <a:ext cx="8490343" cy="40575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pic>
        <p:nvPicPr>
          <p:cNvPr id="7" name="Picture 6">
            <a:extLst>
              <a:ext uri="{FF2B5EF4-FFF2-40B4-BE49-F238E27FC236}">
                <a16:creationId xmlns:a16="http://schemas.microsoft.com/office/drawing/2014/main" id="{37F03DC1-70DD-74FE-9900-4225F742815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052787" y="221456"/>
            <a:ext cx="463696" cy="197318"/>
          </a:xfrm>
          <a:prstGeom prst="rect">
            <a:avLst/>
          </a:prstGeom>
        </p:spPr>
      </p:pic>
      <p:cxnSp>
        <p:nvCxnSpPr>
          <p:cNvPr id="10" name="Straight Connector 9">
            <a:extLst>
              <a:ext uri="{FF2B5EF4-FFF2-40B4-BE49-F238E27FC236}">
                <a16:creationId xmlns:a16="http://schemas.microsoft.com/office/drawing/2014/main" id="{3A629D6F-6DFD-714E-87EA-F99745ABE016}"/>
              </a:ext>
            </a:extLst>
          </p:cNvPr>
          <p:cNvCxnSpPr>
            <a:cxnSpLocks/>
          </p:cNvCxnSpPr>
          <p:nvPr userDrawn="1"/>
        </p:nvCxnSpPr>
        <p:spPr>
          <a:xfrm>
            <a:off x="1051646" y="1752254"/>
            <a:ext cx="33560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B93FB5C-FB8A-FBA8-2518-477603DD83BD}"/>
              </a:ext>
            </a:extLst>
          </p:cNvPr>
          <p:cNvCxnSpPr>
            <a:cxnSpLocks/>
          </p:cNvCxnSpPr>
          <p:nvPr userDrawn="1"/>
        </p:nvCxnSpPr>
        <p:spPr>
          <a:xfrm>
            <a:off x="4630665" y="1752254"/>
            <a:ext cx="33560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47">
            <a:extLst>
              <a:ext uri="{FF2B5EF4-FFF2-40B4-BE49-F238E27FC236}">
                <a16:creationId xmlns:a16="http://schemas.microsoft.com/office/drawing/2014/main" id="{697BB0FA-5080-6194-4B98-87DCEFDC9F86}"/>
              </a:ext>
            </a:extLst>
          </p:cNvPr>
          <p:cNvSpPr>
            <a:spLocks noGrp="1"/>
          </p:cNvSpPr>
          <p:nvPr>
            <p:ph type="body" sz="quarter" idx="14" hasCustomPrompt="1"/>
          </p:nvPr>
        </p:nvSpPr>
        <p:spPr>
          <a:xfrm>
            <a:off x="1051322" y="1444229"/>
            <a:ext cx="3356372" cy="307181"/>
          </a:xfrm>
        </p:spPr>
        <p:txBody>
          <a:bodyPr anchor="b"/>
          <a:lstStyle>
            <a:lvl1pPr marL="0" indent="0">
              <a:lnSpc>
                <a:spcPct val="100000"/>
              </a:lnSpc>
              <a:spcAft>
                <a:spcPts val="450"/>
              </a:spcAft>
              <a:buNone/>
              <a:defRPr sz="1200" b="1"/>
            </a:lvl1pPr>
            <a:lvl5pPr>
              <a:defRPr/>
            </a:lvl5pPr>
          </a:lstStyle>
          <a:p>
            <a:pPr lvl="0"/>
            <a:r>
              <a:rPr lang="en-US"/>
              <a:t>Click to insert title</a:t>
            </a:r>
          </a:p>
        </p:txBody>
      </p:sp>
      <p:sp>
        <p:nvSpPr>
          <p:cNvPr id="14" name="Content Placeholder 50">
            <a:extLst>
              <a:ext uri="{FF2B5EF4-FFF2-40B4-BE49-F238E27FC236}">
                <a16:creationId xmlns:a16="http://schemas.microsoft.com/office/drawing/2014/main" id="{3D486BBA-08FC-8CB9-D548-42F65B040A9B}"/>
              </a:ext>
            </a:extLst>
          </p:cNvPr>
          <p:cNvSpPr>
            <a:spLocks noGrp="1"/>
          </p:cNvSpPr>
          <p:nvPr>
            <p:ph sz="quarter" idx="15"/>
          </p:nvPr>
        </p:nvSpPr>
        <p:spPr>
          <a:xfrm>
            <a:off x="1051322" y="1782366"/>
            <a:ext cx="3356372" cy="2686050"/>
          </a:xfrm>
        </p:spPr>
        <p:txBody>
          <a:bodyPr/>
          <a:lstStyle>
            <a:lvl1pPr>
              <a:lnSpc>
                <a:spcPct val="100000"/>
              </a:lnSpc>
              <a:spcAft>
                <a:spcPts val="450"/>
              </a:spcAft>
              <a:defRPr sz="750">
                <a:solidFill>
                  <a:schemeClr val="tx1"/>
                </a:solidFill>
                <a:latin typeface="Georgia" panose="02040502050405020303" pitchFamily="18" charset="0"/>
              </a:defRPr>
            </a:lvl1pPr>
            <a:lvl2pPr>
              <a:lnSpc>
                <a:spcPct val="100000"/>
              </a:lnSpc>
              <a:spcAft>
                <a:spcPts val="450"/>
              </a:spcAft>
              <a:defRPr sz="750">
                <a:solidFill>
                  <a:schemeClr val="tx1"/>
                </a:solidFill>
                <a:latin typeface="Georgia" panose="02040502050405020303" pitchFamily="18" charset="0"/>
              </a:defRPr>
            </a:lvl2pPr>
            <a:lvl3pPr>
              <a:lnSpc>
                <a:spcPct val="100000"/>
              </a:lnSpc>
              <a:spcAft>
                <a:spcPts val="450"/>
              </a:spcAft>
              <a:defRPr sz="750">
                <a:solidFill>
                  <a:schemeClr val="tx1"/>
                </a:solidFill>
                <a:latin typeface="Georgia" panose="02040502050405020303" pitchFamily="18" charset="0"/>
              </a:defRPr>
            </a:lvl3pPr>
            <a:lvl4pPr>
              <a:lnSpc>
                <a:spcPct val="100000"/>
              </a:lnSpc>
              <a:spcAft>
                <a:spcPts val="450"/>
              </a:spcAft>
              <a:defRPr sz="750">
                <a:solidFill>
                  <a:schemeClr val="tx1"/>
                </a:solidFill>
                <a:latin typeface="Georgia" panose="02040502050405020303" pitchFamily="18" charset="0"/>
              </a:defRPr>
            </a:lvl4pPr>
            <a:lvl5pPr>
              <a:lnSpc>
                <a:spcPct val="100000"/>
              </a:lnSpc>
              <a:spcAft>
                <a:spcPts val="450"/>
              </a:spcAft>
              <a:defRPr sz="75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0">
            <a:extLst>
              <a:ext uri="{FF2B5EF4-FFF2-40B4-BE49-F238E27FC236}">
                <a16:creationId xmlns:a16="http://schemas.microsoft.com/office/drawing/2014/main" id="{C5039651-36BE-10D5-04EA-324F09037E27}"/>
              </a:ext>
            </a:extLst>
          </p:cNvPr>
          <p:cNvSpPr>
            <a:spLocks noGrp="1"/>
          </p:cNvSpPr>
          <p:nvPr>
            <p:ph sz="quarter" idx="16"/>
          </p:nvPr>
        </p:nvSpPr>
        <p:spPr>
          <a:xfrm>
            <a:off x="4630341" y="1782366"/>
            <a:ext cx="3356372" cy="2686050"/>
          </a:xfrm>
        </p:spPr>
        <p:txBody>
          <a:bodyPr/>
          <a:lstStyle>
            <a:lvl1pPr>
              <a:defRPr sz="750">
                <a:solidFill>
                  <a:schemeClr val="tx1"/>
                </a:solidFill>
                <a:latin typeface="Georgia" panose="02040502050405020303" pitchFamily="18" charset="0"/>
              </a:defRPr>
            </a:lvl1pPr>
            <a:lvl2pPr>
              <a:defRPr sz="750">
                <a:solidFill>
                  <a:schemeClr val="tx1"/>
                </a:solidFill>
                <a:latin typeface="Georgia" panose="02040502050405020303" pitchFamily="18" charset="0"/>
              </a:defRPr>
            </a:lvl2pPr>
            <a:lvl3pPr>
              <a:defRPr sz="750">
                <a:solidFill>
                  <a:schemeClr val="tx1"/>
                </a:solidFill>
                <a:latin typeface="Georgia" panose="02040502050405020303" pitchFamily="18" charset="0"/>
              </a:defRPr>
            </a:lvl3pPr>
            <a:lvl4pPr>
              <a:defRPr sz="750">
                <a:solidFill>
                  <a:schemeClr val="tx1"/>
                </a:solidFill>
                <a:latin typeface="Georgia" panose="02040502050405020303" pitchFamily="18" charset="0"/>
              </a:defRPr>
            </a:lvl4pPr>
            <a:lvl5pPr>
              <a:defRPr sz="75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Box 15">
            <a:extLst>
              <a:ext uri="{FF2B5EF4-FFF2-40B4-BE49-F238E27FC236}">
                <a16:creationId xmlns:a16="http://schemas.microsoft.com/office/drawing/2014/main" id="{DA4FB4F2-961C-4A95-F65A-160DCF094F99}"/>
              </a:ext>
            </a:extLst>
          </p:cNvPr>
          <p:cNvSpPr txBox="1"/>
          <p:nvPr userDrawn="1"/>
        </p:nvSpPr>
        <p:spPr>
          <a:xfrm rot="16200000">
            <a:off x="7636897" y="3856020"/>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60000"/>
                    <a:lumOff val="40000"/>
                  </a:schemeClr>
                </a:solidFill>
                <a:latin typeface="Arial" panose="020B0604020202020204" pitchFamily="34" charset="0"/>
                <a:cs typeface="Arial" panose="020B0604020202020204" pitchFamily="34" charset="0"/>
              </a:rPr>
              <a:t>© 2023 Nielsen Consumer LLC. All Rights Reserved.</a:t>
            </a:r>
          </a:p>
        </p:txBody>
      </p:sp>
      <p:sp>
        <p:nvSpPr>
          <p:cNvPr id="17" name="Text Placeholder 28">
            <a:extLst>
              <a:ext uri="{FF2B5EF4-FFF2-40B4-BE49-F238E27FC236}">
                <a16:creationId xmlns:a16="http://schemas.microsoft.com/office/drawing/2014/main" id="{0E2E0CBE-483D-3D02-1320-2E9704B74428}"/>
              </a:ext>
            </a:extLst>
          </p:cNvPr>
          <p:cNvSpPr>
            <a:spLocks noGrp="1"/>
          </p:cNvSpPr>
          <p:nvPr>
            <p:ph type="body" sz="quarter" idx="11"/>
          </p:nvPr>
        </p:nvSpPr>
        <p:spPr>
          <a:xfrm>
            <a:off x="6736556" y="580306"/>
            <a:ext cx="1753787" cy="250031"/>
          </a:xfrm>
        </p:spPr>
        <p:txBody>
          <a:bodyPr/>
          <a:lstStyle>
            <a:lvl1pPr marL="0" indent="0" algn="r">
              <a:lnSpc>
                <a:spcPct val="100000"/>
              </a:lnSpc>
              <a:spcBef>
                <a:spcPts val="0"/>
              </a:spcBef>
              <a:spcAft>
                <a:spcPts val="0"/>
              </a:spcAft>
              <a:buNone/>
              <a:defRPr sz="675">
                <a:solidFill>
                  <a:schemeClr val="tx1"/>
                </a:solidFill>
              </a:defRPr>
            </a:lvl1pPr>
            <a:lvl2pPr marL="342900" indent="0" algn="r">
              <a:buNone/>
              <a:defRPr sz="675">
                <a:solidFill>
                  <a:schemeClr val="tx1"/>
                </a:solidFill>
              </a:defRPr>
            </a:lvl2pPr>
            <a:lvl3pPr marL="685800" indent="0" algn="r">
              <a:buNone/>
              <a:defRPr sz="675">
                <a:solidFill>
                  <a:schemeClr val="tx1"/>
                </a:solidFill>
              </a:defRPr>
            </a:lvl3pPr>
            <a:lvl4pPr marL="1028700" indent="0" algn="r">
              <a:buNone/>
              <a:defRPr sz="675">
                <a:solidFill>
                  <a:schemeClr val="tx1"/>
                </a:solidFill>
              </a:defRPr>
            </a:lvl4pPr>
            <a:lvl5pPr marL="1371600" indent="0" algn="r">
              <a:buNone/>
              <a:defRPr sz="675">
                <a:solidFill>
                  <a:schemeClr val="tx1"/>
                </a:solidFill>
              </a:defRPr>
            </a:lvl5pPr>
          </a:lstStyle>
          <a:p>
            <a:pPr lvl="0"/>
            <a:endParaRPr lang="en-US"/>
          </a:p>
        </p:txBody>
      </p:sp>
      <p:sp>
        <p:nvSpPr>
          <p:cNvPr id="18" name="Text Placeholder 10">
            <a:extLst>
              <a:ext uri="{FF2B5EF4-FFF2-40B4-BE49-F238E27FC236}">
                <a16:creationId xmlns:a16="http://schemas.microsoft.com/office/drawing/2014/main" id="{B601A0B3-048E-85B2-8AD0-B2DC78379592}"/>
              </a:ext>
            </a:extLst>
          </p:cNvPr>
          <p:cNvSpPr>
            <a:spLocks noGrp="1"/>
          </p:cNvSpPr>
          <p:nvPr>
            <p:ph type="body" sz="quarter" idx="13" hasCustomPrompt="1"/>
          </p:nvPr>
        </p:nvSpPr>
        <p:spPr>
          <a:xfrm>
            <a:off x="1067988" y="451448"/>
            <a:ext cx="2613334" cy="410766"/>
          </a:xfrm>
        </p:spPr>
        <p:txBody>
          <a:bodyPr anchor="b"/>
          <a:lstStyle>
            <a:lvl1pPr marL="0" indent="0">
              <a:lnSpc>
                <a:spcPct val="100000"/>
              </a:lnSpc>
              <a:spcBef>
                <a:spcPts val="0"/>
              </a:spcBef>
              <a:spcAft>
                <a:spcPts val="450"/>
              </a:spcAft>
              <a:buNone/>
              <a:defRPr sz="1950">
                <a:solidFill>
                  <a:schemeClr val="tx1"/>
                </a:solidFill>
              </a:defRPr>
            </a:lvl1pPr>
            <a:lvl2pPr marL="342900" indent="0">
              <a:buNone/>
              <a:defRPr sz="1500">
                <a:solidFill>
                  <a:schemeClr val="bg1"/>
                </a:solidFill>
              </a:defRPr>
            </a:lvl2pPr>
            <a:lvl3pPr marL="685800" indent="0">
              <a:buNone/>
              <a:defRPr sz="1500">
                <a:solidFill>
                  <a:schemeClr val="bg1"/>
                </a:solidFill>
              </a:defRPr>
            </a:lvl3pPr>
            <a:lvl4pPr marL="1028700" indent="0">
              <a:buNone/>
              <a:defRPr sz="1500">
                <a:solidFill>
                  <a:schemeClr val="bg1"/>
                </a:solidFill>
              </a:defRPr>
            </a:lvl4pPr>
            <a:lvl5pPr marL="1371600" indent="0">
              <a:buNone/>
              <a:defRPr sz="1500">
                <a:solidFill>
                  <a:schemeClr val="bg1"/>
                </a:solidFill>
              </a:defRPr>
            </a:lvl5pPr>
          </a:lstStyle>
          <a:p>
            <a:pPr lvl="0"/>
            <a:r>
              <a:rPr lang="en-US"/>
              <a:t>Product/solution name</a:t>
            </a:r>
          </a:p>
        </p:txBody>
      </p:sp>
    </p:spTree>
    <p:extLst>
      <p:ext uri="{BB962C8B-B14F-4D97-AF65-F5344CB8AC3E}">
        <p14:creationId xmlns:p14="http://schemas.microsoft.com/office/powerpoint/2010/main" val="1179608323"/>
      </p:ext>
    </p:extLst>
  </p:cSld>
  <p:clrMapOvr>
    <a:overrideClrMapping bg1="lt1" tx1="dk1" bg2="lt2" tx2="dk2" accent1="accent1" accent2="accent2" accent3="accent3" accent4="accent4" accent5="accent5" accent6="accent6" hlink="hlink" folHlink="folHlink"/>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0088367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9136626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2773223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808353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125351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311327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335280"/>
            <a:ext cx="914399" cy="389106"/>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16419" y="3895568"/>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16419" y="4171669"/>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16419" y="4583843"/>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7723687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195" name="Google Shape;195;p22"/>
          <p:cNvSpPr txBox="1">
            <a:spLocks noGrp="1"/>
          </p:cNvSpPr>
          <p:nvPr>
            <p:ph type="ctrTitle"/>
          </p:nvPr>
        </p:nvSpPr>
        <p:spPr>
          <a:xfrm>
            <a:off x="354650" y="990600"/>
            <a:ext cx="3413700" cy="1578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3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354650" y="2453125"/>
            <a:ext cx="3413700" cy="7926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18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9pPr>
          </a:lstStyle>
          <a:p>
            <a:r>
              <a:rPr lang="en-US"/>
              <a:t>Click to edit Master subtitle style</a:t>
            </a:r>
            <a:endParaRPr/>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6732050" y="4809375"/>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latin typeface="Montserrat" panose="00000500000000000000" pitchFamily="2" charset="0"/>
              </a:rPr>
              <a:pPr/>
              <a:t>‹#›</a:t>
            </a:fld>
            <a:endParaRPr lang="en-PH" sz="100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28036070"/>
      </p:ext>
    </p:extLst>
  </p:cSld>
  <p:clrMapOvr>
    <a:masterClrMapping/>
  </p:clrMapOvr>
  <p:hf sldNum="0"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25572640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102681095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326208314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408566592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65115631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77631721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6038529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57655179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9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92597068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528187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6" name="Title 1"/>
          <p:cNvSpPr>
            <a:spLocks noGrp="1"/>
          </p:cNvSpPr>
          <p:nvPr>
            <p:ph type="title"/>
          </p:nvPr>
        </p:nvSpPr>
        <p:spPr>
          <a:xfrm>
            <a:off x="304800" y="2064684"/>
            <a:ext cx="8046720" cy="438912"/>
          </a:xfrm>
          <a:prstGeom prst="rect">
            <a:avLst/>
          </a:prstGeom>
        </p:spPr>
        <p:txBody>
          <a:bodyPr wrap="square" anchor="t">
            <a:noAutofit/>
          </a:bodyPr>
          <a:lstStyle>
            <a:lvl1pPr algn="l">
              <a:defRPr sz="5000"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4286750580"/>
      </p:ext>
    </p:extLst>
  </p:cSld>
  <p:clrMapOvr>
    <a:masterClrMapping/>
  </p:clrMapOvr>
  <p:hf sldNum="0"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4572000" y="0"/>
            <a:ext cx="4572000" cy="5143500"/>
          </a:xfrm>
          <a:solidFill>
            <a:schemeClr val="tx1"/>
          </a:solidFill>
          <a:ln>
            <a:noFill/>
          </a:ln>
        </p:spPr>
        <p:txBody>
          <a:bodyPr anchor="ctr" anchorCtr="0"/>
          <a:lstStyle>
            <a:lvl1pPr marL="0" indent="0" algn="ctr">
              <a:buNone/>
              <a:defRPr>
                <a:solidFill>
                  <a:schemeClr val="bg1"/>
                </a:solidFill>
              </a:defRPr>
            </a:lvl1pPr>
          </a:lstStyle>
          <a:p>
            <a:r>
              <a:rPr lang="en-US"/>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64976907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04941938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09199" y="4796816"/>
            <a:ext cx="4152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16419" y="4488996"/>
            <a:ext cx="4152940"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bg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07416128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CA6E01A0-2BBF-F43A-B5D1-9E31AF6BC972}"/>
              </a:ext>
            </a:extLst>
          </p:cNvPr>
          <p:cNvSpPr/>
          <p:nvPr/>
        </p:nvSpPr>
        <p:spPr>
          <a:xfrm>
            <a:off x="4572000" y="0"/>
            <a:ext cx="4572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4769680"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4769681" y="134228"/>
            <a:ext cx="4164458" cy="298014"/>
          </a:xfrm>
        </p:spPr>
        <p:txBody>
          <a:bodyPr anchor="ctr"/>
          <a:lstStyle>
            <a:lvl1pPr marL="0" indent="0">
              <a:buNone/>
              <a:defRPr sz="1500" b="1">
                <a:solidFill>
                  <a:schemeClr val="tx1"/>
                </a:solidFill>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4769680" y="432242"/>
            <a:ext cx="4185560" cy="329786"/>
          </a:xfrm>
        </p:spPr>
        <p:txBody>
          <a:bodyPr/>
          <a:lstStyle>
            <a:lvl1pPr marL="0" indent="0">
              <a:spcBef>
                <a:spcPts val="0"/>
              </a:spcBef>
              <a:spcAft>
                <a:spcPts val="0"/>
              </a:spcAft>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16419" y="434621"/>
            <a:ext cx="415294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16419" y="134228"/>
            <a:ext cx="415294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86038438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2952001" y="1086314"/>
            <a:ext cx="6192000" cy="3245925"/>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3857625" y="1169658"/>
            <a:ext cx="4381500" cy="2828925"/>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91621778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43555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8" y="1013423"/>
            <a:ext cx="4355581"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5782539" y="898130"/>
            <a:ext cx="2322000" cy="3590865"/>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6170709" y="966472"/>
            <a:ext cx="1543050" cy="333756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21887345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25376504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Inside - White/title/body text">
  <p:cSld name="Inside - White/title/body text">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a:stretch/>
        </p:blipFill>
        <p:spPr>
          <a:xfrm>
            <a:off x="0" y="644"/>
            <a:ext cx="9143994" cy="5142213"/>
          </a:xfrm>
          <a:prstGeom prst="rect">
            <a:avLst/>
          </a:prstGeom>
          <a:noFill/>
          <a:ln>
            <a:noFill/>
          </a:ln>
        </p:spPr>
      </p:pic>
      <p:sp>
        <p:nvSpPr>
          <p:cNvPr id="11" name="Google Shape;11;p2"/>
          <p:cNvSpPr txBox="1">
            <a:spLocks noGrp="1"/>
          </p:cNvSpPr>
          <p:nvPr>
            <p:ph type="title"/>
          </p:nvPr>
        </p:nvSpPr>
        <p:spPr>
          <a:xfrm>
            <a:off x="354650" y="292625"/>
            <a:ext cx="8434800" cy="3936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SzPts val="1900"/>
              <a:buNone/>
              <a:defRPr>
                <a:latin typeface="Arial"/>
                <a:ea typeface="Arial"/>
                <a:cs typeface="Arial"/>
                <a:sym typeface="Arial"/>
              </a:defRPr>
            </a:lvl1pPr>
            <a:lvl2pPr lvl="1" algn="l">
              <a:lnSpc>
                <a:spcPct val="100000"/>
              </a:lnSpc>
              <a:spcBef>
                <a:spcPts val="0"/>
              </a:spcBef>
              <a:spcAft>
                <a:spcPts val="0"/>
              </a:spcAft>
              <a:buSzPts val="1900"/>
              <a:buNone/>
              <a:defRPr/>
            </a:lvl2pPr>
            <a:lvl3pPr lvl="2" algn="l">
              <a:lnSpc>
                <a:spcPct val="100000"/>
              </a:lnSpc>
              <a:spcBef>
                <a:spcPts val="0"/>
              </a:spcBef>
              <a:spcAft>
                <a:spcPts val="0"/>
              </a:spcAft>
              <a:buSzPts val="1900"/>
              <a:buNone/>
              <a:defRPr/>
            </a:lvl3pPr>
            <a:lvl4pPr lvl="3" algn="l">
              <a:lnSpc>
                <a:spcPct val="100000"/>
              </a:lnSpc>
              <a:spcBef>
                <a:spcPts val="0"/>
              </a:spcBef>
              <a:spcAft>
                <a:spcPts val="0"/>
              </a:spcAft>
              <a:buSzPts val="1900"/>
              <a:buNone/>
              <a:defRPr/>
            </a:lvl4pPr>
            <a:lvl5pPr lvl="4" algn="l">
              <a:lnSpc>
                <a:spcPct val="100000"/>
              </a:lnSpc>
              <a:spcBef>
                <a:spcPts val="0"/>
              </a:spcBef>
              <a:spcAft>
                <a:spcPts val="0"/>
              </a:spcAft>
              <a:buSzPts val="1900"/>
              <a:buNone/>
              <a:defRPr/>
            </a:lvl5pPr>
            <a:lvl6pPr lvl="5" algn="l">
              <a:lnSpc>
                <a:spcPct val="100000"/>
              </a:lnSpc>
              <a:spcBef>
                <a:spcPts val="0"/>
              </a:spcBef>
              <a:spcAft>
                <a:spcPts val="0"/>
              </a:spcAft>
              <a:buSzPts val="1900"/>
              <a:buNone/>
              <a:defRPr/>
            </a:lvl6pPr>
            <a:lvl7pPr lvl="6" algn="l">
              <a:lnSpc>
                <a:spcPct val="100000"/>
              </a:lnSpc>
              <a:spcBef>
                <a:spcPts val="0"/>
              </a:spcBef>
              <a:spcAft>
                <a:spcPts val="0"/>
              </a:spcAft>
              <a:buSzPts val="1900"/>
              <a:buNone/>
              <a:defRPr/>
            </a:lvl7pPr>
            <a:lvl8pPr lvl="7" algn="l">
              <a:lnSpc>
                <a:spcPct val="100000"/>
              </a:lnSpc>
              <a:spcBef>
                <a:spcPts val="0"/>
              </a:spcBef>
              <a:spcAft>
                <a:spcPts val="0"/>
              </a:spcAft>
              <a:buSzPts val="1900"/>
              <a:buNone/>
              <a:defRPr/>
            </a:lvl8pPr>
            <a:lvl9pPr lvl="8" algn="l">
              <a:lnSpc>
                <a:spcPct val="100000"/>
              </a:lnSpc>
              <a:spcBef>
                <a:spcPts val="0"/>
              </a:spcBef>
              <a:spcAft>
                <a:spcPts val="0"/>
              </a:spcAft>
              <a:buSzPts val="1900"/>
              <a:buNone/>
              <a:defRPr/>
            </a:lvl9pPr>
          </a:lstStyle>
          <a:p>
            <a:endParaRPr/>
          </a:p>
        </p:txBody>
      </p:sp>
      <p:sp>
        <p:nvSpPr>
          <p:cNvPr id="12" name="Google Shape;12;p2"/>
          <p:cNvSpPr/>
          <p:nvPr/>
        </p:nvSpPr>
        <p:spPr>
          <a:xfrm>
            <a:off x="354650" y="4966350"/>
            <a:ext cx="5064000" cy="1848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US" sz="500" b="0" i="0" u="none" strike="noStrike" cap="none">
                <a:solidFill>
                  <a:srgbClr val="888888"/>
                </a:solidFill>
                <a:latin typeface="Arial"/>
                <a:ea typeface="Arial"/>
                <a:cs typeface="Arial"/>
                <a:sym typeface="Arial"/>
              </a:rPr>
              <a:t>© 2023 Nielsen Consumer LLC. All Rights Reserved.</a:t>
            </a:r>
            <a:endParaRPr sz="500" b="0" i="0" u="none" strike="noStrike" cap="none">
              <a:solidFill>
                <a:srgbClr val="888888"/>
              </a:solidFill>
              <a:latin typeface="Arial"/>
              <a:ea typeface="Arial"/>
              <a:cs typeface="Arial"/>
              <a:sym typeface="Arial"/>
            </a:endParaRPr>
          </a:p>
        </p:txBody>
      </p:sp>
      <p:sp>
        <p:nvSpPr>
          <p:cNvPr id="13" name="Google Shape;13;p2"/>
          <p:cNvSpPr txBox="1">
            <a:spLocks noGrp="1"/>
          </p:cNvSpPr>
          <p:nvPr>
            <p:ph type="subTitle" idx="1"/>
          </p:nvPr>
        </p:nvSpPr>
        <p:spPr>
          <a:xfrm>
            <a:off x="354650" y="620550"/>
            <a:ext cx="8434800" cy="3843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chemeClr val="accent5"/>
              </a:buClr>
              <a:buSzPts val="1500"/>
              <a:buNone/>
              <a:defRPr sz="1500">
                <a:solidFill>
                  <a:schemeClr val="accent5"/>
                </a:solidFill>
                <a:latin typeface="Arial"/>
                <a:ea typeface="Arial"/>
                <a:cs typeface="Arial"/>
                <a:sym typeface="Arial"/>
              </a:defRPr>
            </a:lvl1pPr>
            <a:lvl2pPr lvl="1" algn="l">
              <a:lnSpc>
                <a:spcPct val="100000"/>
              </a:lnSpc>
              <a:spcBef>
                <a:spcPts val="0"/>
              </a:spcBef>
              <a:spcAft>
                <a:spcPts val="0"/>
              </a:spcAft>
              <a:buClr>
                <a:schemeClr val="accent5"/>
              </a:buClr>
              <a:buSzPts val="1400"/>
              <a:buNone/>
              <a:defRPr sz="1400">
                <a:solidFill>
                  <a:schemeClr val="accent5"/>
                </a:solidFill>
              </a:defRPr>
            </a:lvl2pPr>
            <a:lvl3pPr lvl="2" algn="l">
              <a:lnSpc>
                <a:spcPct val="100000"/>
              </a:lnSpc>
              <a:spcBef>
                <a:spcPts val="0"/>
              </a:spcBef>
              <a:spcAft>
                <a:spcPts val="0"/>
              </a:spcAft>
              <a:buClr>
                <a:schemeClr val="accent5"/>
              </a:buClr>
              <a:buSzPts val="1400"/>
              <a:buNone/>
              <a:defRPr sz="1400">
                <a:solidFill>
                  <a:schemeClr val="accent5"/>
                </a:solidFill>
              </a:defRPr>
            </a:lvl3pPr>
            <a:lvl4pPr lvl="3" algn="l">
              <a:lnSpc>
                <a:spcPct val="100000"/>
              </a:lnSpc>
              <a:spcBef>
                <a:spcPts val="0"/>
              </a:spcBef>
              <a:spcAft>
                <a:spcPts val="0"/>
              </a:spcAft>
              <a:buClr>
                <a:schemeClr val="accent5"/>
              </a:buClr>
              <a:buSzPts val="1400"/>
              <a:buNone/>
              <a:defRPr sz="1400">
                <a:solidFill>
                  <a:schemeClr val="accent5"/>
                </a:solidFill>
              </a:defRPr>
            </a:lvl4pPr>
            <a:lvl5pPr lvl="4" algn="l">
              <a:lnSpc>
                <a:spcPct val="100000"/>
              </a:lnSpc>
              <a:spcBef>
                <a:spcPts val="0"/>
              </a:spcBef>
              <a:spcAft>
                <a:spcPts val="0"/>
              </a:spcAft>
              <a:buClr>
                <a:schemeClr val="accent5"/>
              </a:buClr>
              <a:buSzPts val="1400"/>
              <a:buNone/>
              <a:defRPr sz="1400">
                <a:solidFill>
                  <a:schemeClr val="accent5"/>
                </a:solidFill>
              </a:defRPr>
            </a:lvl5pPr>
            <a:lvl6pPr lvl="5" algn="l">
              <a:lnSpc>
                <a:spcPct val="100000"/>
              </a:lnSpc>
              <a:spcBef>
                <a:spcPts val="0"/>
              </a:spcBef>
              <a:spcAft>
                <a:spcPts val="0"/>
              </a:spcAft>
              <a:buClr>
                <a:schemeClr val="accent5"/>
              </a:buClr>
              <a:buSzPts val="1400"/>
              <a:buNone/>
              <a:defRPr sz="1400">
                <a:solidFill>
                  <a:schemeClr val="accent5"/>
                </a:solidFill>
              </a:defRPr>
            </a:lvl6pPr>
            <a:lvl7pPr lvl="6" algn="l">
              <a:lnSpc>
                <a:spcPct val="100000"/>
              </a:lnSpc>
              <a:spcBef>
                <a:spcPts val="0"/>
              </a:spcBef>
              <a:spcAft>
                <a:spcPts val="0"/>
              </a:spcAft>
              <a:buClr>
                <a:schemeClr val="accent5"/>
              </a:buClr>
              <a:buSzPts val="1400"/>
              <a:buNone/>
              <a:defRPr sz="1400">
                <a:solidFill>
                  <a:schemeClr val="accent5"/>
                </a:solidFill>
              </a:defRPr>
            </a:lvl7pPr>
            <a:lvl8pPr lvl="7" algn="l">
              <a:lnSpc>
                <a:spcPct val="100000"/>
              </a:lnSpc>
              <a:spcBef>
                <a:spcPts val="0"/>
              </a:spcBef>
              <a:spcAft>
                <a:spcPts val="0"/>
              </a:spcAft>
              <a:buClr>
                <a:schemeClr val="accent5"/>
              </a:buClr>
              <a:buSzPts val="1400"/>
              <a:buNone/>
              <a:defRPr sz="1400">
                <a:solidFill>
                  <a:schemeClr val="accent5"/>
                </a:solidFill>
              </a:defRPr>
            </a:lvl8pPr>
            <a:lvl9pPr lvl="8" algn="l">
              <a:lnSpc>
                <a:spcPct val="100000"/>
              </a:lnSpc>
              <a:spcBef>
                <a:spcPts val="0"/>
              </a:spcBef>
              <a:spcAft>
                <a:spcPts val="0"/>
              </a:spcAft>
              <a:buClr>
                <a:schemeClr val="accent5"/>
              </a:buClr>
              <a:buSzPts val="1400"/>
              <a:buNone/>
              <a:defRPr sz="1400">
                <a:solidFill>
                  <a:schemeClr val="accent5"/>
                </a:solidFill>
              </a:defRPr>
            </a:lvl9pPr>
          </a:lstStyle>
          <a:p>
            <a:endParaRPr/>
          </a:p>
        </p:txBody>
      </p:sp>
      <p:sp>
        <p:nvSpPr>
          <p:cNvPr id="14" name="Google Shape;14;p2"/>
          <p:cNvSpPr txBox="1">
            <a:spLocks noGrp="1"/>
          </p:cNvSpPr>
          <p:nvPr>
            <p:ph type="sldNum" idx="12"/>
          </p:nvPr>
        </p:nvSpPr>
        <p:spPr>
          <a:xfrm>
            <a:off x="8396258" y="4749892"/>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
        <p:nvSpPr>
          <p:cNvPr id="15" name="Google Shape;15;p2"/>
          <p:cNvSpPr txBox="1">
            <a:spLocks noGrp="1"/>
          </p:cNvSpPr>
          <p:nvPr>
            <p:ph type="subTitle" idx="2"/>
          </p:nvPr>
        </p:nvSpPr>
        <p:spPr>
          <a:xfrm>
            <a:off x="354650" y="4857012"/>
            <a:ext cx="8159100" cy="184800"/>
          </a:xfrm>
          <a:prstGeom prst="rect">
            <a:avLst/>
          </a:prstGeom>
          <a:noFill/>
          <a:ln>
            <a:noFill/>
          </a:ln>
        </p:spPr>
        <p:txBody>
          <a:bodyPr spcFirstLastPara="1" wrap="square" lIns="0" tIns="91425" rIns="0" bIns="91425" anchor="b" anchorCtr="0">
            <a:noAutofit/>
          </a:bodyPr>
          <a:lstStyle>
            <a:lvl1pPr lvl="0" algn="l">
              <a:lnSpc>
                <a:spcPct val="100000"/>
              </a:lnSpc>
              <a:spcBef>
                <a:spcPts val="0"/>
              </a:spcBef>
              <a:spcAft>
                <a:spcPts val="0"/>
              </a:spcAft>
              <a:buClr>
                <a:schemeClr val="accent5"/>
              </a:buClr>
              <a:buSzPts val="600"/>
              <a:buNone/>
              <a:defRPr sz="600">
                <a:solidFill>
                  <a:schemeClr val="accent5"/>
                </a:solidFill>
                <a:latin typeface="Arial"/>
                <a:ea typeface="Arial"/>
                <a:cs typeface="Arial"/>
                <a:sym typeface="Arial"/>
              </a:defRPr>
            </a:lvl1pPr>
            <a:lvl2pPr lvl="1" algn="l">
              <a:lnSpc>
                <a:spcPct val="100000"/>
              </a:lnSpc>
              <a:spcBef>
                <a:spcPts val="0"/>
              </a:spcBef>
              <a:spcAft>
                <a:spcPts val="0"/>
              </a:spcAft>
              <a:buClr>
                <a:schemeClr val="accent5"/>
              </a:buClr>
              <a:buSzPts val="600"/>
              <a:buNone/>
              <a:defRPr sz="600">
                <a:solidFill>
                  <a:schemeClr val="accent5"/>
                </a:solidFill>
              </a:defRPr>
            </a:lvl2pPr>
            <a:lvl3pPr lvl="2" algn="l">
              <a:lnSpc>
                <a:spcPct val="100000"/>
              </a:lnSpc>
              <a:spcBef>
                <a:spcPts val="0"/>
              </a:spcBef>
              <a:spcAft>
                <a:spcPts val="0"/>
              </a:spcAft>
              <a:buClr>
                <a:schemeClr val="accent5"/>
              </a:buClr>
              <a:buSzPts val="600"/>
              <a:buNone/>
              <a:defRPr sz="600">
                <a:solidFill>
                  <a:schemeClr val="accent5"/>
                </a:solidFill>
              </a:defRPr>
            </a:lvl3pPr>
            <a:lvl4pPr lvl="3" algn="l">
              <a:lnSpc>
                <a:spcPct val="100000"/>
              </a:lnSpc>
              <a:spcBef>
                <a:spcPts val="0"/>
              </a:spcBef>
              <a:spcAft>
                <a:spcPts val="0"/>
              </a:spcAft>
              <a:buClr>
                <a:schemeClr val="accent5"/>
              </a:buClr>
              <a:buSzPts val="600"/>
              <a:buNone/>
              <a:defRPr sz="600">
                <a:solidFill>
                  <a:schemeClr val="accent5"/>
                </a:solidFill>
              </a:defRPr>
            </a:lvl4pPr>
            <a:lvl5pPr lvl="4" algn="l">
              <a:lnSpc>
                <a:spcPct val="100000"/>
              </a:lnSpc>
              <a:spcBef>
                <a:spcPts val="0"/>
              </a:spcBef>
              <a:spcAft>
                <a:spcPts val="0"/>
              </a:spcAft>
              <a:buClr>
                <a:schemeClr val="accent5"/>
              </a:buClr>
              <a:buSzPts val="600"/>
              <a:buNone/>
              <a:defRPr sz="600">
                <a:solidFill>
                  <a:schemeClr val="accent5"/>
                </a:solidFill>
              </a:defRPr>
            </a:lvl5pPr>
            <a:lvl6pPr lvl="5" algn="l">
              <a:lnSpc>
                <a:spcPct val="100000"/>
              </a:lnSpc>
              <a:spcBef>
                <a:spcPts val="0"/>
              </a:spcBef>
              <a:spcAft>
                <a:spcPts val="0"/>
              </a:spcAft>
              <a:buClr>
                <a:schemeClr val="accent5"/>
              </a:buClr>
              <a:buSzPts val="600"/>
              <a:buNone/>
              <a:defRPr sz="600">
                <a:solidFill>
                  <a:schemeClr val="accent5"/>
                </a:solidFill>
              </a:defRPr>
            </a:lvl6pPr>
            <a:lvl7pPr lvl="6" algn="l">
              <a:lnSpc>
                <a:spcPct val="100000"/>
              </a:lnSpc>
              <a:spcBef>
                <a:spcPts val="0"/>
              </a:spcBef>
              <a:spcAft>
                <a:spcPts val="0"/>
              </a:spcAft>
              <a:buClr>
                <a:schemeClr val="accent5"/>
              </a:buClr>
              <a:buSzPts val="600"/>
              <a:buNone/>
              <a:defRPr sz="600">
                <a:solidFill>
                  <a:schemeClr val="accent5"/>
                </a:solidFill>
              </a:defRPr>
            </a:lvl7pPr>
            <a:lvl8pPr lvl="7" algn="l">
              <a:lnSpc>
                <a:spcPct val="100000"/>
              </a:lnSpc>
              <a:spcBef>
                <a:spcPts val="0"/>
              </a:spcBef>
              <a:spcAft>
                <a:spcPts val="0"/>
              </a:spcAft>
              <a:buClr>
                <a:schemeClr val="accent5"/>
              </a:buClr>
              <a:buSzPts val="600"/>
              <a:buNone/>
              <a:defRPr sz="600">
                <a:solidFill>
                  <a:schemeClr val="accent5"/>
                </a:solidFill>
              </a:defRPr>
            </a:lvl8pPr>
            <a:lvl9pPr lvl="8" algn="l">
              <a:lnSpc>
                <a:spcPct val="100000"/>
              </a:lnSpc>
              <a:spcBef>
                <a:spcPts val="0"/>
              </a:spcBef>
              <a:spcAft>
                <a:spcPts val="0"/>
              </a:spcAft>
              <a:buClr>
                <a:schemeClr val="accent5"/>
              </a:buClr>
              <a:buSzPts val="600"/>
              <a:buNone/>
              <a:defRPr sz="600">
                <a:solidFill>
                  <a:schemeClr val="accent5"/>
                </a:solidFill>
              </a:defRPr>
            </a:lvl9pPr>
          </a:lstStyle>
          <a:p>
            <a:endParaRPr/>
          </a:p>
        </p:txBody>
      </p:sp>
      <p:pic>
        <p:nvPicPr>
          <p:cNvPr id="16" name="Google Shape;16;p2"/>
          <p:cNvPicPr preferRelativeResize="0"/>
          <p:nvPr/>
        </p:nvPicPr>
        <p:blipFill rotWithShape="1">
          <a:blip r:embed="rId3">
            <a:alphaModFix/>
          </a:blip>
          <a:srcRect/>
          <a:stretch/>
        </p:blipFill>
        <p:spPr>
          <a:xfrm>
            <a:off x="1" y="-23875"/>
            <a:ext cx="354650" cy="355945"/>
          </a:xfrm>
          <a:prstGeom prst="rect">
            <a:avLst/>
          </a:prstGeom>
          <a:noFill/>
          <a:ln>
            <a:noFill/>
          </a:ln>
        </p:spPr>
      </p:pic>
    </p:spTree>
    <p:extLst>
      <p:ext uri="{BB962C8B-B14F-4D97-AF65-F5344CB8AC3E}">
        <p14:creationId xmlns:p14="http://schemas.microsoft.com/office/powerpoint/2010/main" val="336475103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0" y="0"/>
            <a:ext cx="4728869" cy="5118848"/>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582729937"/>
      </p:ext>
    </p:extLst>
  </p:cSld>
  <p:clrMapOvr>
    <a:overrideClrMapping bg1="lt1" tx1="dk1" bg2="lt2" tx2="dk2" accent1="accent1" accent2="accent2" accent3="accent3" accent4="accent4" accent5="accent5" accent6="accent6" hlink="hlink" folHlink="folHlink"/>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Q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3218199" y="4844229"/>
            <a:ext cx="1125141" cy="273844"/>
          </a:xfrm>
          <a:solidFill>
            <a:schemeClr val="bg1"/>
          </a:solidFill>
        </p:spPr>
        <p:txBody>
          <a:bodyPr lIns="91440" anchor="ctr"/>
          <a:lstStyle>
            <a:lvl1pPr marL="0" indent="0" algn="l">
              <a:lnSpc>
                <a:spcPct val="80000"/>
              </a:lnSpc>
              <a:buNone/>
              <a:defRPr sz="675" b="0">
                <a:solidFill>
                  <a:schemeClr val="tx1"/>
                </a:solidFill>
              </a:defRPr>
            </a:lvl1pPr>
          </a:lstStyle>
          <a:p>
            <a:r>
              <a:rPr lang="en-US"/>
              <a:t>Partner/</a:t>
            </a:r>
            <a:br>
              <a:rPr lang="en-US"/>
            </a:br>
            <a:r>
              <a:rPr lang="en-US"/>
              <a:t>client logo</a:t>
            </a:r>
          </a:p>
        </p:txBody>
      </p:sp>
    </p:spTree>
    <p:extLst>
      <p:ext uri="{BB962C8B-B14F-4D97-AF65-F5344CB8AC3E}">
        <p14:creationId xmlns:p14="http://schemas.microsoft.com/office/powerpoint/2010/main" val="2171815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3179"/>
            <a:ext cx="4717443" cy="5100247"/>
          </a:xfrm>
          <a:prstGeom prst="rect">
            <a:avLst/>
          </a:prstGeom>
        </p:spPr>
      </p:pic>
      <p:sp>
        <p:nvSpPr>
          <p:cNvPr id="10" name="Google Shape;10;p2"/>
          <p:cNvSpPr txBox="1">
            <a:spLocks noGrp="1"/>
          </p:cNvSpPr>
          <p:nvPr>
            <p:ph type="ctrTitle"/>
          </p:nvPr>
        </p:nvSpPr>
        <p:spPr>
          <a:xfrm>
            <a:off x="354651" y="429625"/>
            <a:ext cx="6655750" cy="16965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33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11" name="Google Shape;11;p2"/>
          <p:cNvSpPr txBox="1">
            <a:spLocks noGrp="1"/>
          </p:cNvSpPr>
          <p:nvPr>
            <p:ph type="subTitle" idx="1"/>
          </p:nvPr>
        </p:nvSpPr>
        <p:spPr>
          <a:xfrm>
            <a:off x="354651" y="2086775"/>
            <a:ext cx="6655750" cy="7926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15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1800">
                <a:solidFill>
                  <a:schemeClr val="lt2"/>
                </a:solidFill>
                <a:latin typeface="Montserrat"/>
                <a:ea typeface="Montserrat"/>
                <a:cs typeface="Montserrat"/>
                <a:sym typeface="Montserrat"/>
              </a:defRPr>
            </a:lvl9pPr>
          </a:lstStyle>
          <a:p>
            <a:r>
              <a:rPr lang="en-US"/>
              <a:t>Click to edit Master subtitle style</a:t>
            </a:r>
            <a:endParaRPr/>
          </a:p>
        </p:txBody>
      </p:sp>
      <p:sp>
        <p:nvSpPr>
          <p:cNvPr id="16" name="Google Shape;16;p2"/>
          <p:cNvSpPr txBox="1">
            <a:spLocks noGrp="1"/>
          </p:cNvSpPr>
          <p:nvPr>
            <p:ph type="subTitle" idx="4"/>
          </p:nvPr>
        </p:nvSpPr>
        <p:spPr>
          <a:xfrm>
            <a:off x="354650" y="3523131"/>
            <a:ext cx="3553962" cy="524509"/>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200">
                <a:solidFill>
                  <a:schemeClr val="bg1"/>
                </a:solidFill>
                <a:latin typeface="+mn-lt"/>
              </a:defRPr>
            </a:lvl1pPr>
            <a:lvl2pPr lvl="1" rtl="0">
              <a:lnSpc>
                <a:spcPct val="100000"/>
              </a:lnSpc>
              <a:spcBef>
                <a:spcPts val="0"/>
              </a:spcBef>
              <a:spcAft>
                <a:spcPts val="0"/>
              </a:spcAft>
              <a:buClr>
                <a:schemeClr val="lt2"/>
              </a:buClr>
              <a:buSzPts val="1000"/>
              <a:buNone/>
              <a:defRPr sz="1000"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732377180"/>
      </p:ext>
    </p:extLst>
  </p:cSld>
  <p:clrMapOvr>
    <a:masterClrMapping/>
  </p:clrMapOvr>
  <p:hf sldNum="0"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41_Custom Layou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7C5FEE44-7A06-1DEF-AB6C-61EF67883E6B}"/>
              </a:ext>
            </a:extLst>
          </p:cNvPr>
          <p:cNvSpPr>
            <a:spLocks noGrp="1"/>
          </p:cNvSpPr>
          <p:nvPr>
            <p:ph type="sldNum" sz="quarter" idx="4"/>
          </p:nvPr>
        </p:nvSpPr>
        <p:spPr>
          <a:xfrm>
            <a:off x="8251177" y="4706952"/>
            <a:ext cx="676406" cy="273844"/>
          </a:xfrm>
          <a:prstGeom prst="rect">
            <a:avLst/>
          </a:prstGeom>
        </p:spPr>
        <p:txBody>
          <a:bodyPr vert="horz" lIns="0" tIns="45720" rIns="0" bIns="45720" rtlCol="0" anchor="ctr"/>
          <a:lstStyle>
            <a:defPPr>
              <a:defRPr lang="en-US"/>
            </a:defPPr>
            <a:lvl1pPr marL="0" algn="r" defTabSz="685800" rtl="0" eaLnBrk="1" latinLnBrk="0" hangingPunct="1">
              <a:defRPr sz="750" kern="1200">
                <a:solidFill>
                  <a:schemeClr val="tx2"/>
                </a:solidFill>
                <a:latin typeface="HK Grotesk" pitchFamily="50"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03EF4E2-7A7A-0548-85F1-5479B7C9E1B2}" type="slidenum">
              <a:rPr lang="en-US" smtClean="0"/>
              <a:pPr/>
              <a:t>‹#›</a:t>
            </a:fld>
            <a:endParaRPr lang="en-US"/>
          </a:p>
        </p:txBody>
      </p:sp>
      <p:cxnSp>
        <p:nvCxnSpPr>
          <p:cNvPr id="4" name="Straight Connector 3">
            <a:extLst>
              <a:ext uri="{FF2B5EF4-FFF2-40B4-BE49-F238E27FC236}">
                <a16:creationId xmlns:a16="http://schemas.microsoft.com/office/drawing/2014/main" id="{127B00EB-9EA7-2466-4E2E-EBBA2B6C3154}"/>
              </a:ext>
            </a:extLst>
          </p:cNvPr>
          <p:cNvCxnSpPr>
            <a:cxnSpLocks/>
          </p:cNvCxnSpPr>
          <p:nvPr/>
        </p:nvCxnSpPr>
        <p:spPr>
          <a:xfrm>
            <a:off x="216419" y="4645856"/>
            <a:ext cx="8711164" cy="0"/>
          </a:xfrm>
          <a:prstGeom prst="line">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9519D80-AC2A-4485-6807-148CB0FC8017}"/>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228600" y="4736777"/>
            <a:ext cx="647703" cy="323852"/>
          </a:xfrm>
          <a:prstGeom prst="rect">
            <a:avLst/>
          </a:prstGeom>
        </p:spPr>
      </p:pic>
      <p:sp>
        <p:nvSpPr>
          <p:cNvPr id="6" name="TextBox 5">
            <a:extLst>
              <a:ext uri="{FF2B5EF4-FFF2-40B4-BE49-F238E27FC236}">
                <a16:creationId xmlns:a16="http://schemas.microsoft.com/office/drawing/2014/main" id="{39230C9C-4396-8CEB-EBE5-0F6FA4E9CC01}"/>
              </a:ext>
            </a:extLst>
          </p:cNvPr>
          <p:cNvSpPr txBox="1"/>
          <p:nvPr/>
        </p:nvSpPr>
        <p:spPr>
          <a:xfrm>
            <a:off x="7383052" y="4980796"/>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2"/>
                </a:solidFill>
                <a:latin typeface="HK Grotesk" pitchFamily="50" charset="0"/>
              </a:rPr>
              <a:t>© 2023 Nielsen Consumer LLC. All Rights Reserved.</a:t>
            </a:r>
          </a:p>
        </p:txBody>
      </p:sp>
    </p:spTree>
    <p:extLst>
      <p:ext uri="{BB962C8B-B14F-4D97-AF65-F5344CB8AC3E}">
        <p14:creationId xmlns:p14="http://schemas.microsoft.com/office/powerpoint/2010/main" val="1868739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4612" y="-1"/>
            <a:ext cx="4717443" cy="5100247"/>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354651" y="429625"/>
            <a:ext cx="5741350" cy="16965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33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3000">
                <a:solidFill>
                  <a:srgbClr val="FFFFFF"/>
                </a:solidFill>
              </a:defRPr>
            </a:lvl2pPr>
            <a:lvl3pPr lvl="2" algn="ctr" rtl="0">
              <a:spcBef>
                <a:spcPts val="0"/>
              </a:spcBef>
              <a:spcAft>
                <a:spcPts val="0"/>
              </a:spcAft>
              <a:buClr>
                <a:srgbClr val="FFFFFF"/>
              </a:buClr>
              <a:buSzPts val="3000"/>
              <a:buNone/>
              <a:defRPr sz="3000">
                <a:solidFill>
                  <a:srgbClr val="FFFFFF"/>
                </a:solidFill>
              </a:defRPr>
            </a:lvl3pPr>
            <a:lvl4pPr lvl="3" algn="ctr" rtl="0">
              <a:spcBef>
                <a:spcPts val="0"/>
              </a:spcBef>
              <a:spcAft>
                <a:spcPts val="0"/>
              </a:spcAft>
              <a:buClr>
                <a:srgbClr val="FFFFFF"/>
              </a:buClr>
              <a:buSzPts val="3000"/>
              <a:buNone/>
              <a:defRPr sz="3000">
                <a:solidFill>
                  <a:srgbClr val="FFFFFF"/>
                </a:solidFill>
              </a:defRPr>
            </a:lvl4pPr>
            <a:lvl5pPr lvl="4" algn="ctr" rtl="0">
              <a:spcBef>
                <a:spcPts val="0"/>
              </a:spcBef>
              <a:spcAft>
                <a:spcPts val="0"/>
              </a:spcAft>
              <a:buClr>
                <a:srgbClr val="FFFFFF"/>
              </a:buClr>
              <a:buSzPts val="3000"/>
              <a:buNone/>
              <a:defRPr sz="3000">
                <a:solidFill>
                  <a:srgbClr val="FFFFFF"/>
                </a:solidFill>
              </a:defRPr>
            </a:lvl5pPr>
            <a:lvl6pPr lvl="5" algn="ctr" rtl="0">
              <a:spcBef>
                <a:spcPts val="0"/>
              </a:spcBef>
              <a:spcAft>
                <a:spcPts val="0"/>
              </a:spcAft>
              <a:buClr>
                <a:srgbClr val="FFFFFF"/>
              </a:buClr>
              <a:buSzPts val="3000"/>
              <a:buNone/>
              <a:defRPr sz="3000">
                <a:solidFill>
                  <a:srgbClr val="FFFFFF"/>
                </a:solidFill>
              </a:defRPr>
            </a:lvl6pPr>
            <a:lvl7pPr lvl="6" algn="ctr" rtl="0">
              <a:spcBef>
                <a:spcPts val="0"/>
              </a:spcBef>
              <a:spcAft>
                <a:spcPts val="0"/>
              </a:spcAft>
              <a:buClr>
                <a:srgbClr val="FFFFFF"/>
              </a:buClr>
              <a:buSzPts val="3000"/>
              <a:buNone/>
              <a:defRPr sz="3000">
                <a:solidFill>
                  <a:srgbClr val="FFFFFF"/>
                </a:solidFill>
              </a:defRPr>
            </a:lvl7pPr>
            <a:lvl8pPr lvl="7" algn="ctr" rtl="0">
              <a:spcBef>
                <a:spcPts val="0"/>
              </a:spcBef>
              <a:spcAft>
                <a:spcPts val="0"/>
              </a:spcAft>
              <a:buClr>
                <a:srgbClr val="FFFFFF"/>
              </a:buClr>
              <a:buSzPts val="3000"/>
              <a:buNone/>
              <a:defRPr sz="3000">
                <a:solidFill>
                  <a:srgbClr val="FFFFFF"/>
                </a:solidFill>
              </a:defRPr>
            </a:lvl8pPr>
            <a:lvl9pPr lvl="8" algn="ctr" rtl="0">
              <a:spcBef>
                <a:spcPts val="0"/>
              </a:spcBef>
              <a:spcAft>
                <a:spcPts val="0"/>
              </a:spcAft>
              <a:buClr>
                <a:srgbClr val="FFFFFF"/>
              </a:buClr>
              <a:buSzPts val="3000"/>
              <a:buNone/>
              <a:defRPr sz="3000">
                <a:solidFill>
                  <a:srgbClr val="FFFFFF"/>
                </a:solidFill>
              </a:defRPr>
            </a:lvl9pPr>
          </a:lstStyle>
          <a:p>
            <a:r>
              <a:rPr lang="en-US"/>
              <a:t>Click to edit Master title style</a:t>
            </a:r>
            <a:endParaRPr/>
          </a:p>
        </p:txBody>
      </p:sp>
      <p:sp>
        <p:nvSpPr>
          <p:cNvPr id="15" name="Google Shape;26;p3"/>
          <p:cNvSpPr txBox="1">
            <a:spLocks noGrp="1"/>
          </p:cNvSpPr>
          <p:nvPr>
            <p:ph type="subTitle" idx="4"/>
          </p:nvPr>
        </p:nvSpPr>
        <p:spPr>
          <a:xfrm>
            <a:off x="354650" y="3740138"/>
            <a:ext cx="5064000" cy="3075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500">
                <a:solidFill>
                  <a:schemeClr val="bg1"/>
                </a:solidFill>
                <a:latin typeface="+mn-lt"/>
              </a:defRPr>
            </a:lvl1pPr>
            <a:lvl2pPr lvl="1" rtl="0">
              <a:lnSpc>
                <a:spcPct val="100000"/>
              </a:lnSpc>
              <a:spcBef>
                <a:spcPts val="0"/>
              </a:spcBef>
              <a:spcAft>
                <a:spcPts val="0"/>
              </a:spcAft>
              <a:buClr>
                <a:schemeClr val="lt2"/>
              </a:buClr>
              <a:buSzPts val="1000"/>
              <a:buNone/>
              <a:defRPr sz="1000"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a:p>
        </p:txBody>
      </p:sp>
      <p:sp>
        <p:nvSpPr>
          <p:cNvPr id="11" name="TextBox 10">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05720666"/>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23271" y="0"/>
            <a:ext cx="4717443" cy="5100247"/>
          </a:xfrm>
          <a:prstGeom prst="rect">
            <a:avLst/>
          </a:prstGeom>
        </p:spPr>
      </p:pic>
      <p:sp>
        <p:nvSpPr>
          <p:cNvPr id="9" name="Title 1"/>
          <p:cNvSpPr>
            <a:spLocks noGrp="1"/>
          </p:cNvSpPr>
          <p:nvPr>
            <p:ph type="title" hasCustomPrompt="1"/>
          </p:nvPr>
        </p:nvSpPr>
        <p:spPr>
          <a:xfrm>
            <a:off x="1979453" y="1987550"/>
            <a:ext cx="6978810" cy="438912"/>
          </a:xfrm>
        </p:spPr>
        <p:txBody>
          <a:bodyPr wrap="square" anchor="t">
            <a:noAutofit/>
          </a:bodyPr>
          <a:lstStyle>
            <a:lvl1pPr algn="l">
              <a:defRPr sz="3300" b="1" cap="all">
                <a:solidFill>
                  <a:schemeClr val="bg1"/>
                </a:solidFill>
                <a:latin typeface="+mn-lt"/>
              </a:defRPr>
            </a:lvl1pPr>
          </a:lstStyle>
          <a:p>
            <a:r>
              <a:rPr lang="en-US"/>
              <a:t>Click to add title</a:t>
            </a:r>
          </a:p>
        </p:txBody>
      </p:sp>
      <p:sp>
        <p:nvSpPr>
          <p:cNvPr id="10" name="Text Placeholder 5"/>
          <p:cNvSpPr>
            <a:spLocks noGrp="1"/>
          </p:cNvSpPr>
          <p:nvPr>
            <p:ph type="body" sz="quarter" idx="10" hasCustomPrompt="1"/>
          </p:nvPr>
        </p:nvSpPr>
        <p:spPr>
          <a:xfrm>
            <a:off x="1981200" y="3087240"/>
            <a:ext cx="6976872" cy="533400"/>
          </a:xfrm>
        </p:spPr>
        <p:txBody>
          <a:bodyPr/>
          <a:lstStyle>
            <a:lvl1pPr marL="0" indent="0">
              <a:buNone/>
              <a:defRPr sz="1500" b="0" baseline="0">
                <a:solidFill>
                  <a:schemeClr val="bg1"/>
                </a:solidFill>
                <a:latin typeface="+mn-lt"/>
              </a:defRPr>
            </a:lvl1pPr>
            <a:lvl2pPr marL="450817" indent="0">
              <a:buNone/>
              <a:defRPr/>
            </a:lvl2pPr>
            <a:lvl3pPr marL="914333" indent="0">
              <a:buNone/>
              <a:defRPr/>
            </a:lvl3pPr>
            <a:lvl4pPr marL="1371498" indent="0">
              <a:buNone/>
              <a:defRPr/>
            </a:lvl4pPr>
            <a:lvl5pPr marL="1828664" indent="0">
              <a:buNone/>
              <a:defRPr/>
            </a:lvl5pPr>
          </a:lstStyle>
          <a:p>
            <a:pPr lvl="0"/>
            <a:r>
              <a:rPr lang="en-US"/>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0131561"/>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1627"/>
            <a:ext cx="4717443" cy="5100247"/>
          </a:xfrm>
          <a:prstGeom prst="rect">
            <a:avLst/>
          </a:prstGeom>
        </p:spPr>
      </p:pic>
      <p:sp>
        <p:nvSpPr>
          <p:cNvPr id="6" name="Google Shape;44;p5"/>
          <p:cNvSpPr txBox="1">
            <a:spLocks noGrp="1"/>
          </p:cNvSpPr>
          <p:nvPr>
            <p:ph type="ctrTitle"/>
          </p:nvPr>
        </p:nvSpPr>
        <p:spPr>
          <a:xfrm>
            <a:off x="354650" y="1619600"/>
            <a:ext cx="4120500" cy="1578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33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3000">
                <a:solidFill>
                  <a:srgbClr val="FFFFFF"/>
                </a:solidFill>
              </a:defRPr>
            </a:lvl2pPr>
            <a:lvl3pPr lvl="2" algn="ctr" rtl="0">
              <a:spcBef>
                <a:spcPts val="0"/>
              </a:spcBef>
              <a:spcAft>
                <a:spcPts val="0"/>
              </a:spcAft>
              <a:buClr>
                <a:srgbClr val="FFFFFF"/>
              </a:buClr>
              <a:buSzPts val="3000"/>
              <a:buNone/>
              <a:defRPr sz="3000">
                <a:solidFill>
                  <a:srgbClr val="FFFFFF"/>
                </a:solidFill>
              </a:defRPr>
            </a:lvl3pPr>
            <a:lvl4pPr lvl="3" algn="ctr" rtl="0">
              <a:spcBef>
                <a:spcPts val="0"/>
              </a:spcBef>
              <a:spcAft>
                <a:spcPts val="0"/>
              </a:spcAft>
              <a:buClr>
                <a:srgbClr val="FFFFFF"/>
              </a:buClr>
              <a:buSzPts val="3000"/>
              <a:buNone/>
              <a:defRPr sz="3000">
                <a:solidFill>
                  <a:srgbClr val="FFFFFF"/>
                </a:solidFill>
              </a:defRPr>
            </a:lvl4pPr>
            <a:lvl5pPr lvl="4" algn="ctr" rtl="0">
              <a:spcBef>
                <a:spcPts val="0"/>
              </a:spcBef>
              <a:spcAft>
                <a:spcPts val="0"/>
              </a:spcAft>
              <a:buClr>
                <a:srgbClr val="FFFFFF"/>
              </a:buClr>
              <a:buSzPts val="3000"/>
              <a:buNone/>
              <a:defRPr sz="3000">
                <a:solidFill>
                  <a:srgbClr val="FFFFFF"/>
                </a:solidFill>
              </a:defRPr>
            </a:lvl5pPr>
            <a:lvl6pPr lvl="5" algn="ctr" rtl="0">
              <a:spcBef>
                <a:spcPts val="0"/>
              </a:spcBef>
              <a:spcAft>
                <a:spcPts val="0"/>
              </a:spcAft>
              <a:buClr>
                <a:srgbClr val="FFFFFF"/>
              </a:buClr>
              <a:buSzPts val="3000"/>
              <a:buNone/>
              <a:defRPr sz="3000">
                <a:solidFill>
                  <a:srgbClr val="FFFFFF"/>
                </a:solidFill>
              </a:defRPr>
            </a:lvl6pPr>
            <a:lvl7pPr lvl="6" algn="ctr" rtl="0">
              <a:spcBef>
                <a:spcPts val="0"/>
              </a:spcBef>
              <a:spcAft>
                <a:spcPts val="0"/>
              </a:spcAft>
              <a:buClr>
                <a:srgbClr val="FFFFFF"/>
              </a:buClr>
              <a:buSzPts val="3000"/>
              <a:buNone/>
              <a:defRPr sz="3000">
                <a:solidFill>
                  <a:srgbClr val="FFFFFF"/>
                </a:solidFill>
              </a:defRPr>
            </a:lvl7pPr>
            <a:lvl8pPr lvl="7" algn="ctr" rtl="0">
              <a:spcBef>
                <a:spcPts val="0"/>
              </a:spcBef>
              <a:spcAft>
                <a:spcPts val="0"/>
              </a:spcAft>
              <a:buClr>
                <a:srgbClr val="FFFFFF"/>
              </a:buClr>
              <a:buSzPts val="3000"/>
              <a:buNone/>
              <a:defRPr sz="3000">
                <a:solidFill>
                  <a:srgbClr val="FFFFFF"/>
                </a:solidFill>
              </a:defRPr>
            </a:lvl8pPr>
            <a:lvl9pPr lvl="8" algn="ctr" rtl="0">
              <a:spcBef>
                <a:spcPts val="0"/>
              </a:spcBef>
              <a:spcAft>
                <a:spcPts val="0"/>
              </a:spcAft>
              <a:buClr>
                <a:srgbClr val="FFFFFF"/>
              </a:buClr>
              <a:buSzPts val="3000"/>
              <a:buNone/>
              <a:defRPr sz="3000">
                <a:solidFill>
                  <a:srgbClr val="FFFFFF"/>
                </a:solidFill>
              </a:defRPr>
            </a:lvl9pPr>
          </a:lstStyle>
          <a:p>
            <a:r>
              <a:rPr lang="en-US"/>
              <a:t>Click to edit Master title style</a:t>
            </a:r>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937233789"/>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4" name="Google Shape;66;p9"/>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18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a:p>
        </p:txBody>
      </p:sp>
      <p:sp>
        <p:nvSpPr>
          <p:cNvPr id="5" name="Google Shape;67;p9"/>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274307" lvl="0" indent="-274307" rtl="0">
              <a:spcBef>
                <a:spcPts val="0"/>
              </a:spcBef>
              <a:spcAft>
                <a:spcPts val="0"/>
              </a:spcAft>
              <a:buClr>
                <a:srgbClr val="FFFFFF"/>
              </a:buClr>
              <a:buSzPts val="1300"/>
              <a:buChar char="■"/>
              <a:defRPr sz="1050">
                <a:solidFill>
                  <a:schemeClr val="tx1"/>
                </a:solidFill>
                <a:latin typeface="+mn-lt"/>
              </a:defRPr>
            </a:lvl1pPr>
            <a:lvl2pPr marL="914355" lvl="1" indent="-304786" rtl="0">
              <a:spcBef>
                <a:spcPts val="1600"/>
              </a:spcBef>
              <a:spcAft>
                <a:spcPts val="0"/>
              </a:spcAft>
              <a:buClr>
                <a:srgbClr val="FFFFFF"/>
              </a:buClr>
              <a:buSzPts val="1200"/>
              <a:buChar char="⎼"/>
              <a:defRPr>
                <a:solidFill>
                  <a:srgbClr val="FFFFFF"/>
                </a:solidFill>
              </a:defRPr>
            </a:lvl2pPr>
            <a:lvl3pPr marL="1371532" lvl="2" indent="-292086" rtl="0">
              <a:spcBef>
                <a:spcPts val="1600"/>
              </a:spcBef>
              <a:spcAft>
                <a:spcPts val="0"/>
              </a:spcAft>
              <a:buClr>
                <a:srgbClr val="FFFFFF"/>
              </a:buClr>
              <a:buSzPts val="1000"/>
              <a:buChar char="○"/>
              <a:defRPr>
                <a:solidFill>
                  <a:srgbClr val="FFFFFF"/>
                </a:solidFill>
              </a:defRPr>
            </a:lvl3pPr>
            <a:lvl4pPr marL="1828709" lvl="3" indent="-292086" rtl="0">
              <a:spcBef>
                <a:spcPts val="1600"/>
              </a:spcBef>
              <a:spcAft>
                <a:spcPts val="0"/>
              </a:spcAft>
              <a:buClr>
                <a:srgbClr val="FFFFFF"/>
              </a:buClr>
              <a:buSzPts val="1000"/>
              <a:buChar char="■"/>
              <a:defRPr>
                <a:solidFill>
                  <a:srgbClr val="FFFFFF"/>
                </a:solidFill>
              </a:defRPr>
            </a:lvl4pPr>
            <a:lvl5pPr marL="2285886" lvl="4" indent="-292086" rtl="0">
              <a:spcBef>
                <a:spcPts val="1600"/>
              </a:spcBef>
              <a:spcAft>
                <a:spcPts val="0"/>
              </a:spcAft>
              <a:buClr>
                <a:srgbClr val="FFFFFF"/>
              </a:buClr>
              <a:buSzPts val="1000"/>
              <a:buChar char="⎼"/>
              <a:defRPr>
                <a:solidFill>
                  <a:srgbClr val="FFFFFF"/>
                </a:solidFill>
              </a:defRPr>
            </a:lvl5pPr>
            <a:lvl6pPr marL="2743064" lvl="5" indent="-292086" rtl="0">
              <a:spcBef>
                <a:spcPts val="1600"/>
              </a:spcBef>
              <a:spcAft>
                <a:spcPts val="0"/>
              </a:spcAft>
              <a:buClr>
                <a:srgbClr val="FFFFFF"/>
              </a:buClr>
              <a:buSzPts val="1000"/>
              <a:buChar char="○"/>
              <a:defRPr>
                <a:solidFill>
                  <a:srgbClr val="FFFFFF"/>
                </a:solidFill>
              </a:defRPr>
            </a:lvl6pPr>
            <a:lvl7pPr marL="3200240" lvl="6" indent="-292086" rtl="0">
              <a:spcBef>
                <a:spcPts val="1600"/>
              </a:spcBef>
              <a:spcAft>
                <a:spcPts val="0"/>
              </a:spcAft>
              <a:buClr>
                <a:srgbClr val="FFFFFF"/>
              </a:buClr>
              <a:buSzPts val="1000"/>
              <a:buChar char="■"/>
              <a:defRPr>
                <a:solidFill>
                  <a:srgbClr val="FFFFFF"/>
                </a:solidFill>
              </a:defRPr>
            </a:lvl7pPr>
            <a:lvl8pPr marL="3657418" lvl="7" indent="-292086" rtl="0">
              <a:spcBef>
                <a:spcPts val="1600"/>
              </a:spcBef>
              <a:spcAft>
                <a:spcPts val="0"/>
              </a:spcAft>
              <a:buClr>
                <a:srgbClr val="FFFFFF"/>
              </a:buClr>
              <a:buSzPts val="1000"/>
              <a:buChar char="⎼"/>
              <a:defRPr>
                <a:solidFill>
                  <a:srgbClr val="FFFFFF"/>
                </a:solidFill>
              </a:defRPr>
            </a:lvl8pPr>
            <a:lvl9pPr marL="4114595" lvl="8" indent="-292086" rtl="0">
              <a:spcBef>
                <a:spcPts val="1600"/>
              </a:spcBef>
              <a:spcAft>
                <a:spcPts val="1600"/>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marL="274307" lvl="0" indent="-274307" rtl="0">
              <a:lnSpc>
                <a:spcPct val="100000"/>
              </a:lnSpc>
              <a:spcBef>
                <a:spcPts val="0"/>
              </a:spcBef>
              <a:spcAft>
                <a:spcPts val="0"/>
              </a:spcAft>
              <a:buClr>
                <a:srgbClr val="FFFFFF"/>
              </a:buClr>
              <a:buSzPts val="1500"/>
              <a:buNone/>
              <a:defRPr sz="1350">
                <a:solidFill>
                  <a:schemeClr val="tx1"/>
                </a:solidFill>
                <a:latin typeface="+mn-lt"/>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r>
              <a:rPr lang="en-US"/>
              <a:t>Click to edit Master subtitle style</a:t>
            </a:r>
            <a:endParaRPr/>
          </a:p>
        </p:txBody>
      </p:sp>
    </p:spTree>
    <p:extLst>
      <p:ext uri="{BB962C8B-B14F-4D97-AF65-F5344CB8AC3E}">
        <p14:creationId xmlns:p14="http://schemas.microsoft.com/office/powerpoint/2010/main" val="4192034735"/>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16420" y="4899178"/>
            <a:ext cx="1843841" cy="173124"/>
          </a:xfrm>
          <a:prstGeom prst="rect">
            <a:avLst/>
          </a:prstGeom>
          <a:noFill/>
        </p:spPr>
        <p:txBody>
          <a:bodyPr wrap="square" lIns="0" rIns="0" rtlCol="0">
            <a:spAutoFit/>
          </a:body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525">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7" y="4521602"/>
            <a:ext cx="483489" cy="205740"/>
          </a:xfrm>
          <a:prstGeom prst="rect">
            <a:avLst/>
          </a:prstGeom>
        </p:spPr>
      </p:pic>
    </p:spTree>
    <p:extLst>
      <p:ext uri="{BB962C8B-B14F-4D97-AF65-F5344CB8AC3E}">
        <p14:creationId xmlns:p14="http://schemas.microsoft.com/office/powerpoint/2010/main" val="477811663"/>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1627"/>
            <a:ext cx="4717443" cy="5100247"/>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491300" y="332075"/>
            <a:ext cx="4927500" cy="13893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33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8" name="Google Shape;105;p13"/>
          <p:cNvSpPr txBox="1">
            <a:spLocks noGrp="1"/>
          </p:cNvSpPr>
          <p:nvPr>
            <p:ph type="subTitle" idx="1"/>
          </p:nvPr>
        </p:nvSpPr>
        <p:spPr>
          <a:xfrm>
            <a:off x="491301" y="2379600"/>
            <a:ext cx="4927500" cy="3843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1500">
                <a:solidFill>
                  <a:schemeClr val="bg1"/>
                </a:solidFill>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r>
              <a:rPr lang="en-US"/>
              <a:t>Click to edit Master subtitle style</a:t>
            </a:r>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853616320"/>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1627"/>
            <a:ext cx="4717443" cy="5100247"/>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354650" y="2355860"/>
            <a:ext cx="4013100" cy="3075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800" b="1">
                <a:solidFill>
                  <a:schemeClr val="bg1"/>
                </a:solidFill>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r>
              <a:rPr lang="en-US"/>
              <a:t>Click to edit Master subtitle style</a:t>
            </a:r>
            <a:endParaRPr/>
          </a:p>
        </p:txBody>
      </p:sp>
      <p:sp>
        <p:nvSpPr>
          <p:cNvPr id="8" name="Google Shape;118;p15"/>
          <p:cNvSpPr txBox="1">
            <a:spLocks/>
          </p:cNvSpPr>
          <p:nvPr/>
        </p:nvSpPr>
        <p:spPr>
          <a:xfrm>
            <a:off x="354650" y="2676875"/>
            <a:ext cx="4013100" cy="307500"/>
          </a:xfrm>
          <a:prstGeom prst="rect">
            <a:avLst/>
          </a:prstGeom>
        </p:spPr>
        <p:txBody>
          <a:bodyPr spcFirstLastPara="1" vert="horz" wrap="square" lIns="0" tIns="68569" rIns="0" bIns="68569"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20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10119085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bg1"/>
                </a:solidFill>
              </a:defRPr>
            </a:lvl1pPr>
          </a:lstStyle>
          <a:p>
            <a:r>
              <a:rPr lang="en-US"/>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501714198"/>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p:spPr>
        <p:txBody>
          <a:bodyPr anchor="b">
            <a:noAutofit/>
          </a:bodyPr>
          <a:lstStyle>
            <a:lvl1pPr algn="l">
              <a:defRPr sz="2700">
                <a:solidFill>
                  <a:schemeClr val="bg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8" y="2336032"/>
            <a:ext cx="6481562" cy="628412"/>
          </a:xfrm>
        </p:spPr>
        <p:txBody>
          <a:bodyPr>
            <a:noAutofit/>
          </a:bodyPr>
          <a:lstStyle>
            <a:lvl1pPr marL="0" indent="0" algn="l">
              <a:spcBef>
                <a:spcPts val="0"/>
              </a:spcBef>
              <a:spcAft>
                <a:spcPts val="0"/>
              </a:spcAft>
              <a:buNone/>
              <a:defRPr sz="18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16420" y="3254510"/>
            <a:ext cx="6481562"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892" indent="0">
              <a:buNone/>
              <a:defRPr sz="900" b="1">
                <a:solidFill>
                  <a:schemeClr val="bg1"/>
                </a:solidFill>
              </a:defRPr>
            </a:lvl2pPr>
            <a:lvl3pPr marL="685783" indent="0">
              <a:buNone/>
              <a:defRPr sz="900" b="1">
                <a:solidFill>
                  <a:schemeClr val="bg1"/>
                </a:solidFill>
              </a:defRPr>
            </a:lvl3pPr>
            <a:lvl4pPr marL="1028675" indent="0">
              <a:buNone/>
              <a:defRPr sz="900" b="1">
                <a:solidFill>
                  <a:schemeClr val="bg1"/>
                </a:solidFill>
              </a:defRPr>
            </a:lvl4pPr>
            <a:lvl5pPr marL="1371566" indent="0">
              <a:buNone/>
              <a:defRPr sz="9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16420" y="3530612"/>
            <a:ext cx="6481562" cy="31759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892" indent="0">
              <a:buNone/>
              <a:defRPr sz="900" b="1">
                <a:solidFill>
                  <a:schemeClr val="bg1"/>
                </a:solidFill>
              </a:defRPr>
            </a:lvl2pPr>
            <a:lvl3pPr marL="685783" indent="0">
              <a:buNone/>
              <a:defRPr sz="900" b="1">
                <a:solidFill>
                  <a:schemeClr val="bg1"/>
                </a:solidFill>
              </a:defRPr>
            </a:lvl3pPr>
            <a:lvl4pPr marL="1028675" indent="0">
              <a:buNone/>
              <a:defRPr sz="900" b="1">
                <a:solidFill>
                  <a:schemeClr val="bg1"/>
                </a:solidFill>
              </a:defRPr>
            </a:lvl4pPr>
            <a:lvl5pPr marL="1371566" indent="0">
              <a:buNone/>
              <a:defRPr sz="900" b="1">
                <a:solidFill>
                  <a:schemeClr val="bg1"/>
                </a:solidFill>
              </a:defRPr>
            </a:lvl5pPr>
          </a:lstStyle>
          <a:p>
            <a:pPr lvl="0"/>
            <a:r>
              <a:rPr lang="en-US"/>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16420" y="4899178"/>
            <a:ext cx="1843841" cy="173124"/>
          </a:xfrm>
          <a:prstGeom prst="rect">
            <a:avLst/>
          </a:prstGeom>
          <a:noFill/>
        </p:spPr>
        <p:txBody>
          <a:bodyPr wrap="square" lIns="0" rIns="0" rtlCol="0">
            <a:spAutoFit/>
          </a:body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525">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4350823"/>
            <a:ext cx="914400" cy="389106"/>
          </a:xfrm>
          <a:prstGeom prst="rect">
            <a:avLst/>
          </a:prstGeom>
        </p:spPr>
      </p:pic>
    </p:spTree>
    <p:extLst>
      <p:ext uri="{BB962C8B-B14F-4D97-AF65-F5344CB8AC3E}">
        <p14:creationId xmlns:p14="http://schemas.microsoft.com/office/powerpoint/2010/main" val="331277432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j-lt"/>
            </a:endParaRPr>
          </a:p>
        </p:txBody>
      </p:sp>
      <p:sp>
        <p:nvSpPr>
          <p:cNvPr id="56" name="Google Shape;56;p6"/>
          <p:cNvSpPr txBox="1">
            <a:spLocks noGrp="1"/>
          </p:cNvSpPr>
          <p:nvPr>
            <p:ph type="ctrTitle"/>
          </p:nvPr>
        </p:nvSpPr>
        <p:spPr>
          <a:xfrm>
            <a:off x="354650" y="380025"/>
            <a:ext cx="6268200" cy="11388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36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57" name="Google Shape;57;p6"/>
          <p:cNvSpPr txBox="1">
            <a:spLocks noGrp="1"/>
          </p:cNvSpPr>
          <p:nvPr>
            <p:ph type="subTitle" idx="1"/>
          </p:nvPr>
        </p:nvSpPr>
        <p:spPr>
          <a:xfrm>
            <a:off x="354650" y="1403300"/>
            <a:ext cx="6268200" cy="4941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18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9pPr>
          </a:lstStyle>
          <a:p>
            <a:r>
              <a:rPr lang="en-US"/>
              <a:t>Click to edit Master subtitle style</a:t>
            </a:r>
            <a:endParaRPr/>
          </a:p>
        </p:txBody>
      </p:sp>
      <p:sp>
        <p:nvSpPr>
          <p:cNvPr id="58" name="Google Shape;58;p6"/>
          <p:cNvSpPr txBox="1">
            <a:spLocks noGrp="1"/>
          </p:cNvSpPr>
          <p:nvPr>
            <p:ph type="subTitle" idx="2"/>
          </p:nvPr>
        </p:nvSpPr>
        <p:spPr>
          <a:xfrm>
            <a:off x="354650" y="2195900"/>
            <a:ext cx="4192200" cy="3075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200" b="1">
                <a:solidFill>
                  <a:srgbClr val="FFFFFF"/>
                </a:solidFill>
                <a:latin typeface="+mj-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354650" y="2351000"/>
            <a:ext cx="4192200" cy="3075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200">
                <a:solidFill>
                  <a:srgbClr val="FFFFFF"/>
                </a:solidFill>
                <a:latin typeface="+mj-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9" name="TextBox 8">
            <a:extLst>
              <a:ext uri="{FF2B5EF4-FFF2-40B4-BE49-F238E27FC236}">
                <a16:creationId xmlns:a16="http://schemas.microsoft.com/office/drawing/2014/main" id="{6243803D-31FA-692F-1CDF-A332274BC332}"/>
              </a:ext>
            </a:extLst>
          </p:cNvPr>
          <p:cNvSpPr txBox="1"/>
          <p:nvPr/>
        </p:nvSpPr>
        <p:spPr>
          <a:xfrm>
            <a:off x="216420" y="4899178"/>
            <a:ext cx="1843841" cy="173124"/>
          </a:xfrm>
          <a:prstGeom prst="rect">
            <a:avLst/>
          </a:prstGeom>
          <a:noFill/>
        </p:spPr>
        <p:txBody>
          <a:bodyPr wrap="square" lIns="0" rIns="0" rtlCol="0">
            <a:spAutoFit/>
          </a:bodyPr>
          <a:lstStyle/>
          <a:p>
            <a:pPr marL="0" marR="0" indent="0" algn="l" defTabSz="685783" rtl="0" eaLnBrk="1" fontAlgn="auto" latinLnBrk="0" hangingPunct="1">
              <a:lnSpc>
                <a:spcPct val="100000"/>
              </a:lnSpc>
              <a:spcBef>
                <a:spcPts val="0"/>
              </a:spcBef>
              <a:spcAft>
                <a:spcPts val="0"/>
              </a:spcAft>
              <a:buClrTx/>
              <a:buSzTx/>
              <a:buFontTx/>
              <a:buNone/>
              <a:tabLst/>
              <a:defRPr/>
            </a:pPr>
            <a:r>
              <a:rPr lang="en-US" sz="525">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latin typeface="+mj-lt"/>
              </a:defRPr>
            </a:lvl1pPr>
          </a:lstStyle>
          <a:p>
            <a:fld id="{403EF4E2-7A7A-0548-85F1-5479B7C9E1B2}" type="slidenum">
              <a:rPr lang="en-US" smtClean="0"/>
              <a:pPr/>
              <a:t>‹#›</a:t>
            </a:fld>
            <a:endParaRPr lang="en-US"/>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7" y="4521602"/>
            <a:ext cx="483489" cy="205740"/>
          </a:xfrm>
          <a:prstGeom prst="rect">
            <a:avLst/>
          </a:prstGeom>
        </p:spPr>
      </p:pic>
    </p:spTree>
    <p:extLst>
      <p:ext uri="{BB962C8B-B14F-4D97-AF65-F5344CB8AC3E}">
        <p14:creationId xmlns:p14="http://schemas.microsoft.com/office/powerpoint/2010/main" val="40844435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1627"/>
            <a:ext cx="4717443" cy="5100247"/>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354650" y="991550"/>
            <a:ext cx="4041300" cy="1578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2462090" algn="l"/>
              </a:tabLst>
              <a:defRPr sz="3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5200">
                <a:solidFill>
                  <a:srgbClr val="000000"/>
                </a:solidFill>
              </a:defRPr>
            </a:lvl2pPr>
            <a:lvl3pPr lvl="2" algn="ctr" rtl="0">
              <a:spcBef>
                <a:spcPts val="0"/>
              </a:spcBef>
              <a:spcAft>
                <a:spcPts val="0"/>
              </a:spcAft>
              <a:buClr>
                <a:srgbClr val="000000"/>
              </a:buClr>
              <a:buSzPts val="5200"/>
              <a:buNone/>
              <a:defRPr sz="5200">
                <a:solidFill>
                  <a:srgbClr val="000000"/>
                </a:solidFill>
              </a:defRPr>
            </a:lvl3pPr>
            <a:lvl4pPr lvl="3" algn="ctr" rtl="0">
              <a:spcBef>
                <a:spcPts val="0"/>
              </a:spcBef>
              <a:spcAft>
                <a:spcPts val="0"/>
              </a:spcAft>
              <a:buClr>
                <a:srgbClr val="000000"/>
              </a:buClr>
              <a:buSzPts val="5200"/>
              <a:buNone/>
              <a:defRPr sz="5200">
                <a:solidFill>
                  <a:srgbClr val="000000"/>
                </a:solidFill>
              </a:defRPr>
            </a:lvl4pPr>
            <a:lvl5pPr lvl="4" algn="ctr" rtl="0">
              <a:spcBef>
                <a:spcPts val="0"/>
              </a:spcBef>
              <a:spcAft>
                <a:spcPts val="0"/>
              </a:spcAft>
              <a:buClr>
                <a:srgbClr val="000000"/>
              </a:buClr>
              <a:buSzPts val="5200"/>
              <a:buNone/>
              <a:defRPr sz="5200">
                <a:solidFill>
                  <a:srgbClr val="000000"/>
                </a:solidFill>
              </a:defRPr>
            </a:lvl5pPr>
            <a:lvl6pPr lvl="5" algn="ctr" rtl="0">
              <a:spcBef>
                <a:spcPts val="0"/>
              </a:spcBef>
              <a:spcAft>
                <a:spcPts val="0"/>
              </a:spcAft>
              <a:buClr>
                <a:srgbClr val="000000"/>
              </a:buClr>
              <a:buSzPts val="5200"/>
              <a:buNone/>
              <a:defRPr sz="5200">
                <a:solidFill>
                  <a:srgbClr val="000000"/>
                </a:solidFill>
              </a:defRPr>
            </a:lvl6pPr>
            <a:lvl7pPr lvl="6" algn="ctr" rtl="0">
              <a:spcBef>
                <a:spcPts val="0"/>
              </a:spcBef>
              <a:spcAft>
                <a:spcPts val="0"/>
              </a:spcAft>
              <a:buClr>
                <a:srgbClr val="000000"/>
              </a:buClr>
              <a:buSzPts val="5200"/>
              <a:buNone/>
              <a:defRPr sz="5200">
                <a:solidFill>
                  <a:srgbClr val="000000"/>
                </a:solidFill>
              </a:defRPr>
            </a:lvl7pPr>
            <a:lvl8pPr lvl="7" algn="ctr" rtl="0">
              <a:spcBef>
                <a:spcPts val="0"/>
              </a:spcBef>
              <a:spcAft>
                <a:spcPts val="0"/>
              </a:spcAft>
              <a:buClr>
                <a:srgbClr val="000000"/>
              </a:buClr>
              <a:buSzPts val="5200"/>
              <a:buNone/>
              <a:defRPr sz="5200">
                <a:solidFill>
                  <a:srgbClr val="000000"/>
                </a:solidFill>
              </a:defRPr>
            </a:lvl8pPr>
            <a:lvl9pPr lvl="8" algn="ctr" rtl="0">
              <a:spcBef>
                <a:spcPts val="0"/>
              </a:spcBef>
              <a:spcAft>
                <a:spcPts val="0"/>
              </a:spcAft>
              <a:buClr>
                <a:srgbClr val="000000"/>
              </a:buClr>
              <a:buSzPts val="5200"/>
              <a:buNone/>
              <a:defRPr sz="5200">
                <a:solidFill>
                  <a:srgbClr val="000000"/>
                </a:solidFill>
              </a:defRPr>
            </a:lvl9pPr>
          </a:lstStyle>
          <a:p>
            <a:r>
              <a:rPr lang="en-US"/>
              <a:t>Click to edit Master title style</a:t>
            </a:r>
            <a:endParaRPr/>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6732050" y="4809375"/>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latin typeface="Montserrat" panose="00000500000000000000" pitchFamily="2" charset="0"/>
              </a:rPr>
              <a:pPr/>
              <a:t>‹#›</a:t>
            </a:fld>
            <a:endParaRPr lang="en-PH" sz="100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4198049384"/>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354650" y="380025"/>
            <a:ext cx="6268200" cy="11388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33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5200">
                <a:solidFill>
                  <a:srgbClr val="FFFFFF"/>
                </a:solidFill>
              </a:defRPr>
            </a:lvl2pPr>
            <a:lvl3pPr lvl="2" algn="ctr" rtl="0">
              <a:lnSpc>
                <a:spcPct val="100000"/>
              </a:lnSpc>
              <a:spcBef>
                <a:spcPts val="0"/>
              </a:spcBef>
              <a:spcAft>
                <a:spcPts val="0"/>
              </a:spcAft>
              <a:buClr>
                <a:srgbClr val="FFFFFF"/>
              </a:buClr>
              <a:buSzPts val="5200"/>
              <a:buNone/>
              <a:defRPr sz="5200">
                <a:solidFill>
                  <a:srgbClr val="FFFFFF"/>
                </a:solidFill>
              </a:defRPr>
            </a:lvl3pPr>
            <a:lvl4pPr lvl="3" algn="ctr" rtl="0">
              <a:lnSpc>
                <a:spcPct val="100000"/>
              </a:lnSpc>
              <a:spcBef>
                <a:spcPts val="0"/>
              </a:spcBef>
              <a:spcAft>
                <a:spcPts val="0"/>
              </a:spcAft>
              <a:buClr>
                <a:srgbClr val="FFFFFF"/>
              </a:buClr>
              <a:buSzPts val="5200"/>
              <a:buNone/>
              <a:defRPr sz="5200">
                <a:solidFill>
                  <a:srgbClr val="FFFFFF"/>
                </a:solidFill>
              </a:defRPr>
            </a:lvl4pPr>
            <a:lvl5pPr lvl="4" algn="ctr" rtl="0">
              <a:lnSpc>
                <a:spcPct val="100000"/>
              </a:lnSpc>
              <a:spcBef>
                <a:spcPts val="0"/>
              </a:spcBef>
              <a:spcAft>
                <a:spcPts val="0"/>
              </a:spcAft>
              <a:buClr>
                <a:srgbClr val="FFFFFF"/>
              </a:buClr>
              <a:buSzPts val="5200"/>
              <a:buNone/>
              <a:defRPr sz="5200">
                <a:solidFill>
                  <a:srgbClr val="FFFFFF"/>
                </a:solidFill>
              </a:defRPr>
            </a:lvl5pPr>
            <a:lvl6pPr lvl="5" algn="ctr" rtl="0">
              <a:lnSpc>
                <a:spcPct val="100000"/>
              </a:lnSpc>
              <a:spcBef>
                <a:spcPts val="0"/>
              </a:spcBef>
              <a:spcAft>
                <a:spcPts val="0"/>
              </a:spcAft>
              <a:buClr>
                <a:srgbClr val="FFFFFF"/>
              </a:buClr>
              <a:buSzPts val="5200"/>
              <a:buNone/>
              <a:defRPr sz="5200">
                <a:solidFill>
                  <a:srgbClr val="FFFFFF"/>
                </a:solidFill>
              </a:defRPr>
            </a:lvl6pPr>
            <a:lvl7pPr lvl="6" algn="ctr" rtl="0">
              <a:lnSpc>
                <a:spcPct val="100000"/>
              </a:lnSpc>
              <a:spcBef>
                <a:spcPts val="0"/>
              </a:spcBef>
              <a:spcAft>
                <a:spcPts val="0"/>
              </a:spcAft>
              <a:buClr>
                <a:srgbClr val="FFFFFF"/>
              </a:buClr>
              <a:buSzPts val="5200"/>
              <a:buNone/>
              <a:defRPr sz="5200">
                <a:solidFill>
                  <a:srgbClr val="FFFFFF"/>
                </a:solidFill>
              </a:defRPr>
            </a:lvl7pPr>
            <a:lvl8pPr lvl="7" algn="ctr" rtl="0">
              <a:lnSpc>
                <a:spcPct val="100000"/>
              </a:lnSpc>
              <a:spcBef>
                <a:spcPts val="0"/>
              </a:spcBef>
              <a:spcAft>
                <a:spcPts val="0"/>
              </a:spcAft>
              <a:buClr>
                <a:srgbClr val="FFFFFF"/>
              </a:buClr>
              <a:buSzPts val="5200"/>
              <a:buNone/>
              <a:defRPr sz="5200">
                <a:solidFill>
                  <a:srgbClr val="FFFFFF"/>
                </a:solidFill>
              </a:defRPr>
            </a:lvl8pPr>
            <a:lvl9pPr lvl="8" algn="ctr" rtl="0">
              <a:lnSpc>
                <a:spcPct val="100000"/>
              </a:lnSpc>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978" name="Google Shape;978;gd21c83c52b_0_2301"/>
          <p:cNvSpPr txBox="1">
            <a:spLocks noGrp="1"/>
          </p:cNvSpPr>
          <p:nvPr>
            <p:ph type="subTitle" idx="1"/>
          </p:nvPr>
        </p:nvSpPr>
        <p:spPr>
          <a:xfrm>
            <a:off x="354650" y="1403300"/>
            <a:ext cx="6268200" cy="4941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18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9pPr>
          </a:lstStyle>
          <a:p>
            <a:r>
              <a:rPr lang="en-US"/>
              <a:t>Click to edit Master subtitle style</a:t>
            </a:r>
            <a:endParaRPr/>
          </a:p>
        </p:txBody>
      </p:sp>
      <p:sp>
        <p:nvSpPr>
          <p:cNvPr id="979" name="Google Shape;979;gd21c83c52b_0_2301"/>
          <p:cNvSpPr txBox="1">
            <a:spLocks noGrp="1"/>
          </p:cNvSpPr>
          <p:nvPr>
            <p:ph type="subTitle" idx="2"/>
          </p:nvPr>
        </p:nvSpPr>
        <p:spPr>
          <a:xfrm>
            <a:off x="354650" y="2351000"/>
            <a:ext cx="6268200" cy="3075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200">
                <a:solidFill>
                  <a:srgbClr val="FFFFFF"/>
                </a:solidFill>
                <a:latin typeface="+mn-lt"/>
              </a:defRPr>
            </a:lvl1pPr>
            <a:lvl2pPr lvl="1" algn="l" rtl="0">
              <a:lnSpc>
                <a:spcPct val="100000"/>
              </a:lnSpc>
              <a:spcBef>
                <a:spcPts val="0"/>
              </a:spcBef>
              <a:spcAft>
                <a:spcPts val="0"/>
              </a:spcAft>
              <a:buClr>
                <a:srgbClr val="FFFFFF"/>
              </a:buClr>
              <a:buSzPts val="1800"/>
              <a:buNone/>
              <a:defRPr sz="1800" b="1">
                <a:solidFill>
                  <a:srgbClr val="FFFFFF"/>
                </a:solidFill>
              </a:defRPr>
            </a:lvl2pPr>
            <a:lvl3pPr lvl="2" algn="l" rtl="0">
              <a:lnSpc>
                <a:spcPct val="100000"/>
              </a:lnSpc>
              <a:spcBef>
                <a:spcPts val="0"/>
              </a:spcBef>
              <a:spcAft>
                <a:spcPts val="0"/>
              </a:spcAft>
              <a:buClr>
                <a:srgbClr val="FFFFFF"/>
              </a:buClr>
              <a:buSzPts val="1800"/>
              <a:buNone/>
              <a:defRPr sz="1800" b="1">
                <a:solidFill>
                  <a:srgbClr val="FFFFFF"/>
                </a:solidFill>
              </a:defRPr>
            </a:lvl3pPr>
            <a:lvl4pPr lvl="3" algn="l" rtl="0">
              <a:lnSpc>
                <a:spcPct val="100000"/>
              </a:lnSpc>
              <a:spcBef>
                <a:spcPts val="0"/>
              </a:spcBef>
              <a:spcAft>
                <a:spcPts val="0"/>
              </a:spcAft>
              <a:buClr>
                <a:srgbClr val="FFFFFF"/>
              </a:buClr>
              <a:buSzPts val="1800"/>
              <a:buNone/>
              <a:defRPr sz="1800" b="1">
                <a:solidFill>
                  <a:srgbClr val="FFFFFF"/>
                </a:solidFill>
              </a:defRPr>
            </a:lvl4pPr>
            <a:lvl5pPr lvl="4" algn="l" rtl="0">
              <a:lnSpc>
                <a:spcPct val="100000"/>
              </a:lnSpc>
              <a:spcBef>
                <a:spcPts val="0"/>
              </a:spcBef>
              <a:spcAft>
                <a:spcPts val="0"/>
              </a:spcAft>
              <a:buClr>
                <a:srgbClr val="FFFFFF"/>
              </a:buClr>
              <a:buSzPts val="1800"/>
              <a:buNone/>
              <a:defRPr sz="1800" b="1">
                <a:solidFill>
                  <a:srgbClr val="FFFFFF"/>
                </a:solidFill>
              </a:defRPr>
            </a:lvl5pPr>
            <a:lvl6pPr lvl="5" algn="l" rtl="0">
              <a:lnSpc>
                <a:spcPct val="100000"/>
              </a:lnSpc>
              <a:spcBef>
                <a:spcPts val="0"/>
              </a:spcBef>
              <a:spcAft>
                <a:spcPts val="0"/>
              </a:spcAft>
              <a:buClr>
                <a:srgbClr val="FFFFFF"/>
              </a:buClr>
              <a:buSzPts val="1800"/>
              <a:buNone/>
              <a:defRPr sz="1800" b="1">
                <a:solidFill>
                  <a:srgbClr val="FFFFFF"/>
                </a:solidFill>
              </a:defRPr>
            </a:lvl6pPr>
            <a:lvl7pPr lvl="6" algn="l" rtl="0">
              <a:lnSpc>
                <a:spcPct val="100000"/>
              </a:lnSpc>
              <a:spcBef>
                <a:spcPts val="0"/>
              </a:spcBef>
              <a:spcAft>
                <a:spcPts val="0"/>
              </a:spcAft>
              <a:buClr>
                <a:srgbClr val="FFFFFF"/>
              </a:buClr>
              <a:buSzPts val="1800"/>
              <a:buNone/>
              <a:defRPr sz="1800" b="1">
                <a:solidFill>
                  <a:srgbClr val="FFFFFF"/>
                </a:solidFill>
              </a:defRPr>
            </a:lvl7pPr>
            <a:lvl8pPr lvl="7" algn="l" rtl="0">
              <a:lnSpc>
                <a:spcPct val="100000"/>
              </a:lnSpc>
              <a:spcBef>
                <a:spcPts val="0"/>
              </a:spcBef>
              <a:spcAft>
                <a:spcPts val="0"/>
              </a:spcAft>
              <a:buClr>
                <a:srgbClr val="FFFFFF"/>
              </a:buClr>
              <a:buSzPts val="1800"/>
              <a:buNone/>
              <a:defRPr sz="1800" b="1">
                <a:solidFill>
                  <a:srgbClr val="FFFFFF"/>
                </a:solidFill>
              </a:defRPr>
            </a:lvl8pPr>
            <a:lvl9pPr lvl="8" algn="l"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06965" y="4872478"/>
            <a:ext cx="483489" cy="20574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42992"/>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221" name="Google Shape;221;p4"/>
          <p:cNvSpPr txBox="1">
            <a:spLocks noGrp="1"/>
          </p:cNvSpPr>
          <p:nvPr>
            <p:ph type="ctrTitle"/>
          </p:nvPr>
        </p:nvSpPr>
        <p:spPr>
          <a:xfrm>
            <a:off x="354650" y="1145650"/>
            <a:ext cx="6280500" cy="16965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33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222" name="Google Shape;222;p4"/>
          <p:cNvSpPr txBox="1">
            <a:spLocks noGrp="1"/>
          </p:cNvSpPr>
          <p:nvPr>
            <p:ph type="subTitle" idx="1"/>
          </p:nvPr>
        </p:nvSpPr>
        <p:spPr>
          <a:xfrm>
            <a:off x="354650" y="2802800"/>
            <a:ext cx="6280500" cy="7926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18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9pPr>
          </a:lstStyle>
          <a:p>
            <a:r>
              <a:rPr lang="en-US"/>
              <a:t>Click to edit Master subtitle style</a:t>
            </a:r>
            <a:endParaRPr/>
          </a:p>
        </p:txBody>
      </p:sp>
      <p:sp>
        <p:nvSpPr>
          <p:cNvPr id="223" name="Google Shape;223;p4"/>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354650" y="3830100"/>
            <a:ext cx="4251900" cy="3075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354650" y="3985200"/>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354650" y="4474425"/>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000">
                <a:solidFill>
                  <a:srgbClr val="FFFFFF"/>
                </a:solidFill>
                <a:latin typeface="+mn-lt"/>
              </a:defRPr>
            </a:lvl1pPr>
            <a:lvl2pPr lvl="1" rtl="0">
              <a:lnSpc>
                <a:spcPct val="100000"/>
              </a:lnSpc>
              <a:spcBef>
                <a:spcPts val="0"/>
              </a:spcBef>
              <a:spcAft>
                <a:spcPts val="0"/>
              </a:spcAft>
              <a:buClr>
                <a:srgbClr val="FFFFFF"/>
              </a:buClr>
              <a:buSzPts val="1000"/>
              <a:buNone/>
              <a:defRPr sz="1000"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60814322"/>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221" name="Google Shape;221;p4"/>
          <p:cNvSpPr txBox="1">
            <a:spLocks noGrp="1"/>
          </p:cNvSpPr>
          <p:nvPr>
            <p:ph type="ctrTitle"/>
          </p:nvPr>
        </p:nvSpPr>
        <p:spPr>
          <a:xfrm>
            <a:off x="354650" y="1145650"/>
            <a:ext cx="6280500" cy="16965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33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222" name="Google Shape;222;p4"/>
          <p:cNvSpPr txBox="1">
            <a:spLocks noGrp="1"/>
          </p:cNvSpPr>
          <p:nvPr>
            <p:ph type="subTitle" idx="1"/>
          </p:nvPr>
        </p:nvSpPr>
        <p:spPr>
          <a:xfrm>
            <a:off x="354650" y="2802800"/>
            <a:ext cx="6280500" cy="7926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18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9pPr>
          </a:lstStyle>
          <a:p>
            <a:r>
              <a:rPr lang="en-US"/>
              <a:t>Click to edit Master subtitle style</a:t>
            </a:r>
            <a:endParaRPr/>
          </a:p>
        </p:txBody>
      </p:sp>
      <p:sp>
        <p:nvSpPr>
          <p:cNvPr id="223" name="Google Shape;223;p4"/>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smtClean="0"/>
              <a:t>‹#›</a:t>
            </a:fld>
            <a:endParaRPr lang="en"/>
          </a:p>
        </p:txBody>
      </p:sp>
      <p:sp>
        <p:nvSpPr>
          <p:cNvPr id="226" name="Google Shape;226;p4"/>
          <p:cNvSpPr txBox="1">
            <a:spLocks noGrp="1"/>
          </p:cNvSpPr>
          <p:nvPr>
            <p:ph type="subTitle" idx="2"/>
          </p:nvPr>
        </p:nvSpPr>
        <p:spPr>
          <a:xfrm>
            <a:off x="354650" y="3830100"/>
            <a:ext cx="4251900" cy="3075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354650" y="3985200"/>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354650" y="4474425"/>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000">
                <a:solidFill>
                  <a:srgbClr val="FFFFFF"/>
                </a:solidFill>
                <a:latin typeface="+mn-lt"/>
              </a:defRPr>
            </a:lvl1pPr>
            <a:lvl2pPr lvl="1" rtl="0">
              <a:lnSpc>
                <a:spcPct val="100000"/>
              </a:lnSpc>
              <a:spcBef>
                <a:spcPts val="0"/>
              </a:spcBef>
              <a:spcAft>
                <a:spcPts val="0"/>
              </a:spcAft>
              <a:buClr>
                <a:srgbClr val="FFFFFF"/>
              </a:buClr>
              <a:buSzPts val="1000"/>
              <a:buNone/>
              <a:defRPr sz="1000"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5003867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354650" y="4966350"/>
            <a:ext cx="5064000" cy="184800"/>
          </a:xfrm>
          <a:prstGeom prst="rect">
            <a:avLst/>
          </a:prstGeom>
          <a:noFill/>
          <a:ln>
            <a:noFill/>
          </a:ln>
        </p:spPr>
        <p:txBody>
          <a:bodyPr spcFirstLastPara="1" wrap="square" lIns="0" tIns="45700" rIns="0" bIns="457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500">
                <a:solidFill>
                  <a:schemeClr val="bg1"/>
                </a:solidFill>
                <a:latin typeface="Montserrat" panose="00000500000000000000" pitchFamily="2" charset="0"/>
                <a:ea typeface="Montserrat Light"/>
                <a:cs typeface="Montserrat Light"/>
                <a:sym typeface="Montserrat Light"/>
              </a:rPr>
              <a:t>© </a:t>
            </a:r>
            <a:r>
              <a:rPr lang="en-US" sz="500">
                <a:solidFill>
                  <a:schemeClr val="bg1"/>
                </a:solidFill>
                <a:latin typeface="Montserrat" panose="00000500000000000000" pitchFamily="2" charset="0"/>
                <a:ea typeface="Montserrat Light"/>
                <a:cs typeface="Montserrat Light"/>
                <a:sym typeface="Montserrat Light"/>
              </a:rPr>
              <a:t>2023 Nielsen</a:t>
            </a:r>
            <a:r>
              <a:rPr lang="en" sz="500">
                <a:solidFill>
                  <a:schemeClr val="bg1"/>
                </a:solidFill>
                <a:latin typeface="Montserrat" panose="00000500000000000000" pitchFamily="2" charset="0"/>
                <a:ea typeface="Montserrat Light"/>
                <a:cs typeface="Montserrat Light"/>
                <a:sym typeface="Montserrat Light"/>
              </a:rPr>
              <a:t> Consumer LLC. All Rights Reserved.</a:t>
            </a:r>
            <a:endParaRPr sz="500" i="0" u="none" strike="noStrike" cap="none">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356616" y="292608"/>
            <a:ext cx="8430768" cy="393192"/>
          </a:xfrm>
          <a:prstGeom prst="rect">
            <a:avLst/>
          </a:prstGeom>
        </p:spPr>
        <p:txBody>
          <a:bodyPr/>
          <a:lstStyle/>
          <a:p>
            <a:r>
              <a:rPr lang="en-US"/>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356616" y="621792"/>
            <a:ext cx="8430768" cy="384048"/>
          </a:xfrm>
          <a:prstGeom prst="rect">
            <a:avLst/>
          </a:prstGeom>
        </p:spPr>
        <p:txBody>
          <a:bodyPr tIns="91440"/>
          <a:lstStyle>
            <a:lvl1pPr marL="0" indent="0">
              <a:buNone/>
              <a:defRPr sz="1350">
                <a:solidFill>
                  <a:srgbClr val="000000"/>
                </a:solidFill>
                <a:latin typeface="+mj-lt"/>
              </a:defRPr>
            </a:lvl1pPr>
            <a:lvl2pPr marL="342884" indent="0">
              <a:buNone/>
              <a:defRPr>
                <a:latin typeface="Montserrat" panose="00000500000000000000" pitchFamily="2" charset="0"/>
              </a:defRPr>
            </a:lvl2pPr>
            <a:lvl3pPr marL="685766" indent="0">
              <a:buNone/>
              <a:defRPr>
                <a:latin typeface="Montserrat" panose="00000500000000000000" pitchFamily="2" charset="0"/>
              </a:defRPr>
            </a:lvl3pPr>
            <a:lvl4pPr marL="1028649" indent="0">
              <a:buNone/>
              <a:defRPr>
                <a:latin typeface="Montserrat" panose="00000500000000000000" pitchFamily="2" charset="0"/>
              </a:defRPr>
            </a:lvl4pPr>
            <a:lvl5pPr marL="1371532" indent="0">
              <a:buNone/>
              <a:defRPr>
                <a:latin typeface="Montserrat" panose="00000500000000000000" pitchFamily="2" charset="0"/>
              </a:defRPr>
            </a:lvl5pPr>
          </a:lstStyle>
          <a:p>
            <a:pPr lvl="0"/>
            <a:r>
              <a:rPr lang="en-US"/>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356616" y="1152144"/>
            <a:ext cx="8430768" cy="3419856"/>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8394192" y="4809744"/>
            <a:ext cx="393192" cy="274320"/>
          </a:xfrm>
          <a:prstGeom prst="rect">
            <a:avLst/>
          </a:prstGeom>
          <a:noFill/>
        </p:spPr>
        <p:txBody>
          <a:bodyPr wrap="none" lIns="0" rIns="0" rtlCol="0" anchor="ctr" anchorCtr="0">
            <a:noAutofit/>
          </a:bodyPr>
          <a:lstStyle/>
          <a:p>
            <a:pPr algn="r"/>
            <a:fld id="{37C1F608-86A9-439D-B359-AB29DD5A1486}" type="slidenum">
              <a:rPr lang="en-US" sz="1000" smtClean="0">
                <a:latin typeface="Montserrat" panose="00000500000000000000" pitchFamily="2" charset="0"/>
              </a:rPr>
              <a:pPr algn="r"/>
              <a:t>‹#›</a:t>
            </a:fld>
            <a:endParaRPr lang="en-US" sz="1000">
              <a:latin typeface="Montserrat" panose="00000500000000000000" pitchFamily="2" charset="0"/>
            </a:endParaRPr>
          </a:p>
        </p:txBody>
      </p:sp>
    </p:spTree>
    <p:extLst>
      <p:ext uri="{BB962C8B-B14F-4D97-AF65-F5344CB8AC3E}">
        <p14:creationId xmlns:p14="http://schemas.microsoft.com/office/powerpoint/2010/main" val="2691328339"/>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88" name="Google Shape;88;p9"/>
          <p:cNvSpPr txBox="1">
            <a:spLocks noGrp="1"/>
          </p:cNvSpPr>
          <p:nvPr>
            <p:ph type="ctrTitle"/>
          </p:nvPr>
        </p:nvSpPr>
        <p:spPr>
          <a:xfrm>
            <a:off x="354650" y="1289325"/>
            <a:ext cx="3893700" cy="11388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33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r>
              <a:rPr lang="en-US"/>
              <a:t>Click to edit Master title style</a:t>
            </a:r>
            <a:endParaRPr/>
          </a:p>
        </p:txBody>
      </p:sp>
      <p:sp>
        <p:nvSpPr>
          <p:cNvPr id="89" name="Google Shape;89;p9"/>
          <p:cNvSpPr txBox="1">
            <a:spLocks noGrp="1"/>
          </p:cNvSpPr>
          <p:nvPr>
            <p:ph type="subTitle" idx="1"/>
          </p:nvPr>
        </p:nvSpPr>
        <p:spPr>
          <a:xfrm>
            <a:off x="354650" y="2351925"/>
            <a:ext cx="3893700" cy="3966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18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18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354650" y="3830100"/>
            <a:ext cx="4251900" cy="3075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900" b="1">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91" name="Google Shape;91;p9"/>
          <p:cNvSpPr txBox="1">
            <a:spLocks noGrp="1"/>
          </p:cNvSpPr>
          <p:nvPr>
            <p:ph type="subTitle" idx="3"/>
          </p:nvPr>
        </p:nvSpPr>
        <p:spPr>
          <a:xfrm>
            <a:off x="354650" y="3985200"/>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900">
                <a:solidFill>
                  <a:srgbClr val="FFFFFF"/>
                </a:solidFill>
                <a:latin typeface="+mn-lt"/>
              </a:defRPr>
            </a:lvl1pPr>
            <a:lvl2pPr lvl="1" rtl="0">
              <a:lnSpc>
                <a:spcPct val="100000"/>
              </a:lnSpc>
              <a:spcBef>
                <a:spcPts val="0"/>
              </a:spcBef>
              <a:spcAft>
                <a:spcPts val="0"/>
              </a:spcAft>
              <a:buClr>
                <a:srgbClr val="FFFFFF"/>
              </a:buClr>
              <a:buSzPts val="1800"/>
              <a:buNone/>
              <a:defRPr sz="1800" b="1">
                <a:solidFill>
                  <a:srgbClr val="FFFFFF"/>
                </a:solidFill>
              </a:defRPr>
            </a:lvl2pPr>
            <a:lvl3pPr lvl="2" rtl="0">
              <a:lnSpc>
                <a:spcPct val="100000"/>
              </a:lnSpc>
              <a:spcBef>
                <a:spcPts val="0"/>
              </a:spcBef>
              <a:spcAft>
                <a:spcPts val="0"/>
              </a:spcAft>
              <a:buClr>
                <a:srgbClr val="FFFFFF"/>
              </a:buClr>
              <a:buSzPts val="1800"/>
              <a:buNone/>
              <a:defRPr sz="1800" b="1">
                <a:solidFill>
                  <a:srgbClr val="FFFFFF"/>
                </a:solidFill>
              </a:defRPr>
            </a:lvl3pPr>
            <a:lvl4pPr lvl="3" rtl="0">
              <a:lnSpc>
                <a:spcPct val="100000"/>
              </a:lnSpc>
              <a:spcBef>
                <a:spcPts val="0"/>
              </a:spcBef>
              <a:spcAft>
                <a:spcPts val="0"/>
              </a:spcAft>
              <a:buClr>
                <a:srgbClr val="FFFFFF"/>
              </a:buClr>
              <a:buSzPts val="1800"/>
              <a:buNone/>
              <a:defRPr sz="1800" b="1">
                <a:solidFill>
                  <a:srgbClr val="FFFFFF"/>
                </a:solidFill>
              </a:defRPr>
            </a:lvl4pPr>
            <a:lvl5pPr lvl="4" rtl="0">
              <a:lnSpc>
                <a:spcPct val="100000"/>
              </a:lnSpc>
              <a:spcBef>
                <a:spcPts val="0"/>
              </a:spcBef>
              <a:spcAft>
                <a:spcPts val="0"/>
              </a:spcAft>
              <a:buClr>
                <a:srgbClr val="FFFFFF"/>
              </a:buClr>
              <a:buSzPts val="1800"/>
              <a:buNone/>
              <a:defRPr sz="1800" b="1">
                <a:solidFill>
                  <a:srgbClr val="FFFFFF"/>
                </a:solidFill>
              </a:defRPr>
            </a:lvl5pPr>
            <a:lvl6pPr lvl="5" rtl="0">
              <a:lnSpc>
                <a:spcPct val="100000"/>
              </a:lnSpc>
              <a:spcBef>
                <a:spcPts val="0"/>
              </a:spcBef>
              <a:spcAft>
                <a:spcPts val="0"/>
              </a:spcAft>
              <a:buClr>
                <a:srgbClr val="FFFFFF"/>
              </a:buClr>
              <a:buSzPts val="1800"/>
              <a:buNone/>
              <a:defRPr sz="1800" b="1">
                <a:solidFill>
                  <a:srgbClr val="FFFFFF"/>
                </a:solidFill>
              </a:defRPr>
            </a:lvl6pPr>
            <a:lvl7pPr lvl="6" rtl="0">
              <a:lnSpc>
                <a:spcPct val="100000"/>
              </a:lnSpc>
              <a:spcBef>
                <a:spcPts val="0"/>
              </a:spcBef>
              <a:spcAft>
                <a:spcPts val="0"/>
              </a:spcAft>
              <a:buClr>
                <a:srgbClr val="FFFFFF"/>
              </a:buClr>
              <a:buSzPts val="1800"/>
              <a:buNone/>
              <a:defRPr sz="1800" b="1">
                <a:solidFill>
                  <a:srgbClr val="FFFFFF"/>
                </a:solidFill>
              </a:defRPr>
            </a:lvl7pPr>
            <a:lvl8pPr lvl="7" rtl="0">
              <a:lnSpc>
                <a:spcPct val="100000"/>
              </a:lnSpc>
              <a:spcBef>
                <a:spcPts val="0"/>
              </a:spcBef>
              <a:spcAft>
                <a:spcPts val="0"/>
              </a:spcAft>
              <a:buClr>
                <a:srgbClr val="FFFFFF"/>
              </a:buClr>
              <a:buSzPts val="1800"/>
              <a:buNone/>
              <a:defRPr sz="1800" b="1">
                <a:solidFill>
                  <a:srgbClr val="FFFFFF"/>
                </a:solidFill>
              </a:defRPr>
            </a:lvl8pPr>
            <a:lvl9pPr lvl="8" rtl="0">
              <a:lnSpc>
                <a:spcPct val="100000"/>
              </a:lnSpc>
              <a:spcBef>
                <a:spcPts val="0"/>
              </a:spcBef>
              <a:spcAft>
                <a:spcPts val="0"/>
              </a:spcAft>
              <a:buClr>
                <a:srgbClr val="FFFFFF"/>
              </a:buClr>
              <a:buSzPts val="1800"/>
              <a:buNone/>
              <a:defRPr sz="18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354650" y="4474425"/>
            <a:ext cx="42519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900">
                <a:solidFill>
                  <a:srgbClr val="FFFFFF"/>
                </a:solidFill>
                <a:latin typeface="+mn-lt"/>
              </a:defRPr>
            </a:lvl1pPr>
            <a:lvl2pPr lvl="1" rtl="0">
              <a:lnSpc>
                <a:spcPct val="100000"/>
              </a:lnSpc>
              <a:spcBef>
                <a:spcPts val="0"/>
              </a:spcBef>
              <a:spcAft>
                <a:spcPts val="0"/>
              </a:spcAft>
              <a:buClr>
                <a:srgbClr val="FFFFFF"/>
              </a:buClr>
              <a:buSzPts val="1000"/>
              <a:buNone/>
              <a:defRPr sz="1000"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09199" y="1023564"/>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00" y="335280"/>
            <a:ext cx="914400" cy="389106"/>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573284143"/>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1627"/>
            <a:ext cx="4717443" cy="5100247"/>
          </a:xfrm>
          <a:prstGeom prst="rect">
            <a:avLst/>
          </a:prstGeom>
        </p:spPr>
      </p:pic>
      <p:sp>
        <p:nvSpPr>
          <p:cNvPr id="249" name="Google Shape;249;p28"/>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algn="r" rtl="0">
              <a:buNone/>
              <a:defRPr sz="1000">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000">
                <a:latin typeface="Montserrat Light"/>
                <a:ea typeface="Montserrat Light"/>
                <a:cs typeface="Montserrat Light"/>
                <a:sym typeface="Montserrat Light"/>
              </a:defRPr>
            </a:lvl2pPr>
            <a:lvl3pPr lvl="2" algn="r" rtl="0">
              <a:buNone/>
              <a:defRPr sz="1000">
                <a:latin typeface="Montserrat Light"/>
                <a:ea typeface="Montserrat Light"/>
                <a:cs typeface="Montserrat Light"/>
                <a:sym typeface="Montserrat Light"/>
              </a:defRPr>
            </a:lvl3pPr>
            <a:lvl4pPr lvl="3" algn="r" rtl="0">
              <a:buNone/>
              <a:defRPr sz="1000">
                <a:latin typeface="Montserrat Light"/>
                <a:ea typeface="Montserrat Light"/>
                <a:cs typeface="Montserrat Light"/>
                <a:sym typeface="Montserrat Light"/>
              </a:defRPr>
            </a:lvl4pPr>
            <a:lvl5pPr lvl="4" algn="r" rtl="0">
              <a:buNone/>
              <a:defRPr sz="1000">
                <a:latin typeface="Montserrat Light"/>
                <a:ea typeface="Montserrat Light"/>
                <a:cs typeface="Montserrat Light"/>
                <a:sym typeface="Montserrat Light"/>
              </a:defRPr>
            </a:lvl5pPr>
            <a:lvl6pPr lvl="5" algn="r" rtl="0">
              <a:buNone/>
              <a:defRPr sz="1000">
                <a:latin typeface="Montserrat Light"/>
                <a:ea typeface="Montserrat Light"/>
                <a:cs typeface="Montserrat Light"/>
                <a:sym typeface="Montserrat Light"/>
              </a:defRPr>
            </a:lvl6pPr>
            <a:lvl7pPr lvl="6" algn="r" rtl="0">
              <a:buNone/>
              <a:defRPr sz="1000">
                <a:latin typeface="Montserrat Light"/>
                <a:ea typeface="Montserrat Light"/>
                <a:cs typeface="Montserrat Light"/>
                <a:sym typeface="Montserrat Light"/>
              </a:defRPr>
            </a:lvl7pPr>
            <a:lvl8pPr lvl="7" algn="r" rtl="0">
              <a:buNone/>
              <a:defRPr sz="1000">
                <a:latin typeface="Montserrat Light"/>
                <a:ea typeface="Montserrat Light"/>
                <a:cs typeface="Montserrat Light"/>
                <a:sym typeface="Montserrat Light"/>
              </a:defRPr>
            </a:lvl8pPr>
            <a:lvl9pPr lvl="8" algn="r" rtl="0">
              <a:buNone/>
              <a:defRPr sz="1000">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354650" y="1619600"/>
            <a:ext cx="3941400" cy="1578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33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3000">
                <a:solidFill>
                  <a:srgbClr val="FFFFFF"/>
                </a:solidFill>
              </a:defRPr>
            </a:lvl2pPr>
            <a:lvl3pPr lvl="2" algn="ctr" rtl="0">
              <a:spcBef>
                <a:spcPts val="0"/>
              </a:spcBef>
              <a:spcAft>
                <a:spcPts val="0"/>
              </a:spcAft>
              <a:buClr>
                <a:srgbClr val="FFFFFF"/>
              </a:buClr>
              <a:buSzPts val="3000"/>
              <a:buNone/>
              <a:defRPr sz="3000">
                <a:solidFill>
                  <a:srgbClr val="FFFFFF"/>
                </a:solidFill>
              </a:defRPr>
            </a:lvl3pPr>
            <a:lvl4pPr lvl="3" algn="ctr" rtl="0">
              <a:spcBef>
                <a:spcPts val="0"/>
              </a:spcBef>
              <a:spcAft>
                <a:spcPts val="0"/>
              </a:spcAft>
              <a:buClr>
                <a:srgbClr val="FFFFFF"/>
              </a:buClr>
              <a:buSzPts val="3000"/>
              <a:buNone/>
              <a:defRPr sz="3000">
                <a:solidFill>
                  <a:srgbClr val="FFFFFF"/>
                </a:solidFill>
              </a:defRPr>
            </a:lvl4pPr>
            <a:lvl5pPr lvl="4" algn="ctr" rtl="0">
              <a:spcBef>
                <a:spcPts val="0"/>
              </a:spcBef>
              <a:spcAft>
                <a:spcPts val="0"/>
              </a:spcAft>
              <a:buClr>
                <a:srgbClr val="FFFFFF"/>
              </a:buClr>
              <a:buSzPts val="3000"/>
              <a:buNone/>
              <a:defRPr sz="3000">
                <a:solidFill>
                  <a:srgbClr val="FFFFFF"/>
                </a:solidFill>
              </a:defRPr>
            </a:lvl5pPr>
            <a:lvl6pPr lvl="5" algn="ctr" rtl="0">
              <a:spcBef>
                <a:spcPts val="0"/>
              </a:spcBef>
              <a:spcAft>
                <a:spcPts val="0"/>
              </a:spcAft>
              <a:buClr>
                <a:srgbClr val="FFFFFF"/>
              </a:buClr>
              <a:buSzPts val="3000"/>
              <a:buNone/>
              <a:defRPr sz="3000">
                <a:solidFill>
                  <a:srgbClr val="FFFFFF"/>
                </a:solidFill>
              </a:defRPr>
            </a:lvl6pPr>
            <a:lvl7pPr lvl="6" algn="ctr" rtl="0">
              <a:spcBef>
                <a:spcPts val="0"/>
              </a:spcBef>
              <a:spcAft>
                <a:spcPts val="0"/>
              </a:spcAft>
              <a:buClr>
                <a:srgbClr val="FFFFFF"/>
              </a:buClr>
              <a:buSzPts val="3000"/>
              <a:buNone/>
              <a:defRPr sz="3000">
                <a:solidFill>
                  <a:srgbClr val="FFFFFF"/>
                </a:solidFill>
              </a:defRPr>
            </a:lvl7pPr>
            <a:lvl8pPr lvl="7" algn="ctr" rtl="0">
              <a:spcBef>
                <a:spcPts val="0"/>
              </a:spcBef>
              <a:spcAft>
                <a:spcPts val="0"/>
              </a:spcAft>
              <a:buClr>
                <a:srgbClr val="FFFFFF"/>
              </a:buClr>
              <a:buSzPts val="3000"/>
              <a:buNone/>
              <a:defRPr sz="3000">
                <a:solidFill>
                  <a:srgbClr val="FFFFFF"/>
                </a:solidFill>
              </a:defRPr>
            </a:lvl8pPr>
            <a:lvl9pPr lvl="8" algn="ctr" rtl="0">
              <a:spcBef>
                <a:spcPts val="0"/>
              </a:spcBef>
              <a:spcAft>
                <a:spcPts val="0"/>
              </a:spcAft>
              <a:buClr>
                <a:srgbClr val="FFFFFF"/>
              </a:buClr>
              <a:buSzPts val="3000"/>
              <a:buNone/>
              <a:defRPr sz="3000">
                <a:solidFill>
                  <a:srgbClr val="FFFFFF"/>
                </a:solidFill>
              </a:defRPr>
            </a:lvl9pPr>
          </a:lstStyle>
          <a:p>
            <a:r>
              <a:rPr lang="en-US"/>
              <a:t>Click to edit Master title style</a:t>
            </a:r>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588440329"/>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75" name="Google Shape;75;p8"/>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0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a:p>
        </p:txBody>
      </p:sp>
      <p:sp>
        <p:nvSpPr>
          <p:cNvPr id="76" name="Google Shape;76;p8"/>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274313" lvl="0" indent="-274313" rtl="0">
              <a:spcBef>
                <a:spcPts val="0"/>
              </a:spcBef>
              <a:spcAft>
                <a:spcPts val="0"/>
              </a:spcAft>
              <a:buClr>
                <a:srgbClr val="FFFFFF"/>
              </a:buClr>
              <a:buSzPts val="1300"/>
              <a:buChar char="■"/>
              <a:defRPr>
                <a:solidFill>
                  <a:srgbClr val="FFFFFF"/>
                </a:solidFill>
                <a:latin typeface="+mn-lt"/>
              </a:defRPr>
            </a:lvl1pPr>
            <a:lvl2pPr marL="914378" lvl="1" indent="-304793" rtl="0">
              <a:spcBef>
                <a:spcPts val="1600"/>
              </a:spcBef>
              <a:spcAft>
                <a:spcPts val="0"/>
              </a:spcAft>
              <a:buClr>
                <a:srgbClr val="FFFFFF"/>
              </a:buClr>
              <a:buSzPts val="1200"/>
              <a:buChar char="⎼"/>
              <a:defRPr>
                <a:solidFill>
                  <a:srgbClr val="FFFFFF"/>
                </a:solidFill>
              </a:defRPr>
            </a:lvl2pPr>
            <a:lvl3pPr marL="1371566" lvl="2" indent="-292093" rtl="0">
              <a:spcBef>
                <a:spcPts val="1600"/>
              </a:spcBef>
              <a:spcAft>
                <a:spcPts val="0"/>
              </a:spcAft>
              <a:buClr>
                <a:srgbClr val="FFFFFF"/>
              </a:buClr>
              <a:buSzPts val="1000"/>
              <a:buChar char="○"/>
              <a:defRPr>
                <a:solidFill>
                  <a:srgbClr val="FFFFFF"/>
                </a:solidFill>
              </a:defRPr>
            </a:lvl3pPr>
            <a:lvl4pPr marL="1828754" lvl="3" indent="-292093" rtl="0">
              <a:spcBef>
                <a:spcPts val="1600"/>
              </a:spcBef>
              <a:spcAft>
                <a:spcPts val="0"/>
              </a:spcAft>
              <a:buClr>
                <a:srgbClr val="FFFFFF"/>
              </a:buClr>
              <a:buSzPts val="1000"/>
              <a:buChar char="■"/>
              <a:defRPr>
                <a:solidFill>
                  <a:srgbClr val="FFFFFF"/>
                </a:solidFill>
              </a:defRPr>
            </a:lvl4pPr>
            <a:lvl5pPr marL="2285943" lvl="4" indent="-292093" rtl="0">
              <a:spcBef>
                <a:spcPts val="1600"/>
              </a:spcBef>
              <a:spcAft>
                <a:spcPts val="0"/>
              </a:spcAft>
              <a:buClr>
                <a:srgbClr val="FFFFFF"/>
              </a:buClr>
              <a:buSzPts val="1000"/>
              <a:buChar char="⎼"/>
              <a:defRPr>
                <a:solidFill>
                  <a:srgbClr val="FFFFFF"/>
                </a:solidFill>
              </a:defRPr>
            </a:lvl5pPr>
            <a:lvl6pPr marL="2743132" lvl="5" indent="-292093" rtl="0">
              <a:spcBef>
                <a:spcPts val="1600"/>
              </a:spcBef>
              <a:spcAft>
                <a:spcPts val="0"/>
              </a:spcAft>
              <a:buClr>
                <a:srgbClr val="FFFFFF"/>
              </a:buClr>
              <a:buSzPts val="1000"/>
              <a:buChar char="○"/>
              <a:defRPr>
                <a:solidFill>
                  <a:srgbClr val="FFFFFF"/>
                </a:solidFill>
              </a:defRPr>
            </a:lvl6pPr>
            <a:lvl7pPr marL="3200320" lvl="6" indent="-292093" rtl="0">
              <a:spcBef>
                <a:spcPts val="1600"/>
              </a:spcBef>
              <a:spcAft>
                <a:spcPts val="0"/>
              </a:spcAft>
              <a:buClr>
                <a:srgbClr val="FFFFFF"/>
              </a:buClr>
              <a:buSzPts val="1000"/>
              <a:buChar char="■"/>
              <a:defRPr>
                <a:solidFill>
                  <a:srgbClr val="FFFFFF"/>
                </a:solidFill>
              </a:defRPr>
            </a:lvl7pPr>
            <a:lvl8pPr marL="3657509" lvl="7" indent="-292093" rtl="0">
              <a:spcBef>
                <a:spcPts val="1600"/>
              </a:spcBef>
              <a:spcAft>
                <a:spcPts val="0"/>
              </a:spcAft>
              <a:buClr>
                <a:srgbClr val="FFFFFF"/>
              </a:buClr>
              <a:buSzPts val="1000"/>
              <a:buChar char="⎼"/>
              <a:defRPr>
                <a:solidFill>
                  <a:srgbClr val="FFFFFF"/>
                </a:solidFill>
              </a:defRPr>
            </a:lvl8pPr>
            <a:lvl9pPr marL="4114697" lvl="8" indent="-292093" rtl="0">
              <a:spcBef>
                <a:spcPts val="1600"/>
              </a:spcBef>
              <a:spcAft>
                <a:spcPts val="1600"/>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marL="311142" lvl="0" indent="-311142" rtl="0">
              <a:lnSpc>
                <a:spcPct val="100000"/>
              </a:lnSpc>
              <a:spcBef>
                <a:spcPts val="0"/>
              </a:spcBef>
              <a:spcAft>
                <a:spcPts val="0"/>
              </a:spcAft>
              <a:buClr>
                <a:schemeClr val="accent5"/>
              </a:buClr>
              <a:buSzPts val="1500"/>
              <a:buNone/>
              <a:defRPr sz="15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rPr>
              <a:pPr/>
              <a:t>‹#›</a:t>
            </a:fld>
            <a:endParaRPr lang="en-PH" sz="100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35299054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9143999" cy="51434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8" y="476276"/>
            <a:ext cx="6481562" cy="1790700"/>
          </a:xfrm>
          <a:prstGeom prst="rect">
            <a:avLst/>
          </a:prstGeom>
        </p:spPr>
        <p:txBody>
          <a:bodyPr anchor="b">
            <a:noAutofit/>
          </a:bodyPr>
          <a:lstStyle>
            <a:lvl1pPr algn="l">
              <a:defRPr sz="405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16418" y="2336032"/>
            <a:ext cx="6481562" cy="628412"/>
          </a:xfrm>
        </p:spPr>
        <p:txBody>
          <a:bodyPr>
            <a:noAutofit/>
          </a:bodyPr>
          <a:lstStyle>
            <a:lvl1pPr marL="0" indent="0" algn="l">
              <a:spcBef>
                <a:spcPts val="0"/>
              </a:spcBef>
              <a:spcAft>
                <a:spcPts val="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16419" y="3144351"/>
            <a:ext cx="6481562"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16419" y="3420452"/>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16419" y="3832626"/>
            <a:ext cx="6481562"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27728638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271" name="Google Shape;271;p31"/>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
        <p:nvSpPr>
          <p:cNvPr id="2" name="Slide Number Placeholder 1">
            <a:extLst>
              <a:ext uri="{FF2B5EF4-FFF2-40B4-BE49-F238E27FC236}">
                <a16:creationId xmlns:a16="http://schemas.microsoft.com/office/drawing/2014/main" id="{86DA505F-030E-B076-BB58-D92733706792}"/>
              </a:ext>
            </a:extLst>
          </p:cNvPr>
          <p:cNvSpPr txBox="1">
            <a:spLocks/>
          </p:cNvSpPr>
          <p:nvPr userDrawn="1"/>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750" smtClean="0">
                <a:solidFill>
                  <a:schemeClr val="bg1"/>
                </a:solidFill>
                <a:latin typeface="Montserrat" panose="00000500000000000000" pitchFamily="2" charset="0"/>
              </a:rPr>
              <a:pPr/>
              <a:t>‹#›</a:t>
            </a:fld>
            <a:endParaRPr lang="en-PH" sz="750">
              <a:solidFill>
                <a:schemeClr val="bg1"/>
              </a:solidFill>
              <a:latin typeface="Montserrat" panose="00000500000000000000" pitchFamily="2" charset="0"/>
            </a:endParaRPr>
          </a:p>
        </p:txBody>
      </p:sp>
    </p:spTree>
    <p:extLst>
      <p:ext uri="{BB962C8B-B14F-4D97-AF65-F5344CB8AC3E}">
        <p14:creationId xmlns:p14="http://schemas.microsoft.com/office/powerpoint/2010/main" val="15221918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75" name="Google Shape;75;p8"/>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0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a:p>
        </p:txBody>
      </p:sp>
      <p:sp>
        <p:nvSpPr>
          <p:cNvPr id="76" name="Google Shape;76;p8"/>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274313" lvl="0" indent="-274313" rtl="0">
              <a:spcBef>
                <a:spcPts val="0"/>
              </a:spcBef>
              <a:spcAft>
                <a:spcPts val="0"/>
              </a:spcAft>
              <a:buClr>
                <a:srgbClr val="FFFFFF"/>
              </a:buClr>
              <a:buSzPts val="1300"/>
              <a:buChar char="■"/>
              <a:defRPr>
                <a:solidFill>
                  <a:srgbClr val="FFFFFF"/>
                </a:solidFill>
                <a:latin typeface="+mn-lt"/>
              </a:defRPr>
            </a:lvl1pPr>
            <a:lvl2pPr marL="914378" lvl="1" indent="-304793" rtl="0">
              <a:spcBef>
                <a:spcPts val="1600"/>
              </a:spcBef>
              <a:spcAft>
                <a:spcPts val="0"/>
              </a:spcAft>
              <a:buClr>
                <a:srgbClr val="FFFFFF"/>
              </a:buClr>
              <a:buSzPts val="1200"/>
              <a:buChar char="⎼"/>
              <a:defRPr>
                <a:solidFill>
                  <a:srgbClr val="FFFFFF"/>
                </a:solidFill>
              </a:defRPr>
            </a:lvl2pPr>
            <a:lvl3pPr marL="1371566" lvl="2" indent="-292093" rtl="0">
              <a:spcBef>
                <a:spcPts val="1600"/>
              </a:spcBef>
              <a:spcAft>
                <a:spcPts val="0"/>
              </a:spcAft>
              <a:buClr>
                <a:srgbClr val="FFFFFF"/>
              </a:buClr>
              <a:buSzPts val="1000"/>
              <a:buChar char="○"/>
              <a:defRPr>
                <a:solidFill>
                  <a:srgbClr val="FFFFFF"/>
                </a:solidFill>
              </a:defRPr>
            </a:lvl3pPr>
            <a:lvl4pPr marL="1828754" lvl="3" indent="-292093" rtl="0">
              <a:spcBef>
                <a:spcPts val="1600"/>
              </a:spcBef>
              <a:spcAft>
                <a:spcPts val="0"/>
              </a:spcAft>
              <a:buClr>
                <a:srgbClr val="FFFFFF"/>
              </a:buClr>
              <a:buSzPts val="1000"/>
              <a:buChar char="■"/>
              <a:defRPr>
                <a:solidFill>
                  <a:srgbClr val="FFFFFF"/>
                </a:solidFill>
              </a:defRPr>
            </a:lvl4pPr>
            <a:lvl5pPr marL="2285943" lvl="4" indent="-292093" rtl="0">
              <a:spcBef>
                <a:spcPts val="1600"/>
              </a:spcBef>
              <a:spcAft>
                <a:spcPts val="0"/>
              </a:spcAft>
              <a:buClr>
                <a:srgbClr val="FFFFFF"/>
              </a:buClr>
              <a:buSzPts val="1000"/>
              <a:buChar char="⎼"/>
              <a:defRPr>
                <a:solidFill>
                  <a:srgbClr val="FFFFFF"/>
                </a:solidFill>
              </a:defRPr>
            </a:lvl5pPr>
            <a:lvl6pPr marL="2743132" lvl="5" indent="-292093" rtl="0">
              <a:spcBef>
                <a:spcPts val="1600"/>
              </a:spcBef>
              <a:spcAft>
                <a:spcPts val="0"/>
              </a:spcAft>
              <a:buClr>
                <a:srgbClr val="FFFFFF"/>
              </a:buClr>
              <a:buSzPts val="1000"/>
              <a:buChar char="○"/>
              <a:defRPr>
                <a:solidFill>
                  <a:srgbClr val="FFFFFF"/>
                </a:solidFill>
              </a:defRPr>
            </a:lvl6pPr>
            <a:lvl7pPr marL="3200320" lvl="6" indent="-292093" rtl="0">
              <a:spcBef>
                <a:spcPts val="1600"/>
              </a:spcBef>
              <a:spcAft>
                <a:spcPts val="0"/>
              </a:spcAft>
              <a:buClr>
                <a:srgbClr val="FFFFFF"/>
              </a:buClr>
              <a:buSzPts val="1000"/>
              <a:buChar char="■"/>
              <a:defRPr>
                <a:solidFill>
                  <a:srgbClr val="FFFFFF"/>
                </a:solidFill>
              </a:defRPr>
            </a:lvl7pPr>
            <a:lvl8pPr marL="3657509" lvl="7" indent="-292093" rtl="0">
              <a:spcBef>
                <a:spcPts val="1600"/>
              </a:spcBef>
              <a:spcAft>
                <a:spcPts val="0"/>
              </a:spcAft>
              <a:buClr>
                <a:srgbClr val="FFFFFF"/>
              </a:buClr>
              <a:buSzPts val="1000"/>
              <a:buChar char="⎼"/>
              <a:defRPr>
                <a:solidFill>
                  <a:srgbClr val="FFFFFF"/>
                </a:solidFill>
              </a:defRPr>
            </a:lvl8pPr>
            <a:lvl9pPr marL="4114697" lvl="8" indent="-292093" rtl="0">
              <a:spcBef>
                <a:spcPts val="1600"/>
              </a:spcBef>
              <a:spcAft>
                <a:spcPts val="1600"/>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marL="311142" lvl="0" indent="-311142" rtl="0">
              <a:lnSpc>
                <a:spcPct val="100000"/>
              </a:lnSpc>
              <a:spcBef>
                <a:spcPts val="0"/>
              </a:spcBef>
              <a:spcAft>
                <a:spcPts val="0"/>
              </a:spcAft>
              <a:buClr>
                <a:schemeClr val="accent5"/>
              </a:buClr>
              <a:buSzPts val="1500"/>
              <a:buNone/>
              <a:defRPr sz="15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rPr>
              <a:pPr/>
              <a:t>‹#›</a:t>
            </a:fld>
            <a:endParaRPr lang="en-PH" sz="100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8604038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271" name="Google Shape;271;p31"/>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 smtClean="0"/>
              <a:t>‹#›</a:t>
            </a:fld>
            <a:endParaRPr lang="en"/>
          </a:p>
        </p:txBody>
      </p:sp>
      <p:sp>
        <p:nvSpPr>
          <p:cNvPr id="273" name="Google Shape;273;p31"/>
          <p:cNvSpPr txBox="1">
            <a:spLocks noGrp="1"/>
          </p:cNvSpPr>
          <p:nvPr>
            <p:ph type="subTitle" idx="1"/>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927212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93" name="Google Shape;93;p10"/>
          <p:cNvSpPr txBox="1">
            <a:spLocks noGrp="1"/>
          </p:cNvSpPr>
          <p:nvPr>
            <p:ph type="subTitle" idx="1"/>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r>
              <a:rPr lang="en-US"/>
              <a:t>Click to edit Master subtitle style</a:t>
            </a:r>
            <a:endParaRPr/>
          </a:p>
        </p:txBody>
      </p:sp>
      <p:sp>
        <p:nvSpPr>
          <p:cNvPr id="94" name="Google Shape;94;p10"/>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18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000" smtClean="0">
                <a:solidFill>
                  <a:schemeClr val="bg1"/>
                </a:solidFill>
              </a:rPr>
              <a:pPr/>
              <a:t>‹#›</a:t>
            </a:fld>
            <a:endParaRPr lang="en-PH" sz="100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469496929"/>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latin typeface="+mn-lt"/>
            </a:endParaRPr>
          </a:p>
        </p:txBody>
      </p:sp>
      <p:sp>
        <p:nvSpPr>
          <p:cNvPr id="31" name="Google Shape;31;p3"/>
          <p:cNvSpPr txBox="1">
            <a:spLocks noGrp="1"/>
          </p:cNvSpPr>
          <p:nvPr>
            <p:ph type="ctrTitle"/>
          </p:nvPr>
        </p:nvSpPr>
        <p:spPr>
          <a:xfrm>
            <a:off x="343625" y="343825"/>
            <a:ext cx="8456400" cy="343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18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000">
                <a:solidFill>
                  <a:schemeClr val="lt1"/>
                </a:solidFill>
              </a:defRPr>
            </a:lvl2pPr>
            <a:lvl3pPr lvl="2" algn="ctr">
              <a:lnSpc>
                <a:spcPct val="100000"/>
              </a:lnSpc>
              <a:spcBef>
                <a:spcPts val="0"/>
              </a:spcBef>
              <a:spcAft>
                <a:spcPts val="0"/>
              </a:spcAft>
              <a:buClr>
                <a:schemeClr val="lt1"/>
              </a:buClr>
              <a:buSzPts val="2000"/>
              <a:buNone/>
              <a:defRPr sz="2000">
                <a:solidFill>
                  <a:schemeClr val="lt1"/>
                </a:solidFill>
              </a:defRPr>
            </a:lvl3pPr>
            <a:lvl4pPr lvl="3" algn="ctr">
              <a:lnSpc>
                <a:spcPct val="100000"/>
              </a:lnSpc>
              <a:spcBef>
                <a:spcPts val="0"/>
              </a:spcBef>
              <a:spcAft>
                <a:spcPts val="0"/>
              </a:spcAft>
              <a:buClr>
                <a:schemeClr val="lt1"/>
              </a:buClr>
              <a:buSzPts val="2000"/>
              <a:buNone/>
              <a:defRPr sz="2000">
                <a:solidFill>
                  <a:schemeClr val="lt1"/>
                </a:solidFill>
              </a:defRPr>
            </a:lvl4pPr>
            <a:lvl5pPr lvl="4" algn="ctr">
              <a:lnSpc>
                <a:spcPct val="100000"/>
              </a:lnSpc>
              <a:spcBef>
                <a:spcPts val="0"/>
              </a:spcBef>
              <a:spcAft>
                <a:spcPts val="0"/>
              </a:spcAft>
              <a:buClr>
                <a:schemeClr val="lt1"/>
              </a:buClr>
              <a:buSzPts val="2000"/>
              <a:buNone/>
              <a:defRPr sz="2000">
                <a:solidFill>
                  <a:schemeClr val="lt1"/>
                </a:solidFill>
              </a:defRPr>
            </a:lvl5pPr>
            <a:lvl6pPr lvl="5" algn="ctr">
              <a:lnSpc>
                <a:spcPct val="100000"/>
              </a:lnSpc>
              <a:spcBef>
                <a:spcPts val="0"/>
              </a:spcBef>
              <a:spcAft>
                <a:spcPts val="0"/>
              </a:spcAft>
              <a:buClr>
                <a:schemeClr val="lt1"/>
              </a:buClr>
              <a:buSzPts val="2000"/>
              <a:buNone/>
              <a:defRPr sz="2000">
                <a:solidFill>
                  <a:schemeClr val="lt1"/>
                </a:solidFill>
              </a:defRPr>
            </a:lvl6pPr>
            <a:lvl7pPr lvl="6" algn="ctr">
              <a:lnSpc>
                <a:spcPct val="100000"/>
              </a:lnSpc>
              <a:spcBef>
                <a:spcPts val="0"/>
              </a:spcBef>
              <a:spcAft>
                <a:spcPts val="0"/>
              </a:spcAft>
              <a:buClr>
                <a:schemeClr val="lt1"/>
              </a:buClr>
              <a:buSzPts val="2000"/>
              <a:buNone/>
              <a:defRPr sz="2000">
                <a:solidFill>
                  <a:schemeClr val="lt1"/>
                </a:solidFill>
              </a:defRPr>
            </a:lvl7pPr>
            <a:lvl8pPr lvl="7" algn="ctr">
              <a:lnSpc>
                <a:spcPct val="100000"/>
              </a:lnSpc>
              <a:spcBef>
                <a:spcPts val="0"/>
              </a:spcBef>
              <a:spcAft>
                <a:spcPts val="0"/>
              </a:spcAft>
              <a:buClr>
                <a:schemeClr val="lt1"/>
              </a:buClr>
              <a:buSzPts val="2000"/>
              <a:buNone/>
              <a:defRPr sz="2000">
                <a:solidFill>
                  <a:schemeClr val="lt1"/>
                </a:solidFill>
              </a:defRPr>
            </a:lvl8pPr>
            <a:lvl9pPr lvl="8" algn="ctr">
              <a:lnSpc>
                <a:spcPct val="100000"/>
              </a:lnSpc>
              <a:spcBef>
                <a:spcPts val="0"/>
              </a:spcBef>
              <a:spcAft>
                <a:spcPts val="0"/>
              </a:spcAft>
              <a:buClr>
                <a:schemeClr val="lt1"/>
              </a:buClr>
              <a:buSzPts val="2000"/>
              <a:buNone/>
              <a:defRPr sz="2000">
                <a:solidFill>
                  <a:schemeClr val="lt1"/>
                </a:solidFill>
              </a:defRPr>
            </a:lvl9pPr>
          </a:lstStyle>
          <a:p>
            <a:r>
              <a:rPr lang="en-US"/>
              <a:t>Click to edit Master title style</a:t>
            </a:r>
            <a:endParaRPr/>
          </a:p>
        </p:txBody>
      </p:sp>
      <p:sp>
        <p:nvSpPr>
          <p:cNvPr id="35" name="Google Shape;35;p3"/>
          <p:cNvSpPr txBox="1">
            <a:spLocks noGrp="1"/>
          </p:cNvSpPr>
          <p:nvPr>
            <p:ph type="subTitle" idx="1"/>
          </p:nvPr>
        </p:nvSpPr>
        <p:spPr>
          <a:xfrm>
            <a:off x="343625" y="608850"/>
            <a:ext cx="8456400" cy="396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350">
                <a:solidFill>
                  <a:schemeClr val="bg1"/>
                </a:solidFill>
                <a:latin typeface="+mn-lt"/>
                <a:ea typeface="Avenir"/>
                <a:cs typeface="Avenir"/>
                <a:sym typeface="Avenir"/>
              </a:defRPr>
            </a:lvl1pPr>
            <a:lvl2pPr lvl="1" algn="l">
              <a:lnSpc>
                <a:spcPct val="100000"/>
              </a:lnSpc>
              <a:spcBef>
                <a:spcPts val="1600"/>
              </a:spcBef>
              <a:spcAft>
                <a:spcPts val="0"/>
              </a:spcAft>
              <a:buClr>
                <a:srgbClr val="666666"/>
              </a:buClr>
              <a:buSzPts val="1400"/>
              <a:buNone/>
              <a:defRPr sz="1400">
                <a:solidFill>
                  <a:srgbClr val="666666"/>
                </a:solidFill>
              </a:defRPr>
            </a:lvl2pPr>
            <a:lvl3pPr lvl="2" algn="l">
              <a:lnSpc>
                <a:spcPct val="100000"/>
              </a:lnSpc>
              <a:spcBef>
                <a:spcPts val="1600"/>
              </a:spcBef>
              <a:spcAft>
                <a:spcPts val="0"/>
              </a:spcAft>
              <a:buClr>
                <a:srgbClr val="666666"/>
              </a:buClr>
              <a:buSzPts val="1400"/>
              <a:buNone/>
              <a:defRPr sz="1400">
                <a:solidFill>
                  <a:srgbClr val="666666"/>
                </a:solidFill>
              </a:defRPr>
            </a:lvl3pPr>
            <a:lvl4pPr lvl="3" algn="l">
              <a:lnSpc>
                <a:spcPct val="100000"/>
              </a:lnSpc>
              <a:spcBef>
                <a:spcPts val="1600"/>
              </a:spcBef>
              <a:spcAft>
                <a:spcPts val="0"/>
              </a:spcAft>
              <a:buClr>
                <a:srgbClr val="666666"/>
              </a:buClr>
              <a:buSzPts val="1400"/>
              <a:buNone/>
              <a:defRPr sz="1400">
                <a:solidFill>
                  <a:srgbClr val="666666"/>
                </a:solidFill>
              </a:defRPr>
            </a:lvl4pPr>
            <a:lvl5pPr lvl="4" algn="l">
              <a:lnSpc>
                <a:spcPct val="100000"/>
              </a:lnSpc>
              <a:spcBef>
                <a:spcPts val="1600"/>
              </a:spcBef>
              <a:spcAft>
                <a:spcPts val="0"/>
              </a:spcAft>
              <a:buClr>
                <a:srgbClr val="666666"/>
              </a:buClr>
              <a:buSzPts val="1400"/>
              <a:buNone/>
              <a:defRPr sz="1400">
                <a:solidFill>
                  <a:srgbClr val="666666"/>
                </a:solidFill>
              </a:defRPr>
            </a:lvl5pPr>
            <a:lvl6pPr lvl="5" algn="l">
              <a:lnSpc>
                <a:spcPct val="100000"/>
              </a:lnSpc>
              <a:spcBef>
                <a:spcPts val="1600"/>
              </a:spcBef>
              <a:spcAft>
                <a:spcPts val="0"/>
              </a:spcAft>
              <a:buClr>
                <a:srgbClr val="666666"/>
              </a:buClr>
              <a:buSzPts val="1400"/>
              <a:buNone/>
              <a:defRPr sz="1400">
                <a:solidFill>
                  <a:srgbClr val="666666"/>
                </a:solidFill>
              </a:defRPr>
            </a:lvl6pPr>
            <a:lvl7pPr lvl="6" algn="l">
              <a:lnSpc>
                <a:spcPct val="100000"/>
              </a:lnSpc>
              <a:spcBef>
                <a:spcPts val="1600"/>
              </a:spcBef>
              <a:spcAft>
                <a:spcPts val="0"/>
              </a:spcAft>
              <a:buClr>
                <a:srgbClr val="666666"/>
              </a:buClr>
              <a:buSzPts val="1400"/>
              <a:buNone/>
              <a:defRPr sz="1400">
                <a:solidFill>
                  <a:srgbClr val="666666"/>
                </a:solidFill>
              </a:defRPr>
            </a:lvl7pPr>
            <a:lvl8pPr lvl="7" algn="l">
              <a:lnSpc>
                <a:spcPct val="100000"/>
              </a:lnSpc>
              <a:spcBef>
                <a:spcPts val="1600"/>
              </a:spcBef>
              <a:spcAft>
                <a:spcPts val="0"/>
              </a:spcAft>
              <a:buClr>
                <a:srgbClr val="666666"/>
              </a:buClr>
              <a:buSzPts val="1400"/>
              <a:buNone/>
              <a:defRPr sz="1400">
                <a:solidFill>
                  <a:srgbClr val="666666"/>
                </a:solidFill>
              </a:defRPr>
            </a:lvl8pPr>
            <a:lvl9pPr lvl="8" algn="l">
              <a:lnSpc>
                <a:spcPct val="100000"/>
              </a:lnSpc>
              <a:spcBef>
                <a:spcPts val="1600"/>
              </a:spcBef>
              <a:spcAft>
                <a:spcPts val="1600"/>
              </a:spcAft>
              <a:buClr>
                <a:srgbClr val="666666"/>
              </a:buClr>
              <a:buSzPts val="1400"/>
              <a:buNone/>
              <a:defRPr sz="1400">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3216175" y="4490200"/>
            <a:ext cx="5584200" cy="396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2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200" b="1">
                <a:solidFill>
                  <a:srgbClr val="FFFFFF"/>
                </a:solidFill>
              </a:defRPr>
            </a:lvl2pPr>
            <a:lvl3pPr lvl="2" algn="l">
              <a:lnSpc>
                <a:spcPct val="100000"/>
              </a:lnSpc>
              <a:spcBef>
                <a:spcPts val="0"/>
              </a:spcBef>
              <a:spcAft>
                <a:spcPts val="0"/>
              </a:spcAft>
              <a:buClr>
                <a:srgbClr val="FFFFFF"/>
              </a:buClr>
              <a:buSzPts val="1200"/>
              <a:buNone/>
              <a:defRPr sz="1200" b="1">
                <a:solidFill>
                  <a:srgbClr val="FFFFFF"/>
                </a:solidFill>
              </a:defRPr>
            </a:lvl3pPr>
            <a:lvl4pPr lvl="3" algn="l">
              <a:lnSpc>
                <a:spcPct val="100000"/>
              </a:lnSpc>
              <a:spcBef>
                <a:spcPts val="0"/>
              </a:spcBef>
              <a:spcAft>
                <a:spcPts val="0"/>
              </a:spcAft>
              <a:buClr>
                <a:srgbClr val="FFFFFF"/>
              </a:buClr>
              <a:buSzPts val="1200"/>
              <a:buNone/>
              <a:defRPr sz="1200" b="1">
                <a:solidFill>
                  <a:srgbClr val="FFFFFF"/>
                </a:solidFill>
              </a:defRPr>
            </a:lvl4pPr>
            <a:lvl5pPr lvl="4" algn="l">
              <a:lnSpc>
                <a:spcPct val="100000"/>
              </a:lnSpc>
              <a:spcBef>
                <a:spcPts val="0"/>
              </a:spcBef>
              <a:spcAft>
                <a:spcPts val="0"/>
              </a:spcAft>
              <a:buClr>
                <a:srgbClr val="FFFFFF"/>
              </a:buClr>
              <a:buSzPts val="1200"/>
              <a:buNone/>
              <a:defRPr sz="1200" b="1">
                <a:solidFill>
                  <a:srgbClr val="FFFFFF"/>
                </a:solidFill>
              </a:defRPr>
            </a:lvl5pPr>
            <a:lvl6pPr lvl="5" algn="l">
              <a:lnSpc>
                <a:spcPct val="100000"/>
              </a:lnSpc>
              <a:spcBef>
                <a:spcPts val="0"/>
              </a:spcBef>
              <a:spcAft>
                <a:spcPts val="0"/>
              </a:spcAft>
              <a:buClr>
                <a:srgbClr val="FFFFFF"/>
              </a:buClr>
              <a:buSzPts val="1200"/>
              <a:buNone/>
              <a:defRPr sz="1200" b="1">
                <a:solidFill>
                  <a:srgbClr val="FFFFFF"/>
                </a:solidFill>
              </a:defRPr>
            </a:lvl6pPr>
            <a:lvl7pPr lvl="6" algn="l">
              <a:lnSpc>
                <a:spcPct val="100000"/>
              </a:lnSpc>
              <a:spcBef>
                <a:spcPts val="0"/>
              </a:spcBef>
              <a:spcAft>
                <a:spcPts val="0"/>
              </a:spcAft>
              <a:buClr>
                <a:srgbClr val="FFFFFF"/>
              </a:buClr>
              <a:buSzPts val="1200"/>
              <a:buNone/>
              <a:defRPr sz="1200" b="1">
                <a:solidFill>
                  <a:srgbClr val="FFFFFF"/>
                </a:solidFill>
              </a:defRPr>
            </a:lvl7pPr>
            <a:lvl8pPr lvl="7" algn="l">
              <a:lnSpc>
                <a:spcPct val="100000"/>
              </a:lnSpc>
              <a:spcBef>
                <a:spcPts val="0"/>
              </a:spcBef>
              <a:spcAft>
                <a:spcPts val="0"/>
              </a:spcAft>
              <a:buClr>
                <a:srgbClr val="FFFFFF"/>
              </a:buClr>
              <a:buSzPts val="1200"/>
              <a:buNone/>
              <a:defRPr sz="1200" b="1">
                <a:solidFill>
                  <a:srgbClr val="FFFFFF"/>
                </a:solidFill>
              </a:defRPr>
            </a:lvl8pPr>
            <a:lvl9pPr lvl="8" algn="l">
              <a:lnSpc>
                <a:spcPct val="100000"/>
              </a:lnSpc>
              <a:spcBef>
                <a:spcPts val="0"/>
              </a:spcBef>
              <a:spcAft>
                <a:spcPts val="0"/>
              </a:spcAft>
              <a:buClr>
                <a:srgbClr val="FFFFFF"/>
              </a:buClr>
              <a:buSzPts val="1200"/>
              <a:buNone/>
              <a:defRPr sz="12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343626" y="1251450"/>
            <a:ext cx="2531990" cy="3505500"/>
          </a:xfrm>
          <a:prstGeom prst="rect">
            <a:avLst/>
          </a:prstGeom>
          <a:noFill/>
          <a:ln>
            <a:noFill/>
          </a:ln>
        </p:spPr>
        <p:txBody>
          <a:bodyPr spcFirstLastPara="1" wrap="square" lIns="0" tIns="0" rIns="0" bIns="0" anchor="t" anchorCtr="0">
            <a:noAutofit/>
          </a:bodyPr>
          <a:lstStyle>
            <a:lvl1pPr marL="457189" lvl="0" indent="-285743" algn="l">
              <a:lnSpc>
                <a:spcPct val="100000"/>
              </a:lnSpc>
              <a:spcBef>
                <a:spcPts val="0"/>
              </a:spcBef>
              <a:spcAft>
                <a:spcPts val="0"/>
              </a:spcAft>
              <a:buClr>
                <a:srgbClr val="FFFFFF"/>
              </a:buClr>
              <a:buSzPts val="900"/>
              <a:buChar char="■"/>
              <a:defRPr sz="900">
                <a:solidFill>
                  <a:srgbClr val="FFFFFF"/>
                </a:solidFill>
                <a:latin typeface="+mn-lt"/>
                <a:ea typeface="Avenir"/>
                <a:cs typeface="Avenir"/>
                <a:sym typeface="Avenir"/>
              </a:defRPr>
            </a:lvl1pPr>
            <a:lvl2pPr marL="914378" lvl="1" indent="-285743" algn="l">
              <a:lnSpc>
                <a:spcPct val="100000"/>
              </a:lnSpc>
              <a:spcBef>
                <a:spcPts val="800"/>
              </a:spcBef>
              <a:spcAft>
                <a:spcPts val="0"/>
              </a:spcAft>
              <a:buClr>
                <a:srgbClr val="FFFFFF"/>
              </a:buClr>
              <a:buSzPts val="900"/>
              <a:buChar char="⎼"/>
              <a:defRPr sz="900">
                <a:solidFill>
                  <a:srgbClr val="FFFFFF"/>
                </a:solidFill>
              </a:defRPr>
            </a:lvl2pPr>
            <a:lvl3pPr marL="1371566" lvl="2" indent="-285743" algn="l">
              <a:lnSpc>
                <a:spcPct val="100000"/>
              </a:lnSpc>
              <a:spcBef>
                <a:spcPts val="800"/>
              </a:spcBef>
              <a:spcAft>
                <a:spcPts val="0"/>
              </a:spcAft>
              <a:buClr>
                <a:srgbClr val="FFFFFF"/>
              </a:buClr>
              <a:buSzPts val="900"/>
              <a:buChar char="○"/>
              <a:defRPr sz="900">
                <a:solidFill>
                  <a:srgbClr val="FFFFFF"/>
                </a:solidFill>
              </a:defRPr>
            </a:lvl3pPr>
            <a:lvl4pPr marL="1828754" lvl="3" indent="-285743" algn="l">
              <a:lnSpc>
                <a:spcPct val="100000"/>
              </a:lnSpc>
              <a:spcBef>
                <a:spcPts val="800"/>
              </a:spcBef>
              <a:spcAft>
                <a:spcPts val="0"/>
              </a:spcAft>
              <a:buClr>
                <a:srgbClr val="FFFFFF"/>
              </a:buClr>
              <a:buSzPts val="900"/>
              <a:buChar char="■"/>
              <a:defRPr sz="900">
                <a:solidFill>
                  <a:srgbClr val="FFFFFF"/>
                </a:solidFill>
              </a:defRPr>
            </a:lvl4pPr>
            <a:lvl5pPr marL="2285943" lvl="4" indent="-285743" algn="l">
              <a:lnSpc>
                <a:spcPct val="100000"/>
              </a:lnSpc>
              <a:spcBef>
                <a:spcPts val="800"/>
              </a:spcBef>
              <a:spcAft>
                <a:spcPts val="0"/>
              </a:spcAft>
              <a:buClr>
                <a:srgbClr val="FFFFFF"/>
              </a:buClr>
              <a:buSzPts val="900"/>
              <a:buChar char="⎼"/>
              <a:defRPr sz="900">
                <a:solidFill>
                  <a:srgbClr val="FFFFFF"/>
                </a:solidFill>
              </a:defRPr>
            </a:lvl5pPr>
            <a:lvl6pPr marL="2743132" lvl="5" indent="-285743" algn="l">
              <a:lnSpc>
                <a:spcPct val="100000"/>
              </a:lnSpc>
              <a:spcBef>
                <a:spcPts val="800"/>
              </a:spcBef>
              <a:spcAft>
                <a:spcPts val="0"/>
              </a:spcAft>
              <a:buClr>
                <a:srgbClr val="FFFFFF"/>
              </a:buClr>
              <a:buSzPts val="900"/>
              <a:buChar char="○"/>
              <a:defRPr sz="900">
                <a:solidFill>
                  <a:srgbClr val="FFFFFF"/>
                </a:solidFill>
              </a:defRPr>
            </a:lvl6pPr>
            <a:lvl7pPr marL="3200320" lvl="6" indent="-285743" algn="l">
              <a:lnSpc>
                <a:spcPct val="100000"/>
              </a:lnSpc>
              <a:spcBef>
                <a:spcPts val="800"/>
              </a:spcBef>
              <a:spcAft>
                <a:spcPts val="0"/>
              </a:spcAft>
              <a:buClr>
                <a:srgbClr val="FFFFFF"/>
              </a:buClr>
              <a:buSzPts val="900"/>
              <a:buChar char="■"/>
              <a:defRPr sz="900">
                <a:solidFill>
                  <a:srgbClr val="FFFFFF"/>
                </a:solidFill>
              </a:defRPr>
            </a:lvl7pPr>
            <a:lvl8pPr marL="3657509" lvl="7" indent="-285743" algn="l">
              <a:lnSpc>
                <a:spcPct val="100000"/>
              </a:lnSpc>
              <a:spcBef>
                <a:spcPts val="800"/>
              </a:spcBef>
              <a:spcAft>
                <a:spcPts val="0"/>
              </a:spcAft>
              <a:buClr>
                <a:srgbClr val="FFFFFF"/>
              </a:buClr>
              <a:buSzPts val="900"/>
              <a:buChar char="⎼"/>
              <a:defRPr sz="900">
                <a:solidFill>
                  <a:srgbClr val="FFFFFF"/>
                </a:solidFill>
              </a:defRPr>
            </a:lvl8pPr>
            <a:lvl9pPr marL="4114697" lvl="8" indent="-285743" algn="l">
              <a:lnSpc>
                <a:spcPct val="100000"/>
              </a:lnSpc>
              <a:spcBef>
                <a:spcPts val="800"/>
              </a:spcBef>
              <a:spcAft>
                <a:spcPts val="800"/>
              </a:spcAft>
              <a:buClr>
                <a:srgbClr val="FFFFFF"/>
              </a:buClr>
              <a:buSzPts val="900"/>
              <a:buChar char="○"/>
              <a:defRPr sz="9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3216175" y="1204691"/>
            <a:ext cx="5584200" cy="1848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100" b="1">
                <a:solidFill>
                  <a:srgbClr val="FFFFFF"/>
                </a:solidFill>
              </a:defRPr>
            </a:lvl2pPr>
            <a:lvl3pPr lvl="2" algn="l">
              <a:lnSpc>
                <a:spcPct val="100000"/>
              </a:lnSpc>
              <a:spcBef>
                <a:spcPts val="0"/>
              </a:spcBef>
              <a:spcAft>
                <a:spcPts val="0"/>
              </a:spcAft>
              <a:buClr>
                <a:srgbClr val="FFFFFF"/>
              </a:buClr>
              <a:buSzPts val="1100"/>
              <a:buNone/>
              <a:defRPr sz="1100" b="1">
                <a:solidFill>
                  <a:srgbClr val="FFFFFF"/>
                </a:solidFill>
              </a:defRPr>
            </a:lvl3pPr>
            <a:lvl4pPr lvl="3" algn="l">
              <a:lnSpc>
                <a:spcPct val="100000"/>
              </a:lnSpc>
              <a:spcBef>
                <a:spcPts val="0"/>
              </a:spcBef>
              <a:spcAft>
                <a:spcPts val="0"/>
              </a:spcAft>
              <a:buClr>
                <a:srgbClr val="FFFFFF"/>
              </a:buClr>
              <a:buSzPts val="1100"/>
              <a:buNone/>
              <a:defRPr sz="1100" b="1">
                <a:solidFill>
                  <a:srgbClr val="FFFFFF"/>
                </a:solidFill>
              </a:defRPr>
            </a:lvl4pPr>
            <a:lvl5pPr lvl="4" algn="l">
              <a:lnSpc>
                <a:spcPct val="100000"/>
              </a:lnSpc>
              <a:spcBef>
                <a:spcPts val="0"/>
              </a:spcBef>
              <a:spcAft>
                <a:spcPts val="0"/>
              </a:spcAft>
              <a:buClr>
                <a:srgbClr val="FFFFFF"/>
              </a:buClr>
              <a:buSzPts val="1100"/>
              <a:buNone/>
              <a:defRPr sz="1100" b="1">
                <a:solidFill>
                  <a:srgbClr val="FFFFFF"/>
                </a:solidFill>
              </a:defRPr>
            </a:lvl5pPr>
            <a:lvl6pPr lvl="5" algn="l">
              <a:lnSpc>
                <a:spcPct val="100000"/>
              </a:lnSpc>
              <a:spcBef>
                <a:spcPts val="0"/>
              </a:spcBef>
              <a:spcAft>
                <a:spcPts val="0"/>
              </a:spcAft>
              <a:buClr>
                <a:srgbClr val="FFFFFF"/>
              </a:buClr>
              <a:buSzPts val="1100"/>
              <a:buNone/>
              <a:defRPr sz="1100" b="1">
                <a:solidFill>
                  <a:srgbClr val="FFFFFF"/>
                </a:solidFill>
              </a:defRPr>
            </a:lvl6pPr>
            <a:lvl7pPr lvl="6" algn="l">
              <a:lnSpc>
                <a:spcPct val="100000"/>
              </a:lnSpc>
              <a:spcBef>
                <a:spcPts val="0"/>
              </a:spcBef>
              <a:spcAft>
                <a:spcPts val="0"/>
              </a:spcAft>
              <a:buClr>
                <a:srgbClr val="FFFFFF"/>
              </a:buClr>
              <a:buSzPts val="1100"/>
              <a:buNone/>
              <a:defRPr sz="1100" b="1">
                <a:solidFill>
                  <a:srgbClr val="FFFFFF"/>
                </a:solidFill>
              </a:defRPr>
            </a:lvl7pPr>
            <a:lvl8pPr lvl="7" algn="l">
              <a:lnSpc>
                <a:spcPct val="100000"/>
              </a:lnSpc>
              <a:spcBef>
                <a:spcPts val="0"/>
              </a:spcBef>
              <a:spcAft>
                <a:spcPts val="0"/>
              </a:spcAft>
              <a:buClr>
                <a:srgbClr val="FFFFFF"/>
              </a:buClr>
              <a:buSzPts val="1100"/>
              <a:buNone/>
              <a:defRPr sz="1100" b="1">
                <a:solidFill>
                  <a:srgbClr val="FFFFFF"/>
                </a:solidFill>
              </a:defRPr>
            </a:lvl8pPr>
            <a:lvl9pPr lvl="8" algn="l">
              <a:lnSpc>
                <a:spcPct val="100000"/>
              </a:lnSpc>
              <a:spcBef>
                <a:spcPts val="0"/>
              </a:spcBef>
              <a:spcAft>
                <a:spcPts val="0"/>
              </a:spcAft>
              <a:buClr>
                <a:srgbClr val="FFFFFF"/>
              </a:buClr>
              <a:buSzPts val="1100"/>
              <a:buNone/>
              <a:defRPr sz="1100"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220282680"/>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ver - White/grid 1">
  <p:cSld name="Cover - White/grid 1">
    <p:bg>
      <p:bgPr>
        <a:solidFill>
          <a:srgbClr val="FFFFFF"/>
        </a:solidFill>
        <a:effectLst/>
      </p:bgPr>
    </p:bg>
    <p:spTree>
      <p:nvGrpSpPr>
        <p:cNvPr id="1" name="Shape 375"/>
        <p:cNvGrpSpPr/>
        <p:nvPr/>
      </p:nvGrpSpPr>
      <p:grpSpPr>
        <a:xfrm>
          <a:off x="0" y="0"/>
          <a:ext cx="0" cy="0"/>
          <a:chOff x="0" y="0"/>
          <a:chExt cx="0" cy="0"/>
        </a:xfrm>
      </p:grpSpPr>
      <p:sp>
        <p:nvSpPr>
          <p:cNvPr id="382" name="Google Shape;382;p42"/>
          <p:cNvSpPr txBox="1">
            <a:spLocks noGrp="1"/>
          </p:cNvSpPr>
          <p:nvPr>
            <p:ph type="ctrTitle"/>
          </p:nvPr>
        </p:nvSpPr>
        <p:spPr>
          <a:xfrm>
            <a:off x="354650" y="826025"/>
            <a:ext cx="4126200" cy="1234800"/>
          </a:xfrm>
          <a:prstGeom prst="rect">
            <a:avLst/>
          </a:prstGeom>
        </p:spPr>
        <p:txBody>
          <a:bodyPr spcFirstLastPara="1" wrap="square" lIns="0" tIns="91425" rIns="0" bIns="91425" anchor="b" anchorCtr="0">
            <a:noAutofit/>
          </a:bodyPr>
          <a:lstStyle>
            <a:lvl1pPr lvl="0" rtl="0">
              <a:spcBef>
                <a:spcPts val="0"/>
              </a:spcBef>
              <a:spcAft>
                <a:spcPts val="0"/>
              </a:spcAft>
              <a:buClr>
                <a:srgbClr val="000000"/>
              </a:buClr>
              <a:buSzPts val="3000"/>
              <a:buFont typeface="Montserrat"/>
              <a:buNone/>
              <a:defRPr sz="3000" b="1">
                <a:solidFill>
                  <a:srgbClr val="000000"/>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5175">
                <a:solidFill>
                  <a:srgbClr val="FFFFFF"/>
                </a:solidFill>
              </a:defRPr>
            </a:lvl2pPr>
            <a:lvl3pPr lvl="2" algn="ctr" rtl="0">
              <a:spcBef>
                <a:spcPts val="0"/>
              </a:spcBef>
              <a:spcAft>
                <a:spcPts val="0"/>
              </a:spcAft>
              <a:buClr>
                <a:srgbClr val="FFFFFF"/>
              </a:buClr>
              <a:buSzPts val="5200"/>
              <a:buNone/>
              <a:defRPr sz="5175">
                <a:solidFill>
                  <a:srgbClr val="FFFFFF"/>
                </a:solidFill>
              </a:defRPr>
            </a:lvl3pPr>
            <a:lvl4pPr lvl="3" algn="ctr" rtl="0">
              <a:spcBef>
                <a:spcPts val="0"/>
              </a:spcBef>
              <a:spcAft>
                <a:spcPts val="0"/>
              </a:spcAft>
              <a:buClr>
                <a:srgbClr val="FFFFFF"/>
              </a:buClr>
              <a:buSzPts val="5200"/>
              <a:buNone/>
              <a:defRPr sz="5175">
                <a:solidFill>
                  <a:srgbClr val="FFFFFF"/>
                </a:solidFill>
              </a:defRPr>
            </a:lvl4pPr>
            <a:lvl5pPr lvl="4" algn="ctr" rtl="0">
              <a:spcBef>
                <a:spcPts val="0"/>
              </a:spcBef>
              <a:spcAft>
                <a:spcPts val="0"/>
              </a:spcAft>
              <a:buClr>
                <a:srgbClr val="FFFFFF"/>
              </a:buClr>
              <a:buSzPts val="5200"/>
              <a:buNone/>
              <a:defRPr sz="5175">
                <a:solidFill>
                  <a:srgbClr val="FFFFFF"/>
                </a:solidFill>
              </a:defRPr>
            </a:lvl5pPr>
            <a:lvl6pPr lvl="5" algn="ctr" rtl="0">
              <a:spcBef>
                <a:spcPts val="0"/>
              </a:spcBef>
              <a:spcAft>
                <a:spcPts val="0"/>
              </a:spcAft>
              <a:buClr>
                <a:srgbClr val="FFFFFF"/>
              </a:buClr>
              <a:buSzPts val="5200"/>
              <a:buNone/>
              <a:defRPr sz="5175">
                <a:solidFill>
                  <a:srgbClr val="FFFFFF"/>
                </a:solidFill>
              </a:defRPr>
            </a:lvl6pPr>
            <a:lvl7pPr lvl="6" algn="ctr" rtl="0">
              <a:spcBef>
                <a:spcPts val="0"/>
              </a:spcBef>
              <a:spcAft>
                <a:spcPts val="0"/>
              </a:spcAft>
              <a:buClr>
                <a:srgbClr val="FFFFFF"/>
              </a:buClr>
              <a:buSzPts val="5200"/>
              <a:buNone/>
              <a:defRPr sz="5175">
                <a:solidFill>
                  <a:srgbClr val="FFFFFF"/>
                </a:solidFill>
              </a:defRPr>
            </a:lvl7pPr>
            <a:lvl8pPr lvl="7" algn="ctr" rtl="0">
              <a:spcBef>
                <a:spcPts val="0"/>
              </a:spcBef>
              <a:spcAft>
                <a:spcPts val="0"/>
              </a:spcAft>
              <a:buClr>
                <a:srgbClr val="FFFFFF"/>
              </a:buClr>
              <a:buSzPts val="5200"/>
              <a:buNone/>
              <a:defRPr sz="5175">
                <a:solidFill>
                  <a:srgbClr val="FFFFFF"/>
                </a:solidFill>
              </a:defRPr>
            </a:lvl8pPr>
            <a:lvl9pPr lvl="8" algn="ctr" rtl="0">
              <a:spcBef>
                <a:spcPts val="0"/>
              </a:spcBef>
              <a:spcAft>
                <a:spcPts val="0"/>
              </a:spcAft>
              <a:buClr>
                <a:srgbClr val="FFFFFF"/>
              </a:buClr>
              <a:buSzPts val="5200"/>
              <a:buNone/>
              <a:defRPr sz="5175">
                <a:solidFill>
                  <a:srgbClr val="FFFFFF"/>
                </a:solidFill>
              </a:defRPr>
            </a:lvl9pPr>
          </a:lstStyle>
          <a:p>
            <a:endParaRPr/>
          </a:p>
        </p:txBody>
      </p:sp>
      <p:sp>
        <p:nvSpPr>
          <p:cNvPr id="383" name="Google Shape;383;p42"/>
          <p:cNvSpPr txBox="1">
            <a:spLocks noGrp="1"/>
          </p:cNvSpPr>
          <p:nvPr>
            <p:ph type="subTitle" idx="1"/>
          </p:nvPr>
        </p:nvSpPr>
        <p:spPr>
          <a:xfrm>
            <a:off x="354650" y="1984625"/>
            <a:ext cx="4126200" cy="7926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defRPr sz="1800">
                <a:solidFill>
                  <a:srgbClr val="666666"/>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9pPr>
          </a:lstStyle>
          <a:p>
            <a:endParaRPr/>
          </a:p>
        </p:txBody>
      </p:sp>
      <p:sp>
        <p:nvSpPr>
          <p:cNvPr id="384" name="Google Shape;384;p42"/>
          <p:cNvSpPr txBox="1">
            <a:spLocks noGrp="1"/>
          </p:cNvSpPr>
          <p:nvPr>
            <p:ph type="subTitle" idx="2"/>
          </p:nvPr>
        </p:nvSpPr>
        <p:spPr>
          <a:xfrm>
            <a:off x="354650" y="3059300"/>
            <a:ext cx="4126200" cy="307500"/>
          </a:xfrm>
          <a:prstGeom prst="rect">
            <a:avLst/>
          </a:prstGeom>
        </p:spPr>
        <p:txBody>
          <a:bodyPr spcFirstLastPara="1" wrap="square" lIns="0" tIns="91425" rIns="0" bIns="91425" anchor="b" anchorCtr="0">
            <a:noAutofit/>
          </a:bodyPr>
          <a:lstStyle>
            <a:lvl1pPr marL="311142" lvl="0" indent="-311142" rtl="0">
              <a:lnSpc>
                <a:spcPct val="100000"/>
              </a:lnSpc>
              <a:spcBef>
                <a:spcPts val="0"/>
              </a:spcBef>
              <a:spcAft>
                <a:spcPts val="0"/>
              </a:spcAft>
              <a:buClr>
                <a:srgbClr val="666666"/>
              </a:buClr>
              <a:buSzPts val="1200"/>
              <a:buNone/>
              <a:defRPr sz="1200" b="1">
                <a:solidFill>
                  <a:srgbClr val="666666"/>
                </a:solidFill>
                <a:latin typeface="Montserrat" panose="00000500000000000000" pitchFamily="2" charset="0"/>
              </a:defRPr>
            </a:lvl1pPr>
            <a:lvl2pPr lvl="1" rtl="0">
              <a:lnSpc>
                <a:spcPct val="100000"/>
              </a:lnSpc>
              <a:spcBef>
                <a:spcPts val="0"/>
              </a:spcBef>
              <a:spcAft>
                <a:spcPts val="0"/>
              </a:spcAft>
              <a:buClr>
                <a:srgbClr val="666666"/>
              </a:buClr>
              <a:buSzPts val="1800"/>
              <a:buNone/>
              <a:defRPr sz="1800" b="1">
                <a:solidFill>
                  <a:srgbClr val="666666"/>
                </a:solidFill>
              </a:defRPr>
            </a:lvl2pPr>
            <a:lvl3pPr lvl="2" rtl="0">
              <a:lnSpc>
                <a:spcPct val="100000"/>
              </a:lnSpc>
              <a:spcBef>
                <a:spcPts val="0"/>
              </a:spcBef>
              <a:spcAft>
                <a:spcPts val="0"/>
              </a:spcAft>
              <a:buClr>
                <a:srgbClr val="666666"/>
              </a:buClr>
              <a:buSzPts val="1800"/>
              <a:buNone/>
              <a:defRPr sz="1800" b="1">
                <a:solidFill>
                  <a:srgbClr val="666666"/>
                </a:solidFill>
              </a:defRPr>
            </a:lvl3pPr>
            <a:lvl4pPr lvl="3" rtl="0">
              <a:lnSpc>
                <a:spcPct val="100000"/>
              </a:lnSpc>
              <a:spcBef>
                <a:spcPts val="0"/>
              </a:spcBef>
              <a:spcAft>
                <a:spcPts val="0"/>
              </a:spcAft>
              <a:buClr>
                <a:srgbClr val="666666"/>
              </a:buClr>
              <a:buSzPts val="1800"/>
              <a:buNone/>
              <a:defRPr sz="1800" b="1">
                <a:solidFill>
                  <a:srgbClr val="666666"/>
                </a:solidFill>
              </a:defRPr>
            </a:lvl4pPr>
            <a:lvl5pPr lvl="4" rtl="0">
              <a:lnSpc>
                <a:spcPct val="100000"/>
              </a:lnSpc>
              <a:spcBef>
                <a:spcPts val="0"/>
              </a:spcBef>
              <a:spcAft>
                <a:spcPts val="0"/>
              </a:spcAft>
              <a:buClr>
                <a:srgbClr val="666666"/>
              </a:buClr>
              <a:buSzPts val="1800"/>
              <a:buNone/>
              <a:defRPr sz="1800" b="1">
                <a:solidFill>
                  <a:srgbClr val="666666"/>
                </a:solidFill>
              </a:defRPr>
            </a:lvl5pPr>
            <a:lvl6pPr lvl="5" rtl="0">
              <a:lnSpc>
                <a:spcPct val="100000"/>
              </a:lnSpc>
              <a:spcBef>
                <a:spcPts val="0"/>
              </a:spcBef>
              <a:spcAft>
                <a:spcPts val="0"/>
              </a:spcAft>
              <a:buClr>
                <a:srgbClr val="666666"/>
              </a:buClr>
              <a:buSzPts val="1800"/>
              <a:buNone/>
              <a:defRPr sz="1800" b="1">
                <a:solidFill>
                  <a:srgbClr val="666666"/>
                </a:solidFill>
              </a:defRPr>
            </a:lvl6pPr>
            <a:lvl7pPr lvl="6" rtl="0">
              <a:lnSpc>
                <a:spcPct val="100000"/>
              </a:lnSpc>
              <a:spcBef>
                <a:spcPts val="0"/>
              </a:spcBef>
              <a:spcAft>
                <a:spcPts val="0"/>
              </a:spcAft>
              <a:buClr>
                <a:srgbClr val="666666"/>
              </a:buClr>
              <a:buSzPts val="1800"/>
              <a:buNone/>
              <a:defRPr sz="1800" b="1">
                <a:solidFill>
                  <a:srgbClr val="666666"/>
                </a:solidFill>
              </a:defRPr>
            </a:lvl7pPr>
            <a:lvl8pPr lvl="7" rtl="0">
              <a:lnSpc>
                <a:spcPct val="100000"/>
              </a:lnSpc>
              <a:spcBef>
                <a:spcPts val="0"/>
              </a:spcBef>
              <a:spcAft>
                <a:spcPts val="0"/>
              </a:spcAft>
              <a:buClr>
                <a:srgbClr val="666666"/>
              </a:buClr>
              <a:buSzPts val="1800"/>
              <a:buNone/>
              <a:defRPr sz="1800" b="1">
                <a:solidFill>
                  <a:srgbClr val="666666"/>
                </a:solidFill>
              </a:defRPr>
            </a:lvl8pPr>
            <a:lvl9pPr lvl="8" rtl="0">
              <a:lnSpc>
                <a:spcPct val="100000"/>
              </a:lnSpc>
              <a:spcBef>
                <a:spcPts val="0"/>
              </a:spcBef>
              <a:spcAft>
                <a:spcPts val="0"/>
              </a:spcAft>
              <a:buClr>
                <a:srgbClr val="666666"/>
              </a:buClr>
              <a:buSzPts val="1800"/>
              <a:buNone/>
              <a:defRPr sz="1800" b="1">
                <a:solidFill>
                  <a:srgbClr val="666666"/>
                </a:solidFill>
              </a:defRPr>
            </a:lvl9pPr>
          </a:lstStyle>
          <a:p>
            <a:endParaRPr/>
          </a:p>
        </p:txBody>
      </p:sp>
      <p:sp>
        <p:nvSpPr>
          <p:cNvPr id="385" name="Google Shape;385;p42"/>
          <p:cNvSpPr txBox="1">
            <a:spLocks noGrp="1"/>
          </p:cNvSpPr>
          <p:nvPr>
            <p:ph type="subTitle" idx="3"/>
          </p:nvPr>
        </p:nvSpPr>
        <p:spPr>
          <a:xfrm>
            <a:off x="354650" y="3214400"/>
            <a:ext cx="4126200" cy="307500"/>
          </a:xfrm>
          <a:prstGeom prst="rect">
            <a:avLst/>
          </a:prstGeom>
        </p:spPr>
        <p:txBody>
          <a:bodyPr spcFirstLastPara="1" wrap="square" lIns="0" tIns="91425" rIns="0" bIns="91425" anchor="t" anchorCtr="0">
            <a:noAutofit/>
          </a:bodyPr>
          <a:lstStyle>
            <a:lvl1pPr marL="311142" lvl="0" indent="-311142" rtl="0">
              <a:lnSpc>
                <a:spcPct val="100000"/>
              </a:lnSpc>
              <a:spcBef>
                <a:spcPts val="0"/>
              </a:spcBef>
              <a:spcAft>
                <a:spcPts val="0"/>
              </a:spcAft>
              <a:buClr>
                <a:srgbClr val="666666"/>
              </a:buClr>
              <a:buSzPts val="1200"/>
              <a:buNone/>
              <a:defRPr sz="1200">
                <a:solidFill>
                  <a:srgbClr val="666666"/>
                </a:solidFill>
                <a:latin typeface="Montserrat" panose="00000500000000000000" pitchFamily="2" charset="0"/>
              </a:defRPr>
            </a:lvl1pPr>
            <a:lvl2pPr lvl="1" rtl="0">
              <a:lnSpc>
                <a:spcPct val="100000"/>
              </a:lnSpc>
              <a:spcBef>
                <a:spcPts val="0"/>
              </a:spcBef>
              <a:spcAft>
                <a:spcPts val="0"/>
              </a:spcAft>
              <a:buClr>
                <a:srgbClr val="666666"/>
              </a:buClr>
              <a:buSzPts val="1800"/>
              <a:buNone/>
              <a:defRPr sz="1800" b="1">
                <a:solidFill>
                  <a:srgbClr val="666666"/>
                </a:solidFill>
              </a:defRPr>
            </a:lvl2pPr>
            <a:lvl3pPr lvl="2" rtl="0">
              <a:lnSpc>
                <a:spcPct val="100000"/>
              </a:lnSpc>
              <a:spcBef>
                <a:spcPts val="0"/>
              </a:spcBef>
              <a:spcAft>
                <a:spcPts val="0"/>
              </a:spcAft>
              <a:buClr>
                <a:srgbClr val="666666"/>
              </a:buClr>
              <a:buSzPts val="1800"/>
              <a:buNone/>
              <a:defRPr sz="1800" b="1">
                <a:solidFill>
                  <a:srgbClr val="666666"/>
                </a:solidFill>
              </a:defRPr>
            </a:lvl3pPr>
            <a:lvl4pPr lvl="3" rtl="0">
              <a:lnSpc>
                <a:spcPct val="100000"/>
              </a:lnSpc>
              <a:spcBef>
                <a:spcPts val="0"/>
              </a:spcBef>
              <a:spcAft>
                <a:spcPts val="0"/>
              </a:spcAft>
              <a:buClr>
                <a:srgbClr val="666666"/>
              </a:buClr>
              <a:buSzPts val="1800"/>
              <a:buNone/>
              <a:defRPr sz="1800" b="1">
                <a:solidFill>
                  <a:srgbClr val="666666"/>
                </a:solidFill>
              </a:defRPr>
            </a:lvl4pPr>
            <a:lvl5pPr lvl="4" rtl="0">
              <a:lnSpc>
                <a:spcPct val="100000"/>
              </a:lnSpc>
              <a:spcBef>
                <a:spcPts val="0"/>
              </a:spcBef>
              <a:spcAft>
                <a:spcPts val="0"/>
              </a:spcAft>
              <a:buClr>
                <a:srgbClr val="666666"/>
              </a:buClr>
              <a:buSzPts val="1800"/>
              <a:buNone/>
              <a:defRPr sz="1800" b="1">
                <a:solidFill>
                  <a:srgbClr val="666666"/>
                </a:solidFill>
              </a:defRPr>
            </a:lvl5pPr>
            <a:lvl6pPr lvl="5" rtl="0">
              <a:lnSpc>
                <a:spcPct val="100000"/>
              </a:lnSpc>
              <a:spcBef>
                <a:spcPts val="0"/>
              </a:spcBef>
              <a:spcAft>
                <a:spcPts val="0"/>
              </a:spcAft>
              <a:buClr>
                <a:srgbClr val="666666"/>
              </a:buClr>
              <a:buSzPts val="1800"/>
              <a:buNone/>
              <a:defRPr sz="1800" b="1">
                <a:solidFill>
                  <a:srgbClr val="666666"/>
                </a:solidFill>
              </a:defRPr>
            </a:lvl6pPr>
            <a:lvl7pPr lvl="6" rtl="0">
              <a:lnSpc>
                <a:spcPct val="100000"/>
              </a:lnSpc>
              <a:spcBef>
                <a:spcPts val="0"/>
              </a:spcBef>
              <a:spcAft>
                <a:spcPts val="0"/>
              </a:spcAft>
              <a:buClr>
                <a:srgbClr val="666666"/>
              </a:buClr>
              <a:buSzPts val="1800"/>
              <a:buNone/>
              <a:defRPr sz="1800" b="1">
                <a:solidFill>
                  <a:srgbClr val="666666"/>
                </a:solidFill>
              </a:defRPr>
            </a:lvl7pPr>
            <a:lvl8pPr lvl="7" rtl="0">
              <a:lnSpc>
                <a:spcPct val="100000"/>
              </a:lnSpc>
              <a:spcBef>
                <a:spcPts val="0"/>
              </a:spcBef>
              <a:spcAft>
                <a:spcPts val="0"/>
              </a:spcAft>
              <a:buClr>
                <a:srgbClr val="666666"/>
              </a:buClr>
              <a:buSzPts val="1800"/>
              <a:buNone/>
              <a:defRPr sz="1800" b="1">
                <a:solidFill>
                  <a:srgbClr val="666666"/>
                </a:solidFill>
              </a:defRPr>
            </a:lvl8pPr>
            <a:lvl9pPr lvl="8" rtl="0">
              <a:lnSpc>
                <a:spcPct val="100000"/>
              </a:lnSpc>
              <a:spcBef>
                <a:spcPts val="0"/>
              </a:spcBef>
              <a:spcAft>
                <a:spcPts val="0"/>
              </a:spcAft>
              <a:buClr>
                <a:srgbClr val="666666"/>
              </a:buClr>
              <a:buSzPts val="1800"/>
              <a:buNone/>
              <a:defRPr sz="1800" b="1">
                <a:solidFill>
                  <a:srgbClr val="666666"/>
                </a:solidFill>
              </a:defRPr>
            </a:lvl9pPr>
          </a:lstStyle>
          <a:p>
            <a:endParaRPr/>
          </a:p>
        </p:txBody>
      </p:sp>
      <p:sp>
        <p:nvSpPr>
          <p:cNvPr id="386" name="Google Shape;386;p42"/>
          <p:cNvSpPr txBox="1">
            <a:spLocks noGrp="1"/>
          </p:cNvSpPr>
          <p:nvPr>
            <p:ph type="subTitle" idx="4"/>
          </p:nvPr>
        </p:nvSpPr>
        <p:spPr>
          <a:xfrm>
            <a:off x="354650" y="3642975"/>
            <a:ext cx="4126200" cy="307500"/>
          </a:xfrm>
          <a:prstGeom prst="rect">
            <a:avLst/>
          </a:prstGeom>
        </p:spPr>
        <p:txBody>
          <a:bodyPr spcFirstLastPara="1" wrap="square" lIns="0" tIns="91425" rIns="0" bIns="91425" anchor="t" anchorCtr="0">
            <a:noAutofit/>
          </a:bodyPr>
          <a:lstStyle>
            <a:lvl1pPr marL="311142" lvl="0" indent="-311142" rtl="0">
              <a:lnSpc>
                <a:spcPct val="100000"/>
              </a:lnSpc>
              <a:spcBef>
                <a:spcPts val="0"/>
              </a:spcBef>
              <a:spcAft>
                <a:spcPts val="0"/>
              </a:spcAft>
              <a:buClr>
                <a:srgbClr val="666666"/>
              </a:buClr>
              <a:buSzPts val="1000"/>
              <a:buNone/>
              <a:defRPr sz="975">
                <a:solidFill>
                  <a:srgbClr val="666666"/>
                </a:solidFill>
                <a:latin typeface="Montserrat" panose="00000500000000000000" pitchFamily="2" charset="0"/>
              </a:defRPr>
            </a:lvl1pPr>
            <a:lvl2pPr lvl="1" rtl="0">
              <a:lnSpc>
                <a:spcPct val="100000"/>
              </a:lnSpc>
              <a:spcBef>
                <a:spcPts val="0"/>
              </a:spcBef>
              <a:spcAft>
                <a:spcPts val="0"/>
              </a:spcAft>
              <a:buClr>
                <a:srgbClr val="666666"/>
              </a:buClr>
              <a:buSzPts val="1800"/>
              <a:buNone/>
              <a:defRPr sz="1800" b="1">
                <a:solidFill>
                  <a:srgbClr val="666666"/>
                </a:solidFill>
              </a:defRPr>
            </a:lvl2pPr>
            <a:lvl3pPr lvl="2" rtl="0">
              <a:lnSpc>
                <a:spcPct val="100000"/>
              </a:lnSpc>
              <a:spcBef>
                <a:spcPts val="0"/>
              </a:spcBef>
              <a:spcAft>
                <a:spcPts val="0"/>
              </a:spcAft>
              <a:buClr>
                <a:srgbClr val="666666"/>
              </a:buClr>
              <a:buSzPts val="1800"/>
              <a:buNone/>
              <a:defRPr sz="1800" b="1">
                <a:solidFill>
                  <a:srgbClr val="666666"/>
                </a:solidFill>
              </a:defRPr>
            </a:lvl3pPr>
            <a:lvl4pPr lvl="3" rtl="0">
              <a:lnSpc>
                <a:spcPct val="100000"/>
              </a:lnSpc>
              <a:spcBef>
                <a:spcPts val="0"/>
              </a:spcBef>
              <a:spcAft>
                <a:spcPts val="0"/>
              </a:spcAft>
              <a:buClr>
                <a:srgbClr val="666666"/>
              </a:buClr>
              <a:buSzPts val="1800"/>
              <a:buNone/>
              <a:defRPr sz="1800" b="1">
                <a:solidFill>
                  <a:srgbClr val="666666"/>
                </a:solidFill>
              </a:defRPr>
            </a:lvl4pPr>
            <a:lvl5pPr lvl="4" rtl="0">
              <a:lnSpc>
                <a:spcPct val="100000"/>
              </a:lnSpc>
              <a:spcBef>
                <a:spcPts val="0"/>
              </a:spcBef>
              <a:spcAft>
                <a:spcPts val="0"/>
              </a:spcAft>
              <a:buClr>
                <a:srgbClr val="666666"/>
              </a:buClr>
              <a:buSzPts val="1800"/>
              <a:buNone/>
              <a:defRPr sz="1800" b="1">
                <a:solidFill>
                  <a:srgbClr val="666666"/>
                </a:solidFill>
              </a:defRPr>
            </a:lvl5pPr>
            <a:lvl6pPr lvl="5" rtl="0">
              <a:lnSpc>
                <a:spcPct val="100000"/>
              </a:lnSpc>
              <a:spcBef>
                <a:spcPts val="0"/>
              </a:spcBef>
              <a:spcAft>
                <a:spcPts val="0"/>
              </a:spcAft>
              <a:buClr>
                <a:srgbClr val="666666"/>
              </a:buClr>
              <a:buSzPts val="1800"/>
              <a:buNone/>
              <a:defRPr sz="1800" b="1">
                <a:solidFill>
                  <a:srgbClr val="666666"/>
                </a:solidFill>
              </a:defRPr>
            </a:lvl6pPr>
            <a:lvl7pPr lvl="6" rtl="0">
              <a:lnSpc>
                <a:spcPct val="100000"/>
              </a:lnSpc>
              <a:spcBef>
                <a:spcPts val="0"/>
              </a:spcBef>
              <a:spcAft>
                <a:spcPts val="0"/>
              </a:spcAft>
              <a:buClr>
                <a:srgbClr val="666666"/>
              </a:buClr>
              <a:buSzPts val="1800"/>
              <a:buNone/>
              <a:defRPr sz="1800" b="1">
                <a:solidFill>
                  <a:srgbClr val="666666"/>
                </a:solidFill>
              </a:defRPr>
            </a:lvl7pPr>
            <a:lvl8pPr lvl="7" rtl="0">
              <a:lnSpc>
                <a:spcPct val="100000"/>
              </a:lnSpc>
              <a:spcBef>
                <a:spcPts val="0"/>
              </a:spcBef>
              <a:spcAft>
                <a:spcPts val="0"/>
              </a:spcAft>
              <a:buClr>
                <a:srgbClr val="666666"/>
              </a:buClr>
              <a:buSzPts val="1800"/>
              <a:buNone/>
              <a:defRPr sz="1800" b="1">
                <a:solidFill>
                  <a:srgbClr val="666666"/>
                </a:solidFill>
              </a:defRPr>
            </a:lvl8pPr>
            <a:lvl9pPr lvl="8" rtl="0">
              <a:lnSpc>
                <a:spcPct val="100000"/>
              </a:lnSpc>
              <a:spcBef>
                <a:spcPts val="0"/>
              </a:spcBef>
              <a:spcAft>
                <a:spcPts val="0"/>
              </a:spcAft>
              <a:buClr>
                <a:srgbClr val="666666"/>
              </a:buClr>
              <a:buSzPts val="1800"/>
              <a:buNone/>
              <a:defRPr sz="1800" b="1">
                <a:solidFill>
                  <a:srgbClr val="666666"/>
                </a:solidFill>
              </a:defRPr>
            </a:lvl9pPr>
          </a:lstStyle>
          <a:p>
            <a:endParaRPr/>
          </a:p>
        </p:txBody>
      </p:sp>
    </p:spTree>
    <p:extLst>
      <p:ext uri="{BB962C8B-B14F-4D97-AF65-F5344CB8AC3E}">
        <p14:creationId xmlns:p14="http://schemas.microsoft.com/office/powerpoint/2010/main" val="32598176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Inside - White blank" type="blank">
  <p:cSld name="Inside - White blank">
    <p:spTree>
      <p:nvGrpSpPr>
        <p:cNvPr id="1" name="Shape 34"/>
        <p:cNvGrpSpPr/>
        <p:nvPr/>
      </p:nvGrpSpPr>
      <p:grpSpPr>
        <a:xfrm>
          <a:off x="0" y="0"/>
          <a:ext cx="0" cy="0"/>
          <a:chOff x="0" y="0"/>
          <a:chExt cx="0" cy="0"/>
        </a:xfrm>
      </p:grpSpPr>
      <p:sp>
        <p:nvSpPr>
          <p:cNvPr id="36" name="Google Shape;36;p24"/>
          <p:cNvSpPr txBox="1">
            <a:spLocks noGrp="1"/>
          </p:cNvSpPr>
          <p:nvPr>
            <p:ph type="subTitle" idx="1"/>
          </p:nvPr>
        </p:nvSpPr>
        <p:spPr>
          <a:xfrm>
            <a:off x="354650" y="4857012"/>
            <a:ext cx="8159100" cy="184800"/>
          </a:xfrm>
          <a:prstGeom prst="rect">
            <a:avLst/>
          </a:prstGeom>
          <a:noFill/>
          <a:ln>
            <a:noFill/>
          </a:ln>
        </p:spPr>
        <p:txBody>
          <a:bodyPr spcFirstLastPara="1" wrap="square" lIns="0" tIns="91425" rIns="0" bIns="91425" anchor="b" anchorCtr="0">
            <a:noAutofit/>
          </a:bodyPr>
          <a:lstStyle>
            <a:lvl1pPr lvl="0" algn="l">
              <a:lnSpc>
                <a:spcPct val="100000"/>
              </a:lnSpc>
              <a:spcBef>
                <a:spcPts val="0"/>
              </a:spcBef>
              <a:spcAft>
                <a:spcPts val="0"/>
              </a:spcAft>
              <a:buClr>
                <a:schemeClr val="accent5"/>
              </a:buClr>
              <a:buSzPts val="600"/>
              <a:buNone/>
              <a:defRPr sz="600">
                <a:solidFill>
                  <a:schemeClr val="accent5"/>
                </a:solidFill>
                <a:latin typeface="Arial"/>
                <a:ea typeface="Arial"/>
                <a:cs typeface="Arial"/>
                <a:sym typeface="Arial"/>
              </a:defRPr>
            </a:lvl1pPr>
            <a:lvl2pPr lvl="1" algn="l">
              <a:lnSpc>
                <a:spcPct val="100000"/>
              </a:lnSpc>
              <a:spcBef>
                <a:spcPts val="0"/>
              </a:spcBef>
              <a:spcAft>
                <a:spcPts val="0"/>
              </a:spcAft>
              <a:buClr>
                <a:schemeClr val="accent5"/>
              </a:buClr>
              <a:buSzPts val="600"/>
              <a:buNone/>
              <a:defRPr sz="600">
                <a:solidFill>
                  <a:schemeClr val="accent5"/>
                </a:solidFill>
              </a:defRPr>
            </a:lvl2pPr>
            <a:lvl3pPr lvl="2" algn="l">
              <a:lnSpc>
                <a:spcPct val="100000"/>
              </a:lnSpc>
              <a:spcBef>
                <a:spcPts val="0"/>
              </a:spcBef>
              <a:spcAft>
                <a:spcPts val="0"/>
              </a:spcAft>
              <a:buClr>
                <a:schemeClr val="accent5"/>
              </a:buClr>
              <a:buSzPts val="600"/>
              <a:buNone/>
              <a:defRPr sz="600">
                <a:solidFill>
                  <a:schemeClr val="accent5"/>
                </a:solidFill>
              </a:defRPr>
            </a:lvl3pPr>
            <a:lvl4pPr lvl="3" algn="l">
              <a:lnSpc>
                <a:spcPct val="100000"/>
              </a:lnSpc>
              <a:spcBef>
                <a:spcPts val="0"/>
              </a:spcBef>
              <a:spcAft>
                <a:spcPts val="0"/>
              </a:spcAft>
              <a:buClr>
                <a:schemeClr val="accent5"/>
              </a:buClr>
              <a:buSzPts val="600"/>
              <a:buNone/>
              <a:defRPr sz="600">
                <a:solidFill>
                  <a:schemeClr val="accent5"/>
                </a:solidFill>
              </a:defRPr>
            </a:lvl4pPr>
            <a:lvl5pPr lvl="4" algn="l">
              <a:lnSpc>
                <a:spcPct val="100000"/>
              </a:lnSpc>
              <a:spcBef>
                <a:spcPts val="0"/>
              </a:spcBef>
              <a:spcAft>
                <a:spcPts val="0"/>
              </a:spcAft>
              <a:buClr>
                <a:schemeClr val="accent5"/>
              </a:buClr>
              <a:buSzPts val="600"/>
              <a:buNone/>
              <a:defRPr sz="600">
                <a:solidFill>
                  <a:schemeClr val="accent5"/>
                </a:solidFill>
              </a:defRPr>
            </a:lvl5pPr>
            <a:lvl6pPr lvl="5" algn="l">
              <a:lnSpc>
                <a:spcPct val="100000"/>
              </a:lnSpc>
              <a:spcBef>
                <a:spcPts val="0"/>
              </a:spcBef>
              <a:spcAft>
                <a:spcPts val="0"/>
              </a:spcAft>
              <a:buClr>
                <a:schemeClr val="accent5"/>
              </a:buClr>
              <a:buSzPts val="600"/>
              <a:buNone/>
              <a:defRPr sz="600">
                <a:solidFill>
                  <a:schemeClr val="accent5"/>
                </a:solidFill>
              </a:defRPr>
            </a:lvl6pPr>
            <a:lvl7pPr lvl="6" algn="l">
              <a:lnSpc>
                <a:spcPct val="100000"/>
              </a:lnSpc>
              <a:spcBef>
                <a:spcPts val="0"/>
              </a:spcBef>
              <a:spcAft>
                <a:spcPts val="0"/>
              </a:spcAft>
              <a:buClr>
                <a:schemeClr val="accent5"/>
              </a:buClr>
              <a:buSzPts val="600"/>
              <a:buNone/>
              <a:defRPr sz="600">
                <a:solidFill>
                  <a:schemeClr val="accent5"/>
                </a:solidFill>
              </a:defRPr>
            </a:lvl7pPr>
            <a:lvl8pPr lvl="7" algn="l">
              <a:lnSpc>
                <a:spcPct val="100000"/>
              </a:lnSpc>
              <a:spcBef>
                <a:spcPts val="0"/>
              </a:spcBef>
              <a:spcAft>
                <a:spcPts val="0"/>
              </a:spcAft>
              <a:buClr>
                <a:schemeClr val="accent5"/>
              </a:buClr>
              <a:buSzPts val="600"/>
              <a:buNone/>
              <a:defRPr sz="600">
                <a:solidFill>
                  <a:schemeClr val="accent5"/>
                </a:solidFill>
              </a:defRPr>
            </a:lvl8pPr>
            <a:lvl9pPr lvl="8" algn="l">
              <a:lnSpc>
                <a:spcPct val="100000"/>
              </a:lnSpc>
              <a:spcBef>
                <a:spcPts val="0"/>
              </a:spcBef>
              <a:spcAft>
                <a:spcPts val="0"/>
              </a:spcAft>
              <a:buClr>
                <a:schemeClr val="accent5"/>
              </a:buClr>
              <a:buSzPts val="600"/>
              <a:buNone/>
              <a:defRPr sz="600">
                <a:solidFill>
                  <a:schemeClr val="accent5"/>
                </a:solidFill>
              </a:defRPr>
            </a:lvl9pPr>
          </a:lstStyle>
          <a:p>
            <a:endParaRPr/>
          </a:p>
        </p:txBody>
      </p:sp>
      <p:sp>
        <p:nvSpPr>
          <p:cNvPr id="39" name="Google Shape;39;p24"/>
          <p:cNvSpPr txBox="1">
            <a:spLocks noGrp="1"/>
          </p:cNvSpPr>
          <p:nvPr>
            <p:ph type="body" idx="2"/>
          </p:nvPr>
        </p:nvSpPr>
        <p:spPr>
          <a:xfrm>
            <a:off x="360000" y="740664"/>
            <a:ext cx="8430900" cy="420600"/>
          </a:xfrm>
          <a:prstGeom prst="rect">
            <a:avLst/>
          </a:prstGeom>
          <a:solidFill>
            <a:srgbClr val="7F7F7F"/>
          </a:solidFill>
          <a:ln>
            <a:noFill/>
          </a:ln>
        </p:spPr>
        <p:txBody>
          <a:bodyPr spcFirstLastPara="1" wrap="square" lIns="73150" tIns="36575" rIns="73150" bIns="36575" anchor="ctr" anchorCtr="0">
            <a:noAutofit/>
          </a:bodyPr>
          <a:lstStyle>
            <a:lvl1pPr marL="457189" lvl="0" indent="-228594" algn="l">
              <a:lnSpc>
                <a:spcPct val="100000"/>
              </a:lnSpc>
              <a:spcBef>
                <a:spcPts val="0"/>
              </a:spcBef>
              <a:spcAft>
                <a:spcPts val="0"/>
              </a:spcAft>
              <a:buSzPts val="1100"/>
              <a:buNone/>
              <a:defRPr b="1">
                <a:solidFill>
                  <a:srgbClr val="FFFFFF"/>
                </a:solidFill>
              </a:defRPr>
            </a:lvl1pPr>
            <a:lvl2pPr marL="914378" lvl="1" indent="-342892" algn="l">
              <a:lnSpc>
                <a:spcPct val="100000"/>
              </a:lnSpc>
              <a:spcBef>
                <a:spcPts val="600"/>
              </a:spcBef>
              <a:spcAft>
                <a:spcPts val="0"/>
              </a:spcAft>
              <a:buSzPts val="1800"/>
              <a:buChar char="▪"/>
              <a:defRPr/>
            </a:lvl2pPr>
            <a:lvl3pPr marL="1371566" lvl="2" indent="-342892" algn="l">
              <a:lnSpc>
                <a:spcPct val="100000"/>
              </a:lnSpc>
              <a:spcBef>
                <a:spcPts val="600"/>
              </a:spcBef>
              <a:spcAft>
                <a:spcPts val="0"/>
              </a:spcAft>
              <a:buSzPts val="1800"/>
              <a:buChar char="▪"/>
              <a:defRPr/>
            </a:lvl3pPr>
            <a:lvl4pPr marL="1828754" lvl="3" indent="-342892" algn="l">
              <a:lnSpc>
                <a:spcPct val="100000"/>
              </a:lnSpc>
              <a:spcBef>
                <a:spcPts val="600"/>
              </a:spcBef>
              <a:spcAft>
                <a:spcPts val="0"/>
              </a:spcAft>
              <a:buSzPts val="1800"/>
              <a:buChar char="▪"/>
              <a:defRPr/>
            </a:lvl4pPr>
            <a:lvl5pPr marL="2285943" lvl="4" indent="-342892" algn="l">
              <a:lnSpc>
                <a:spcPct val="100000"/>
              </a:lnSpc>
              <a:spcBef>
                <a:spcPts val="600"/>
              </a:spcBef>
              <a:spcAft>
                <a:spcPts val="0"/>
              </a:spcAft>
              <a:buSzPts val="1800"/>
              <a:buChar char="▪"/>
              <a:defRPr/>
            </a:lvl5pPr>
            <a:lvl6pPr marL="2743132" lvl="5" indent="-228594" algn="l">
              <a:lnSpc>
                <a:spcPct val="100000"/>
              </a:lnSpc>
              <a:spcBef>
                <a:spcPts val="60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924425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Inside - White blank" type="blank">
  <p:cSld name="1_Inside - White blank">
    <p:spTree>
      <p:nvGrpSpPr>
        <p:cNvPr id="1" name="Shape 96"/>
        <p:cNvGrpSpPr/>
        <p:nvPr/>
      </p:nvGrpSpPr>
      <p:grpSpPr>
        <a:xfrm>
          <a:off x="0" y="0"/>
          <a:ext cx="0" cy="0"/>
          <a:chOff x="0" y="0"/>
          <a:chExt cx="0" cy="0"/>
        </a:xfrm>
      </p:grpSpPr>
      <p:sp>
        <p:nvSpPr>
          <p:cNvPr id="99" name="Google Shape;99;p11"/>
          <p:cNvSpPr txBox="1">
            <a:spLocks noGrp="1"/>
          </p:cNvSpPr>
          <p:nvPr>
            <p:ph type="subTitle" idx="1"/>
          </p:nvPr>
        </p:nvSpPr>
        <p:spPr>
          <a:xfrm>
            <a:off x="354650" y="4857012"/>
            <a:ext cx="8159100" cy="1848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6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endParaRPr/>
          </a:p>
        </p:txBody>
      </p:sp>
      <p:sp>
        <p:nvSpPr>
          <p:cNvPr id="6" name="Slide Number Placeholder 1">
            <a:extLst>
              <a:ext uri="{FF2B5EF4-FFF2-40B4-BE49-F238E27FC236}">
                <a16:creationId xmlns:a16="http://schemas.microsoft.com/office/drawing/2014/main" id="{33E4119A-B785-460B-BC0C-F9FD211E8203}"/>
              </a:ext>
            </a:extLst>
          </p:cNvPr>
          <p:cNvSpPr txBox="1">
            <a:spLocks/>
          </p:cNvSpPr>
          <p:nvPr userDrawn="1"/>
        </p:nvSpPr>
        <p:spPr>
          <a:xfrm>
            <a:off x="6732050" y="4809374"/>
            <a:ext cx="2057400" cy="274637"/>
          </a:xfrm>
          <a:prstGeom prst="rect">
            <a:avLst/>
          </a:prstGeom>
        </p:spPr>
        <p:txBody>
          <a:bodyPr vert="horz" lIns="0" tIns="45720" rIns="0" bIns="4572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750" smtClean="0">
                <a:solidFill>
                  <a:schemeClr val="tx1"/>
                </a:solidFill>
                <a:latin typeface="Montserrat" panose="00000500000000000000" pitchFamily="2" charset="0"/>
              </a:rPr>
              <a:pPr/>
              <a:t>‹#›</a:t>
            </a:fld>
            <a:endParaRPr lang="en-PH" sz="750">
              <a:solidFill>
                <a:schemeClr val="tx1"/>
              </a:solidFill>
              <a:latin typeface="Montserrat" panose="00000500000000000000" pitchFamily="2" charset="0"/>
            </a:endParaRPr>
          </a:p>
        </p:txBody>
      </p:sp>
    </p:spTree>
    <p:extLst>
      <p:ext uri="{BB962C8B-B14F-4D97-AF65-F5344CB8AC3E}">
        <p14:creationId xmlns:p14="http://schemas.microsoft.com/office/powerpoint/2010/main" val="13985528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Tree>
    <p:extLst>
      <p:ext uri="{BB962C8B-B14F-4D97-AF65-F5344CB8AC3E}">
        <p14:creationId xmlns:p14="http://schemas.microsoft.com/office/powerpoint/2010/main" val="18499204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Inside - White/title/body text">
  <p:cSld name="1_Inside - White/title/body text">
    <p:spTree>
      <p:nvGrpSpPr>
        <p:cNvPr id="1" name="Shape 64"/>
        <p:cNvGrpSpPr/>
        <p:nvPr/>
      </p:nvGrpSpPr>
      <p:grpSpPr>
        <a:xfrm>
          <a:off x="0" y="0"/>
          <a:ext cx="0" cy="0"/>
          <a:chOff x="0" y="0"/>
          <a:chExt cx="0" cy="0"/>
        </a:xfrm>
      </p:grpSpPr>
      <p:sp>
        <p:nvSpPr>
          <p:cNvPr id="66" name="Google Shape;66;p7"/>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a:p>
        </p:txBody>
      </p:sp>
      <p:sp>
        <p:nvSpPr>
          <p:cNvPr id="67" name="Google Shape;67;p7"/>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457200" lvl="0" indent="-311150" rtl="0">
              <a:spcBef>
                <a:spcPts val="0"/>
              </a:spcBef>
              <a:spcAft>
                <a:spcPts val="0"/>
              </a:spcAft>
              <a:buSzPts val="1300"/>
              <a:buChar char="■"/>
              <a:defRPr/>
            </a:lvl1pPr>
            <a:lvl2pPr marL="914400" lvl="1" indent="-304800" rtl="0">
              <a:spcBef>
                <a:spcPts val="1600"/>
              </a:spcBef>
              <a:spcAft>
                <a:spcPts val="0"/>
              </a:spcAft>
              <a:buSzPts val="1200"/>
              <a:buChar char="⎼"/>
              <a:defRPr/>
            </a:lvl2pPr>
            <a:lvl3pPr marL="1371600" lvl="2" indent="-292100" rtl="0">
              <a:spcBef>
                <a:spcPts val="1600"/>
              </a:spcBef>
              <a:spcAft>
                <a:spcPts val="0"/>
              </a:spcAft>
              <a:buSzPts val="1000"/>
              <a:buChar char="○"/>
              <a:defRPr/>
            </a:lvl3pPr>
            <a:lvl4pPr marL="1828800" lvl="3" indent="-292100" rtl="0">
              <a:spcBef>
                <a:spcPts val="1600"/>
              </a:spcBef>
              <a:spcAft>
                <a:spcPts val="0"/>
              </a:spcAft>
              <a:buSzPts val="1000"/>
              <a:buChar char="■"/>
              <a:defRPr/>
            </a:lvl4pPr>
            <a:lvl5pPr marL="2286000" lvl="4" indent="-292100" rtl="0">
              <a:spcBef>
                <a:spcPts val="1600"/>
              </a:spcBef>
              <a:spcAft>
                <a:spcPts val="0"/>
              </a:spcAft>
              <a:buSzPts val="1000"/>
              <a:buChar char="⎼"/>
              <a:defRPr/>
            </a:lvl5pPr>
            <a:lvl6pPr marL="2743200" lvl="5" indent="-292100" rtl="0">
              <a:spcBef>
                <a:spcPts val="1600"/>
              </a:spcBef>
              <a:spcAft>
                <a:spcPts val="0"/>
              </a:spcAft>
              <a:buSzPts val="1000"/>
              <a:buChar char="○"/>
              <a:defRPr/>
            </a:lvl6pPr>
            <a:lvl7pPr marL="3200400" lvl="6" indent="-292100" rtl="0">
              <a:spcBef>
                <a:spcPts val="1600"/>
              </a:spcBef>
              <a:spcAft>
                <a:spcPts val="0"/>
              </a:spcAft>
              <a:buSzPts val="1000"/>
              <a:buChar char="■"/>
              <a:defRPr/>
            </a:lvl7pPr>
            <a:lvl8pPr marL="3657600" lvl="7" indent="-292100" rtl="0">
              <a:spcBef>
                <a:spcPts val="1600"/>
              </a:spcBef>
              <a:spcAft>
                <a:spcPts val="0"/>
              </a:spcAft>
              <a:buSzPts val="1000"/>
              <a:buChar char="⎼"/>
              <a:defRPr/>
            </a:lvl8pPr>
            <a:lvl9pPr marL="4114800" lvl="8" indent="-292100" rtl="0">
              <a:spcBef>
                <a:spcPts val="1600"/>
              </a:spcBef>
              <a:spcAft>
                <a:spcPts val="1600"/>
              </a:spcAft>
              <a:buSzPts val="1000"/>
              <a:buChar char="○"/>
              <a:defRPr/>
            </a:lvl9pPr>
          </a:lstStyle>
          <a:p>
            <a:endParaRPr/>
          </a:p>
        </p:txBody>
      </p:sp>
      <p:sp>
        <p:nvSpPr>
          <p:cNvPr id="69" name="Google Shape;69;p7"/>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chemeClr val="accent5"/>
              </a:buClr>
              <a:buSzPts val="1500"/>
              <a:buNone/>
              <a:defRPr sz="1500">
                <a:solidFill>
                  <a:schemeClr val="accent5"/>
                </a:solidFill>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endParaRPr/>
          </a:p>
        </p:txBody>
      </p:sp>
      <p:sp>
        <p:nvSpPr>
          <p:cNvPr id="70" name="Google Shape;70;p7"/>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algn="r" rtl="0">
              <a:buNone/>
              <a:defRPr sz="1000">
                <a:latin typeface="Montserrat Light"/>
                <a:ea typeface="Montserrat Light"/>
                <a:cs typeface="Montserrat Light"/>
                <a:sym typeface="Montserrat Light"/>
              </a:defRPr>
            </a:lvl1pPr>
            <a:lvl2pPr lvl="1" algn="r" rtl="0">
              <a:buNone/>
              <a:defRPr sz="1000">
                <a:latin typeface="Montserrat Light"/>
                <a:ea typeface="Montserrat Light"/>
                <a:cs typeface="Montserrat Light"/>
                <a:sym typeface="Montserrat Light"/>
              </a:defRPr>
            </a:lvl2pPr>
            <a:lvl3pPr lvl="2" algn="r" rtl="0">
              <a:buNone/>
              <a:defRPr sz="1000">
                <a:latin typeface="Montserrat Light"/>
                <a:ea typeface="Montserrat Light"/>
                <a:cs typeface="Montserrat Light"/>
                <a:sym typeface="Montserrat Light"/>
              </a:defRPr>
            </a:lvl3pPr>
            <a:lvl4pPr lvl="3" algn="r" rtl="0">
              <a:buNone/>
              <a:defRPr sz="1000">
                <a:latin typeface="Montserrat Light"/>
                <a:ea typeface="Montserrat Light"/>
                <a:cs typeface="Montserrat Light"/>
                <a:sym typeface="Montserrat Light"/>
              </a:defRPr>
            </a:lvl4pPr>
            <a:lvl5pPr lvl="4" algn="r" rtl="0">
              <a:buNone/>
              <a:defRPr sz="1000">
                <a:latin typeface="Montserrat Light"/>
                <a:ea typeface="Montserrat Light"/>
                <a:cs typeface="Montserrat Light"/>
                <a:sym typeface="Montserrat Light"/>
              </a:defRPr>
            </a:lvl5pPr>
            <a:lvl6pPr lvl="5" algn="r" rtl="0">
              <a:buNone/>
              <a:defRPr sz="1000">
                <a:latin typeface="Montserrat Light"/>
                <a:ea typeface="Montserrat Light"/>
                <a:cs typeface="Montserrat Light"/>
                <a:sym typeface="Montserrat Light"/>
              </a:defRPr>
            </a:lvl6pPr>
            <a:lvl7pPr lvl="6" algn="r" rtl="0">
              <a:buNone/>
              <a:defRPr sz="1000">
                <a:latin typeface="Montserrat Light"/>
                <a:ea typeface="Montserrat Light"/>
                <a:cs typeface="Montserrat Light"/>
                <a:sym typeface="Montserrat Light"/>
              </a:defRPr>
            </a:lvl7pPr>
            <a:lvl8pPr lvl="7" algn="r" rtl="0">
              <a:buNone/>
              <a:defRPr sz="1000">
                <a:latin typeface="Montserrat Light"/>
                <a:ea typeface="Montserrat Light"/>
                <a:cs typeface="Montserrat Light"/>
                <a:sym typeface="Montserrat Light"/>
              </a:defRPr>
            </a:lvl8pPr>
            <a:lvl9pPr lvl="8" algn="r" rtl="0">
              <a:buNone/>
              <a:defRPr sz="1000">
                <a:latin typeface="Montserrat Light"/>
                <a:ea typeface="Montserrat Light"/>
                <a:cs typeface="Montserrat Light"/>
                <a:sym typeface="Montserrat Light"/>
              </a:defRPr>
            </a:lvl9pPr>
          </a:lstStyle>
          <a:p>
            <a:pPr marL="0" lvl="0" indent="0" algn="r" rtl="0">
              <a:spcBef>
                <a:spcPts val="0"/>
              </a:spcBef>
              <a:spcAft>
                <a:spcPts val="0"/>
              </a:spcAft>
              <a:buNone/>
            </a:pPr>
            <a:fld id="{00000000-1234-1234-1234-123412341234}" type="slidenum">
              <a:rPr lang="en"/>
              <a:t>‹#›</a:t>
            </a:fld>
            <a:endParaRPr/>
          </a:p>
        </p:txBody>
      </p:sp>
      <p:sp>
        <p:nvSpPr>
          <p:cNvPr id="72" name="Google Shape;72;p7"/>
          <p:cNvSpPr txBox="1">
            <a:spLocks noGrp="1"/>
          </p:cNvSpPr>
          <p:nvPr>
            <p:ph type="subTitle" idx="3"/>
          </p:nvPr>
        </p:nvSpPr>
        <p:spPr>
          <a:xfrm>
            <a:off x="354650" y="4857012"/>
            <a:ext cx="8159100" cy="1848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chemeClr val="accent5"/>
              </a:buClr>
              <a:buSzPts val="600"/>
              <a:buNone/>
              <a:defRPr sz="600">
                <a:solidFill>
                  <a:schemeClr val="accent5"/>
                </a:solidFill>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endParaRPr/>
          </a:p>
        </p:txBody>
      </p:sp>
    </p:spTree>
    <p:extLst>
      <p:ext uri="{BB962C8B-B14F-4D97-AF65-F5344CB8AC3E}">
        <p14:creationId xmlns:p14="http://schemas.microsoft.com/office/powerpoint/2010/main" val="2389782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82228" y="0"/>
            <a:ext cx="3761773" cy="4333816"/>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bg1"/>
          </a:solidFill>
        </p:spPr>
        <p:txBody>
          <a:bodyPr/>
          <a:lstStyle>
            <a:lvl1pPr marL="0" indent="0" algn="ctr">
              <a:buNone/>
              <a:defRPr/>
            </a:lvl1pPr>
          </a:lstStyle>
          <a:p>
            <a:r>
              <a:rPr lang="en-US"/>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1479105229"/>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Inside - White/title/body text 2">
  <p:cSld name="Inside - White/title/body text 2">
    <p:spTree>
      <p:nvGrpSpPr>
        <p:cNvPr id="1" name="Shape 102"/>
        <p:cNvGrpSpPr/>
        <p:nvPr/>
      </p:nvGrpSpPr>
      <p:grpSpPr>
        <a:xfrm>
          <a:off x="0" y="0"/>
          <a:ext cx="0" cy="0"/>
          <a:chOff x="0" y="0"/>
          <a:chExt cx="0" cy="0"/>
        </a:xfrm>
      </p:grpSpPr>
      <p:sp>
        <p:nvSpPr>
          <p:cNvPr id="105" name="Google Shape;105;p11"/>
          <p:cNvSpPr txBox="1">
            <a:spLocks noGrp="1"/>
          </p:cNvSpPr>
          <p:nvPr>
            <p:ph type="title"/>
          </p:nvPr>
        </p:nvSpPr>
        <p:spPr>
          <a:xfrm>
            <a:off x="354650" y="292625"/>
            <a:ext cx="8434800" cy="3936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a:p>
        </p:txBody>
      </p:sp>
      <p:sp>
        <p:nvSpPr>
          <p:cNvPr id="106" name="Google Shape;106;p11"/>
          <p:cNvSpPr txBox="1">
            <a:spLocks noGrp="1"/>
          </p:cNvSpPr>
          <p:nvPr>
            <p:ph type="body" idx="1"/>
          </p:nvPr>
        </p:nvSpPr>
        <p:spPr>
          <a:xfrm>
            <a:off x="354650" y="1152475"/>
            <a:ext cx="8434800" cy="3416400"/>
          </a:xfrm>
          <a:prstGeom prst="rect">
            <a:avLst/>
          </a:prstGeom>
        </p:spPr>
        <p:txBody>
          <a:bodyPr spcFirstLastPara="1" wrap="square" lIns="0" tIns="91425" rIns="0" bIns="91425" anchor="t" anchorCtr="0">
            <a:noAutofit/>
          </a:bodyPr>
          <a:lstStyle>
            <a:lvl1pPr marL="457189" lvl="0" indent="-311142" rtl="0">
              <a:spcBef>
                <a:spcPts val="0"/>
              </a:spcBef>
              <a:spcAft>
                <a:spcPts val="0"/>
              </a:spcAft>
              <a:buSzPts val="1300"/>
              <a:buChar char="■"/>
              <a:defRPr/>
            </a:lvl1pPr>
            <a:lvl2pPr marL="914378" lvl="1" indent="-304793" rtl="0">
              <a:spcBef>
                <a:spcPts val="1600"/>
              </a:spcBef>
              <a:spcAft>
                <a:spcPts val="0"/>
              </a:spcAft>
              <a:buSzPts val="1200"/>
              <a:buChar char="⎼"/>
              <a:defRPr/>
            </a:lvl2pPr>
            <a:lvl3pPr marL="1371566" lvl="2" indent="-292093" rtl="0">
              <a:spcBef>
                <a:spcPts val="1600"/>
              </a:spcBef>
              <a:spcAft>
                <a:spcPts val="0"/>
              </a:spcAft>
              <a:buSzPts val="1000"/>
              <a:buChar char="○"/>
              <a:defRPr/>
            </a:lvl3pPr>
            <a:lvl4pPr marL="1828754" lvl="3" indent="-292093" rtl="0">
              <a:spcBef>
                <a:spcPts val="1600"/>
              </a:spcBef>
              <a:spcAft>
                <a:spcPts val="0"/>
              </a:spcAft>
              <a:buSzPts val="1000"/>
              <a:buChar char="■"/>
              <a:defRPr/>
            </a:lvl4pPr>
            <a:lvl5pPr marL="2285943" lvl="4" indent="-292093" rtl="0">
              <a:spcBef>
                <a:spcPts val="1600"/>
              </a:spcBef>
              <a:spcAft>
                <a:spcPts val="0"/>
              </a:spcAft>
              <a:buSzPts val="1000"/>
              <a:buChar char="⎼"/>
              <a:defRPr/>
            </a:lvl5pPr>
            <a:lvl6pPr marL="2743132" lvl="5" indent="-292093" rtl="0">
              <a:spcBef>
                <a:spcPts val="1600"/>
              </a:spcBef>
              <a:spcAft>
                <a:spcPts val="0"/>
              </a:spcAft>
              <a:buSzPts val="1000"/>
              <a:buChar char="○"/>
              <a:defRPr/>
            </a:lvl6pPr>
            <a:lvl7pPr marL="3200320" lvl="6" indent="-292093" rtl="0">
              <a:spcBef>
                <a:spcPts val="1600"/>
              </a:spcBef>
              <a:spcAft>
                <a:spcPts val="0"/>
              </a:spcAft>
              <a:buSzPts val="1000"/>
              <a:buChar char="■"/>
              <a:defRPr/>
            </a:lvl7pPr>
            <a:lvl8pPr marL="3657509" lvl="7" indent="-292093" rtl="0">
              <a:spcBef>
                <a:spcPts val="1600"/>
              </a:spcBef>
              <a:spcAft>
                <a:spcPts val="0"/>
              </a:spcAft>
              <a:buSzPts val="1000"/>
              <a:buChar char="⎼"/>
              <a:defRPr/>
            </a:lvl8pPr>
            <a:lvl9pPr marL="4114697" lvl="8" indent="-292093" rtl="0">
              <a:spcBef>
                <a:spcPts val="1600"/>
              </a:spcBef>
              <a:spcAft>
                <a:spcPts val="1600"/>
              </a:spcAft>
              <a:buSzPts val="1000"/>
              <a:buChar char="○"/>
              <a:defRPr/>
            </a:lvl9pPr>
          </a:lstStyle>
          <a:p>
            <a:endParaRPr/>
          </a:p>
        </p:txBody>
      </p:sp>
      <p:sp>
        <p:nvSpPr>
          <p:cNvPr id="108" name="Google Shape;108;p11"/>
          <p:cNvSpPr txBox="1">
            <a:spLocks noGrp="1"/>
          </p:cNvSpPr>
          <p:nvPr>
            <p:ph type="subTitle" idx="2"/>
          </p:nvPr>
        </p:nvSpPr>
        <p:spPr>
          <a:xfrm>
            <a:off x="354650" y="620550"/>
            <a:ext cx="8434800" cy="3843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chemeClr val="accent5"/>
              </a:buClr>
              <a:buSzPts val="1500"/>
              <a:buNone/>
              <a:defRPr sz="1500">
                <a:solidFill>
                  <a:schemeClr val="accent5"/>
                </a:solidFill>
              </a:defRPr>
            </a:lvl1pPr>
            <a:lvl2pPr lvl="1" rtl="0">
              <a:lnSpc>
                <a:spcPct val="100000"/>
              </a:lnSpc>
              <a:spcBef>
                <a:spcPts val="0"/>
              </a:spcBef>
              <a:spcAft>
                <a:spcPts val="0"/>
              </a:spcAft>
              <a:buClr>
                <a:schemeClr val="accent5"/>
              </a:buClr>
              <a:buSzPts val="1400"/>
              <a:buNone/>
              <a:defRPr sz="1400">
                <a:solidFill>
                  <a:schemeClr val="accent5"/>
                </a:solidFill>
              </a:defRPr>
            </a:lvl2pPr>
            <a:lvl3pPr lvl="2" rtl="0">
              <a:lnSpc>
                <a:spcPct val="100000"/>
              </a:lnSpc>
              <a:spcBef>
                <a:spcPts val="0"/>
              </a:spcBef>
              <a:spcAft>
                <a:spcPts val="0"/>
              </a:spcAft>
              <a:buClr>
                <a:schemeClr val="accent5"/>
              </a:buClr>
              <a:buSzPts val="1400"/>
              <a:buNone/>
              <a:defRPr sz="1400">
                <a:solidFill>
                  <a:schemeClr val="accent5"/>
                </a:solidFill>
              </a:defRPr>
            </a:lvl3pPr>
            <a:lvl4pPr lvl="3" rtl="0">
              <a:lnSpc>
                <a:spcPct val="100000"/>
              </a:lnSpc>
              <a:spcBef>
                <a:spcPts val="0"/>
              </a:spcBef>
              <a:spcAft>
                <a:spcPts val="0"/>
              </a:spcAft>
              <a:buClr>
                <a:schemeClr val="accent5"/>
              </a:buClr>
              <a:buSzPts val="1400"/>
              <a:buNone/>
              <a:defRPr sz="1400">
                <a:solidFill>
                  <a:schemeClr val="accent5"/>
                </a:solidFill>
              </a:defRPr>
            </a:lvl4pPr>
            <a:lvl5pPr lvl="4" rtl="0">
              <a:lnSpc>
                <a:spcPct val="100000"/>
              </a:lnSpc>
              <a:spcBef>
                <a:spcPts val="0"/>
              </a:spcBef>
              <a:spcAft>
                <a:spcPts val="0"/>
              </a:spcAft>
              <a:buClr>
                <a:schemeClr val="accent5"/>
              </a:buClr>
              <a:buSzPts val="1400"/>
              <a:buNone/>
              <a:defRPr sz="1400">
                <a:solidFill>
                  <a:schemeClr val="accent5"/>
                </a:solidFill>
              </a:defRPr>
            </a:lvl5pPr>
            <a:lvl6pPr lvl="5" rtl="0">
              <a:lnSpc>
                <a:spcPct val="100000"/>
              </a:lnSpc>
              <a:spcBef>
                <a:spcPts val="0"/>
              </a:spcBef>
              <a:spcAft>
                <a:spcPts val="0"/>
              </a:spcAft>
              <a:buClr>
                <a:schemeClr val="accent5"/>
              </a:buClr>
              <a:buSzPts val="1400"/>
              <a:buNone/>
              <a:defRPr sz="1400">
                <a:solidFill>
                  <a:schemeClr val="accent5"/>
                </a:solidFill>
              </a:defRPr>
            </a:lvl6pPr>
            <a:lvl7pPr lvl="6" rtl="0">
              <a:lnSpc>
                <a:spcPct val="100000"/>
              </a:lnSpc>
              <a:spcBef>
                <a:spcPts val="0"/>
              </a:spcBef>
              <a:spcAft>
                <a:spcPts val="0"/>
              </a:spcAft>
              <a:buClr>
                <a:schemeClr val="accent5"/>
              </a:buClr>
              <a:buSzPts val="1400"/>
              <a:buNone/>
              <a:defRPr sz="1400">
                <a:solidFill>
                  <a:schemeClr val="accent5"/>
                </a:solidFill>
              </a:defRPr>
            </a:lvl7pPr>
            <a:lvl8pPr lvl="7" rtl="0">
              <a:lnSpc>
                <a:spcPct val="100000"/>
              </a:lnSpc>
              <a:spcBef>
                <a:spcPts val="0"/>
              </a:spcBef>
              <a:spcAft>
                <a:spcPts val="0"/>
              </a:spcAft>
              <a:buClr>
                <a:schemeClr val="accent5"/>
              </a:buClr>
              <a:buSzPts val="1400"/>
              <a:buNone/>
              <a:defRPr sz="1400">
                <a:solidFill>
                  <a:schemeClr val="accent5"/>
                </a:solidFill>
              </a:defRPr>
            </a:lvl8pPr>
            <a:lvl9pPr lvl="8" rtl="0">
              <a:lnSpc>
                <a:spcPct val="100000"/>
              </a:lnSpc>
              <a:spcBef>
                <a:spcPts val="0"/>
              </a:spcBef>
              <a:spcAft>
                <a:spcPts val="0"/>
              </a:spcAft>
              <a:buClr>
                <a:schemeClr val="accent5"/>
              </a:buClr>
              <a:buSzPts val="1400"/>
              <a:buNone/>
              <a:defRPr sz="1400">
                <a:solidFill>
                  <a:schemeClr val="accent5"/>
                </a:solidFill>
              </a:defRPr>
            </a:lvl9pPr>
          </a:lstStyle>
          <a:p>
            <a:endParaRPr/>
          </a:p>
        </p:txBody>
      </p:sp>
      <p:sp>
        <p:nvSpPr>
          <p:cNvPr id="109" name="Google Shape;109;p11"/>
          <p:cNvSpPr txBox="1">
            <a:spLocks noGrp="1"/>
          </p:cNvSpPr>
          <p:nvPr>
            <p:ph type="sldNum" idx="12"/>
          </p:nvPr>
        </p:nvSpPr>
        <p:spPr>
          <a:xfrm>
            <a:off x="8396258" y="4749892"/>
            <a:ext cx="548700" cy="393600"/>
          </a:xfrm>
          <a:prstGeom prst="rect">
            <a:avLst/>
          </a:prstGeom>
        </p:spPr>
        <p:txBody>
          <a:bodyPr spcFirstLastPara="1" wrap="square" lIns="91425" tIns="91425" rIns="91425" bIns="91425" anchor="ctr" anchorCtr="0">
            <a:noAutofit/>
          </a:bodyPr>
          <a:lstStyle>
            <a:lvl1pPr lvl="0" algn="r" rtl="0">
              <a:buNone/>
              <a:defRPr sz="1000">
                <a:latin typeface="Montserrat Light"/>
                <a:ea typeface="Montserrat Light"/>
                <a:cs typeface="Montserrat Light"/>
                <a:sym typeface="Montserrat Light"/>
              </a:defRPr>
            </a:lvl1pPr>
            <a:lvl2pPr lvl="1" algn="r" rtl="0">
              <a:buNone/>
              <a:defRPr sz="1000">
                <a:latin typeface="Montserrat Light"/>
                <a:ea typeface="Montserrat Light"/>
                <a:cs typeface="Montserrat Light"/>
                <a:sym typeface="Montserrat Light"/>
              </a:defRPr>
            </a:lvl2pPr>
            <a:lvl3pPr lvl="2" algn="r" rtl="0">
              <a:buNone/>
              <a:defRPr sz="1000">
                <a:latin typeface="Montserrat Light"/>
                <a:ea typeface="Montserrat Light"/>
                <a:cs typeface="Montserrat Light"/>
                <a:sym typeface="Montserrat Light"/>
              </a:defRPr>
            </a:lvl3pPr>
            <a:lvl4pPr lvl="3" algn="r" rtl="0">
              <a:buNone/>
              <a:defRPr sz="1000">
                <a:latin typeface="Montserrat Light"/>
                <a:ea typeface="Montserrat Light"/>
                <a:cs typeface="Montserrat Light"/>
                <a:sym typeface="Montserrat Light"/>
              </a:defRPr>
            </a:lvl4pPr>
            <a:lvl5pPr lvl="4" algn="r" rtl="0">
              <a:buNone/>
              <a:defRPr sz="1000">
                <a:latin typeface="Montserrat Light"/>
                <a:ea typeface="Montserrat Light"/>
                <a:cs typeface="Montserrat Light"/>
                <a:sym typeface="Montserrat Light"/>
              </a:defRPr>
            </a:lvl5pPr>
            <a:lvl6pPr lvl="5" algn="r" rtl="0">
              <a:buNone/>
              <a:defRPr sz="1000">
                <a:latin typeface="Montserrat Light"/>
                <a:ea typeface="Montserrat Light"/>
                <a:cs typeface="Montserrat Light"/>
                <a:sym typeface="Montserrat Light"/>
              </a:defRPr>
            </a:lvl6pPr>
            <a:lvl7pPr lvl="6" algn="r" rtl="0">
              <a:buNone/>
              <a:defRPr sz="1000">
                <a:latin typeface="Montserrat Light"/>
                <a:ea typeface="Montserrat Light"/>
                <a:cs typeface="Montserrat Light"/>
                <a:sym typeface="Montserrat Light"/>
              </a:defRPr>
            </a:lvl7pPr>
            <a:lvl8pPr lvl="7" algn="r" rtl="0">
              <a:buNone/>
              <a:defRPr sz="1000">
                <a:latin typeface="Montserrat Light"/>
                <a:ea typeface="Montserrat Light"/>
                <a:cs typeface="Montserrat Light"/>
                <a:sym typeface="Montserrat Light"/>
              </a:defRPr>
            </a:lvl8pPr>
            <a:lvl9pPr lvl="8" algn="r" rtl="0">
              <a:buNone/>
              <a:defRPr sz="1000">
                <a:latin typeface="Montserrat Light"/>
                <a:ea typeface="Montserrat Light"/>
                <a:cs typeface="Montserrat Light"/>
                <a:sym typeface="Montserrat Light"/>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10" name="Google Shape;110;p11"/>
          <p:cNvSpPr txBox="1">
            <a:spLocks noGrp="1"/>
          </p:cNvSpPr>
          <p:nvPr>
            <p:ph type="subTitle" idx="3"/>
          </p:nvPr>
        </p:nvSpPr>
        <p:spPr>
          <a:xfrm>
            <a:off x="354650" y="4857012"/>
            <a:ext cx="8159100" cy="1848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chemeClr val="accent5"/>
              </a:buClr>
              <a:buSzPts val="600"/>
              <a:buNone/>
              <a:defRPr sz="600">
                <a:solidFill>
                  <a:schemeClr val="accent5"/>
                </a:solidFill>
              </a:defRPr>
            </a:lvl1pPr>
            <a:lvl2pPr lvl="1" rtl="0">
              <a:lnSpc>
                <a:spcPct val="100000"/>
              </a:lnSpc>
              <a:spcBef>
                <a:spcPts val="0"/>
              </a:spcBef>
              <a:spcAft>
                <a:spcPts val="0"/>
              </a:spcAft>
              <a:buClr>
                <a:schemeClr val="accent5"/>
              </a:buClr>
              <a:buSzPts val="600"/>
              <a:buNone/>
              <a:defRPr sz="600">
                <a:solidFill>
                  <a:schemeClr val="accent5"/>
                </a:solidFill>
              </a:defRPr>
            </a:lvl2pPr>
            <a:lvl3pPr lvl="2" rtl="0">
              <a:lnSpc>
                <a:spcPct val="100000"/>
              </a:lnSpc>
              <a:spcBef>
                <a:spcPts val="0"/>
              </a:spcBef>
              <a:spcAft>
                <a:spcPts val="0"/>
              </a:spcAft>
              <a:buClr>
                <a:schemeClr val="accent5"/>
              </a:buClr>
              <a:buSzPts val="600"/>
              <a:buNone/>
              <a:defRPr sz="600">
                <a:solidFill>
                  <a:schemeClr val="accent5"/>
                </a:solidFill>
              </a:defRPr>
            </a:lvl3pPr>
            <a:lvl4pPr lvl="3" rtl="0">
              <a:lnSpc>
                <a:spcPct val="100000"/>
              </a:lnSpc>
              <a:spcBef>
                <a:spcPts val="0"/>
              </a:spcBef>
              <a:spcAft>
                <a:spcPts val="0"/>
              </a:spcAft>
              <a:buClr>
                <a:schemeClr val="accent5"/>
              </a:buClr>
              <a:buSzPts val="600"/>
              <a:buNone/>
              <a:defRPr sz="600">
                <a:solidFill>
                  <a:schemeClr val="accent5"/>
                </a:solidFill>
              </a:defRPr>
            </a:lvl4pPr>
            <a:lvl5pPr lvl="4" rtl="0">
              <a:lnSpc>
                <a:spcPct val="100000"/>
              </a:lnSpc>
              <a:spcBef>
                <a:spcPts val="0"/>
              </a:spcBef>
              <a:spcAft>
                <a:spcPts val="0"/>
              </a:spcAft>
              <a:buClr>
                <a:schemeClr val="accent5"/>
              </a:buClr>
              <a:buSzPts val="600"/>
              <a:buNone/>
              <a:defRPr sz="600">
                <a:solidFill>
                  <a:schemeClr val="accent5"/>
                </a:solidFill>
              </a:defRPr>
            </a:lvl5pPr>
            <a:lvl6pPr lvl="5" rtl="0">
              <a:lnSpc>
                <a:spcPct val="100000"/>
              </a:lnSpc>
              <a:spcBef>
                <a:spcPts val="0"/>
              </a:spcBef>
              <a:spcAft>
                <a:spcPts val="0"/>
              </a:spcAft>
              <a:buClr>
                <a:schemeClr val="accent5"/>
              </a:buClr>
              <a:buSzPts val="600"/>
              <a:buNone/>
              <a:defRPr sz="600">
                <a:solidFill>
                  <a:schemeClr val="accent5"/>
                </a:solidFill>
              </a:defRPr>
            </a:lvl6pPr>
            <a:lvl7pPr lvl="6" rtl="0">
              <a:lnSpc>
                <a:spcPct val="100000"/>
              </a:lnSpc>
              <a:spcBef>
                <a:spcPts val="0"/>
              </a:spcBef>
              <a:spcAft>
                <a:spcPts val="0"/>
              </a:spcAft>
              <a:buClr>
                <a:schemeClr val="accent5"/>
              </a:buClr>
              <a:buSzPts val="600"/>
              <a:buNone/>
              <a:defRPr sz="600">
                <a:solidFill>
                  <a:schemeClr val="accent5"/>
                </a:solidFill>
              </a:defRPr>
            </a:lvl7pPr>
            <a:lvl8pPr lvl="7" rtl="0">
              <a:lnSpc>
                <a:spcPct val="100000"/>
              </a:lnSpc>
              <a:spcBef>
                <a:spcPts val="0"/>
              </a:spcBef>
              <a:spcAft>
                <a:spcPts val="0"/>
              </a:spcAft>
              <a:buClr>
                <a:schemeClr val="accent5"/>
              </a:buClr>
              <a:buSzPts val="600"/>
              <a:buNone/>
              <a:defRPr sz="600">
                <a:solidFill>
                  <a:schemeClr val="accent5"/>
                </a:solidFill>
              </a:defRPr>
            </a:lvl8pPr>
            <a:lvl9pPr lvl="8" rtl="0">
              <a:lnSpc>
                <a:spcPct val="100000"/>
              </a:lnSpc>
              <a:spcBef>
                <a:spcPts val="0"/>
              </a:spcBef>
              <a:spcAft>
                <a:spcPts val="0"/>
              </a:spcAft>
              <a:buClr>
                <a:schemeClr val="accent5"/>
              </a:buClr>
              <a:buSzPts val="600"/>
              <a:buNone/>
              <a:defRPr sz="600">
                <a:solidFill>
                  <a:schemeClr val="accent5"/>
                </a:solidFill>
              </a:defRPr>
            </a:lvl9pPr>
          </a:lstStyle>
          <a:p>
            <a:endParaRPr/>
          </a:p>
        </p:txBody>
      </p:sp>
    </p:spTree>
    <p:extLst>
      <p:ext uri="{BB962C8B-B14F-4D97-AF65-F5344CB8AC3E}">
        <p14:creationId xmlns:p14="http://schemas.microsoft.com/office/powerpoint/2010/main" val="32425120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grid">
  <p:cSld name="Cover - Black/grid">
    <p:bg>
      <p:bgPr>
        <a:solidFill>
          <a:srgbClr val="000000"/>
        </a:solidFill>
        <a:effectLst/>
      </p:bgPr>
    </p:bg>
    <p:spTree>
      <p:nvGrpSpPr>
        <p:cNvPr id="1" name="Shape 40"/>
        <p:cNvGrpSpPr/>
        <p:nvPr/>
      </p:nvGrpSpPr>
      <p:grpSpPr>
        <a:xfrm>
          <a:off x="0" y="0"/>
          <a:ext cx="0" cy="0"/>
          <a:chOff x="0" y="0"/>
          <a:chExt cx="0" cy="0"/>
        </a:xfrm>
      </p:grpSpPr>
      <p:sp>
        <p:nvSpPr>
          <p:cNvPr id="47" name="Google Shape;47;p5"/>
          <p:cNvSpPr txBox="1">
            <a:spLocks noGrp="1"/>
          </p:cNvSpPr>
          <p:nvPr>
            <p:ph type="ctrTitle"/>
          </p:nvPr>
        </p:nvSpPr>
        <p:spPr>
          <a:xfrm>
            <a:off x="354650" y="826025"/>
            <a:ext cx="4126200" cy="12348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3000" b="1">
                <a:solidFill>
                  <a:srgbClr val="FFFFFF"/>
                </a:solidFill>
                <a:latin typeface="Montserrat"/>
                <a:ea typeface="Montserrat"/>
                <a:cs typeface="Montserrat"/>
                <a:sym typeface="Montserrat"/>
              </a:defRPr>
            </a:lvl1pPr>
            <a:lvl2pPr lvl="1" algn="ctr" rtl="0">
              <a:spcBef>
                <a:spcPts val="0"/>
              </a:spcBef>
              <a:spcAft>
                <a:spcPts val="0"/>
              </a:spcAft>
              <a:buClr>
                <a:srgbClr val="FFFFFF"/>
              </a:buClr>
              <a:buSzPts val="5200"/>
              <a:buNone/>
              <a:defRPr sz="5200">
                <a:solidFill>
                  <a:srgbClr val="FFFFFF"/>
                </a:solidFill>
              </a:defRPr>
            </a:lvl2pPr>
            <a:lvl3pPr lvl="2" algn="ctr" rtl="0">
              <a:spcBef>
                <a:spcPts val="0"/>
              </a:spcBef>
              <a:spcAft>
                <a:spcPts val="0"/>
              </a:spcAft>
              <a:buClr>
                <a:srgbClr val="FFFFFF"/>
              </a:buClr>
              <a:buSzPts val="5200"/>
              <a:buNone/>
              <a:defRPr sz="5200">
                <a:solidFill>
                  <a:srgbClr val="FFFFFF"/>
                </a:solidFill>
              </a:defRPr>
            </a:lvl3pPr>
            <a:lvl4pPr lvl="3" algn="ctr" rtl="0">
              <a:spcBef>
                <a:spcPts val="0"/>
              </a:spcBef>
              <a:spcAft>
                <a:spcPts val="0"/>
              </a:spcAft>
              <a:buClr>
                <a:srgbClr val="FFFFFF"/>
              </a:buClr>
              <a:buSzPts val="5200"/>
              <a:buNone/>
              <a:defRPr sz="5200">
                <a:solidFill>
                  <a:srgbClr val="FFFFFF"/>
                </a:solidFill>
              </a:defRPr>
            </a:lvl4pPr>
            <a:lvl5pPr lvl="4" algn="ctr" rtl="0">
              <a:spcBef>
                <a:spcPts val="0"/>
              </a:spcBef>
              <a:spcAft>
                <a:spcPts val="0"/>
              </a:spcAft>
              <a:buClr>
                <a:srgbClr val="FFFFFF"/>
              </a:buClr>
              <a:buSzPts val="5200"/>
              <a:buNone/>
              <a:defRPr sz="5200">
                <a:solidFill>
                  <a:srgbClr val="FFFFFF"/>
                </a:solidFill>
              </a:defRPr>
            </a:lvl5pPr>
            <a:lvl6pPr lvl="5" algn="ctr" rtl="0">
              <a:spcBef>
                <a:spcPts val="0"/>
              </a:spcBef>
              <a:spcAft>
                <a:spcPts val="0"/>
              </a:spcAft>
              <a:buClr>
                <a:srgbClr val="FFFFFF"/>
              </a:buClr>
              <a:buSzPts val="5200"/>
              <a:buNone/>
              <a:defRPr sz="5200">
                <a:solidFill>
                  <a:srgbClr val="FFFFFF"/>
                </a:solidFill>
              </a:defRPr>
            </a:lvl6pPr>
            <a:lvl7pPr lvl="6" algn="ctr" rtl="0">
              <a:spcBef>
                <a:spcPts val="0"/>
              </a:spcBef>
              <a:spcAft>
                <a:spcPts val="0"/>
              </a:spcAft>
              <a:buClr>
                <a:srgbClr val="FFFFFF"/>
              </a:buClr>
              <a:buSzPts val="5200"/>
              <a:buNone/>
              <a:defRPr sz="5200">
                <a:solidFill>
                  <a:srgbClr val="FFFFFF"/>
                </a:solidFill>
              </a:defRPr>
            </a:lvl7pPr>
            <a:lvl8pPr lvl="7" algn="ctr" rtl="0">
              <a:spcBef>
                <a:spcPts val="0"/>
              </a:spcBef>
              <a:spcAft>
                <a:spcPts val="0"/>
              </a:spcAft>
              <a:buClr>
                <a:srgbClr val="FFFFFF"/>
              </a:buClr>
              <a:buSzPts val="5200"/>
              <a:buNone/>
              <a:defRPr sz="5200">
                <a:solidFill>
                  <a:srgbClr val="FFFFFF"/>
                </a:solidFill>
              </a:defRPr>
            </a:lvl8pPr>
            <a:lvl9pPr lvl="8" algn="ctr" rtl="0">
              <a:spcBef>
                <a:spcPts val="0"/>
              </a:spcBef>
              <a:spcAft>
                <a:spcPts val="0"/>
              </a:spcAft>
              <a:buClr>
                <a:srgbClr val="FFFFFF"/>
              </a:buClr>
              <a:buSzPts val="5200"/>
              <a:buNone/>
              <a:defRPr sz="5200">
                <a:solidFill>
                  <a:srgbClr val="FFFFFF"/>
                </a:solidFill>
              </a:defRPr>
            </a:lvl9pPr>
          </a:lstStyle>
          <a:p>
            <a:endParaRPr/>
          </a:p>
        </p:txBody>
      </p:sp>
      <p:sp>
        <p:nvSpPr>
          <p:cNvPr id="48" name="Google Shape;48;p5"/>
          <p:cNvSpPr txBox="1">
            <a:spLocks noGrp="1"/>
          </p:cNvSpPr>
          <p:nvPr>
            <p:ph type="subTitle" idx="1"/>
          </p:nvPr>
        </p:nvSpPr>
        <p:spPr>
          <a:xfrm>
            <a:off x="354650" y="1984625"/>
            <a:ext cx="4126200" cy="7926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1800">
                <a:solidFill>
                  <a:srgbClr val="666666"/>
                </a:solidFill>
                <a:latin typeface="Montserrat"/>
                <a:ea typeface="Montserrat"/>
                <a:cs typeface="Montserrat"/>
                <a:sym typeface="Montserrat"/>
              </a:defRPr>
            </a:lvl9pPr>
          </a:lstStyle>
          <a:p>
            <a:endParaRPr/>
          </a:p>
        </p:txBody>
      </p:sp>
      <p:sp>
        <p:nvSpPr>
          <p:cNvPr id="49" name="Google Shape;49;p5"/>
          <p:cNvSpPr txBox="1">
            <a:spLocks noGrp="1"/>
          </p:cNvSpPr>
          <p:nvPr>
            <p:ph type="subTitle" idx="2"/>
          </p:nvPr>
        </p:nvSpPr>
        <p:spPr>
          <a:xfrm>
            <a:off x="354650" y="3059300"/>
            <a:ext cx="4126200" cy="3075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CBCBCB"/>
              </a:buClr>
              <a:buSzPts val="1200"/>
              <a:buNone/>
              <a:defRPr sz="1200" b="1">
                <a:solidFill>
                  <a:srgbClr val="CBCBCB"/>
                </a:solidFill>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endParaRPr/>
          </a:p>
        </p:txBody>
      </p:sp>
      <p:sp>
        <p:nvSpPr>
          <p:cNvPr id="50" name="Google Shape;50;p5"/>
          <p:cNvSpPr txBox="1">
            <a:spLocks noGrp="1"/>
          </p:cNvSpPr>
          <p:nvPr>
            <p:ph type="subTitle" idx="3"/>
          </p:nvPr>
        </p:nvSpPr>
        <p:spPr>
          <a:xfrm>
            <a:off x="354650" y="3214400"/>
            <a:ext cx="41262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CBCBCB"/>
              </a:buClr>
              <a:buSzPts val="1200"/>
              <a:buNone/>
              <a:defRPr sz="1200">
                <a:solidFill>
                  <a:srgbClr val="CBCBCB"/>
                </a:solidFill>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endParaRPr/>
          </a:p>
        </p:txBody>
      </p:sp>
      <p:sp>
        <p:nvSpPr>
          <p:cNvPr id="51" name="Google Shape;51;p5"/>
          <p:cNvSpPr txBox="1">
            <a:spLocks noGrp="1"/>
          </p:cNvSpPr>
          <p:nvPr>
            <p:ph type="subTitle" idx="4"/>
          </p:nvPr>
        </p:nvSpPr>
        <p:spPr>
          <a:xfrm>
            <a:off x="354650" y="3642975"/>
            <a:ext cx="4126200" cy="3075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CBCBCB"/>
              </a:buClr>
              <a:buSzPts val="1000"/>
              <a:buNone/>
              <a:defRPr sz="1000">
                <a:solidFill>
                  <a:srgbClr val="CBCBCB"/>
                </a:solidFill>
              </a:defRPr>
            </a:lvl1pPr>
            <a:lvl2pPr lvl="1" rtl="0">
              <a:lnSpc>
                <a:spcPct val="100000"/>
              </a:lnSpc>
              <a:spcBef>
                <a:spcPts val="0"/>
              </a:spcBef>
              <a:spcAft>
                <a:spcPts val="0"/>
              </a:spcAft>
              <a:buClr>
                <a:srgbClr val="CBCBCB"/>
              </a:buClr>
              <a:buSzPts val="1800"/>
              <a:buNone/>
              <a:defRPr sz="1800" b="1">
                <a:solidFill>
                  <a:srgbClr val="CBCBCB"/>
                </a:solidFill>
              </a:defRPr>
            </a:lvl2pPr>
            <a:lvl3pPr lvl="2" rtl="0">
              <a:lnSpc>
                <a:spcPct val="100000"/>
              </a:lnSpc>
              <a:spcBef>
                <a:spcPts val="0"/>
              </a:spcBef>
              <a:spcAft>
                <a:spcPts val="0"/>
              </a:spcAft>
              <a:buClr>
                <a:srgbClr val="CBCBCB"/>
              </a:buClr>
              <a:buSzPts val="1800"/>
              <a:buNone/>
              <a:defRPr sz="1800" b="1">
                <a:solidFill>
                  <a:srgbClr val="CBCBCB"/>
                </a:solidFill>
              </a:defRPr>
            </a:lvl3pPr>
            <a:lvl4pPr lvl="3" rtl="0">
              <a:lnSpc>
                <a:spcPct val="100000"/>
              </a:lnSpc>
              <a:spcBef>
                <a:spcPts val="0"/>
              </a:spcBef>
              <a:spcAft>
                <a:spcPts val="0"/>
              </a:spcAft>
              <a:buClr>
                <a:srgbClr val="CBCBCB"/>
              </a:buClr>
              <a:buSzPts val="1800"/>
              <a:buNone/>
              <a:defRPr sz="1800" b="1">
                <a:solidFill>
                  <a:srgbClr val="CBCBCB"/>
                </a:solidFill>
              </a:defRPr>
            </a:lvl4pPr>
            <a:lvl5pPr lvl="4" rtl="0">
              <a:lnSpc>
                <a:spcPct val="100000"/>
              </a:lnSpc>
              <a:spcBef>
                <a:spcPts val="0"/>
              </a:spcBef>
              <a:spcAft>
                <a:spcPts val="0"/>
              </a:spcAft>
              <a:buClr>
                <a:srgbClr val="CBCBCB"/>
              </a:buClr>
              <a:buSzPts val="1800"/>
              <a:buNone/>
              <a:defRPr sz="1800" b="1">
                <a:solidFill>
                  <a:srgbClr val="CBCBCB"/>
                </a:solidFill>
              </a:defRPr>
            </a:lvl5pPr>
            <a:lvl6pPr lvl="5" rtl="0">
              <a:lnSpc>
                <a:spcPct val="100000"/>
              </a:lnSpc>
              <a:spcBef>
                <a:spcPts val="0"/>
              </a:spcBef>
              <a:spcAft>
                <a:spcPts val="0"/>
              </a:spcAft>
              <a:buClr>
                <a:srgbClr val="CBCBCB"/>
              </a:buClr>
              <a:buSzPts val="1800"/>
              <a:buNone/>
              <a:defRPr sz="1800" b="1">
                <a:solidFill>
                  <a:srgbClr val="CBCBCB"/>
                </a:solidFill>
              </a:defRPr>
            </a:lvl6pPr>
            <a:lvl7pPr lvl="6" rtl="0">
              <a:lnSpc>
                <a:spcPct val="100000"/>
              </a:lnSpc>
              <a:spcBef>
                <a:spcPts val="0"/>
              </a:spcBef>
              <a:spcAft>
                <a:spcPts val="0"/>
              </a:spcAft>
              <a:buClr>
                <a:srgbClr val="CBCBCB"/>
              </a:buClr>
              <a:buSzPts val="1800"/>
              <a:buNone/>
              <a:defRPr sz="1800" b="1">
                <a:solidFill>
                  <a:srgbClr val="CBCBCB"/>
                </a:solidFill>
              </a:defRPr>
            </a:lvl7pPr>
            <a:lvl8pPr lvl="7" rtl="0">
              <a:lnSpc>
                <a:spcPct val="100000"/>
              </a:lnSpc>
              <a:spcBef>
                <a:spcPts val="0"/>
              </a:spcBef>
              <a:spcAft>
                <a:spcPts val="0"/>
              </a:spcAft>
              <a:buClr>
                <a:srgbClr val="CBCBCB"/>
              </a:buClr>
              <a:buSzPts val="1800"/>
              <a:buNone/>
              <a:defRPr sz="1800" b="1">
                <a:solidFill>
                  <a:srgbClr val="CBCBCB"/>
                </a:solidFill>
              </a:defRPr>
            </a:lvl8pPr>
            <a:lvl9pPr lvl="8" rtl="0">
              <a:lnSpc>
                <a:spcPct val="100000"/>
              </a:lnSpc>
              <a:spcBef>
                <a:spcPts val="0"/>
              </a:spcBef>
              <a:spcAft>
                <a:spcPts val="0"/>
              </a:spcAft>
              <a:buClr>
                <a:srgbClr val="CBCBCB"/>
              </a:buClr>
              <a:buSzPts val="1800"/>
              <a:buNone/>
              <a:defRPr sz="1800" b="1">
                <a:solidFill>
                  <a:srgbClr val="CBCBCB"/>
                </a:solidFill>
              </a:defRPr>
            </a:lvl9pPr>
          </a:lstStyle>
          <a:p>
            <a:endParaRPr/>
          </a:p>
        </p:txBody>
      </p:sp>
    </p:spTree>
    <p:extLst>
      <p:ext uri="{BB962C8B-B14F-4D97-AF65-F5344CB8AC3E}">
        <p14:creationId xmlns:p14="http://schemas.microsoft.com/office/powerpoint/2010/main" val="37126793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6457950" y="4767263"/>
            <a:ext cx="2057400" cy="273844"/>
          </a:xfrm>
          <a:prstGeom prst="rect">
            <a:avLst/>
          </a:prstGeom>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634273"/>
            <a:ext cx="8686800" cy="369332"/>
          </a:xfrm>
          <a:prstGeom prst="rect">
            <a:avLst/>
          </a:prstGeom>
          <a:solidFill>
            <a:schemeClr val="tx2"/>
          </a:solidFill>
        </p:spPr>
        <p:txBody>
          <a:bodyPr wrap="square" lIns="91440" tIns="91440" rIns="91440" bIns="91440" anchor="t">
            <a:spAutoFit/>
          </a:bodyPr>
          <a:lstStyle>
            <a:lvl1pPr marL="0" indent="0" algn="l">
              <a:spcBef>
                <a:spcPts val="0"/>
              </a:spcBef>
              <a:spcAft>
                <a:spcPts val="0"/>
              </a:spcAft>
              <a:buNone/>
              <a:defRPr sz="1200">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16420" y="4488996"/>
            <a:ext cx="8686799" cy="273844"/>
          </a:xfrm>
          <a:prstGeom prst="rect">
            <a:avLst/>
          </a:prstGeom>
        </p:spPr>
        <p:txBody>
          <a:bodyPr anchor="b" anchorCtr="0"/>
          <a:lstStyle>
            <a:lvl1pPr marL="0" indent="0">
              <a:spcBef>
                <a:spcPts val="0"/>
              </a:spcBef>
              <a:spcAft>
                <a:spcPts val="0"/>
              </a:spcAft>
              <a:buNone/>
              <a:defRPr sz="600">
                <a:solidFill>
                  <a:srgbClr val="B3B3B3"/>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Source, footnote</a:t>
            </a:r>
          </a:p>
        </p:txBody>
      </p:sp>
    </p:spTree>
    <p:extLst>
      <p:ext uri="{BB962C8B-B14F-4D97-AF65-F5344CB8AC3E}">
        <p14:creationId xmlns:p14="http://schemas.microsoft.com/office/powerpoint/2010/main" val="30730216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5227033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6626269" y="4888446"/>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8894378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795410101"/>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tx2"/>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Box 1">
            <a:extLst>
              <a:ext uri="{FF2B5EF4-FFF2-40B4-BE49-F238E27FC236}">
                <a16:creationId xmlns:a16="http://schemas.microsoft.com/office/drawing/2014/main" id="{C1B2951F-358B-E079-C0A6-9038C3D0702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2317719147"/>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TextBox 8">
            <a:extLst>
              <a:ext uri="{FF2B5EF4-FFF2-40B4-BE49-F238E27FC236}">
                <a16:creationId xmlns:a16="http://schemas.microsoft.com/office/drawing/2014/main" id="{5408F108-E005-1A2A-0097-54905854A471}"/>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313054202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tx2"/>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TextBox 1">
            <a:extLst>
              <a:ext uri="{FF2B5EF4-FFF2-40B4-BE49-F238E27FC236}">
                <a16:creationId xmlns:a16="http://schemas.microsoft.com/office/drawing/2014/main" id="{7F9A3DC9-EEEF-C28D-D3EA-38058BEE675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3366223352"/>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16419" y="1253516"/>
            <a:ext cx="5009551" cy="1790700"/>
          </a:xfr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16419" y="3113272"/>
            <a:ext cx="5009551"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TextBox 8">
            <a:extLst>
              <a:ext uri="{FF2B5EF4-FFF2-40B4-BE49-F238E27FC236}">
                <a16:creationId xmlns:a16="http://schemas.microsoft.com/office/drawing/2014/main" id="{2BF749EA-836B-83E3-C743-0FC08B6657F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216866473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81626" y="0"/>
            <a:ext cx="3762375" cy="4341307"/>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bg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2"/>
            <a:ext cx="914399" cy="389105"/>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bg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5649160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0" y="0"/>
            <a:ext cx="4728869" cy="5118848"/>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203172292"/>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1899802152"/>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438" y="-1"/>
            <a:ext cx="4717443" cy="510024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1749302748"/>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9144000" cy="51435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4439" y="0"/>
            <a:ext cx="4937504" cy="5119007"/>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669525559"/>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4823460" cy="51435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bg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18359" y="4871652"/>
            <a:ext cx="481964" cy="205091"/>
          </a:xfrm>
          <a:prstGeom prst="rect">
            <a:avLst/>
          </a:prstGeom>
        </p:spPr>
      </p:pic>
    </p:spTree>
    <p:extLst>
      <p:ext uri="{BB962C8B-B14F-4D97-AF65-F5344CB8AC3E}">
        <p14:creationId xmlns:p14="http://schemas.microsoft.com/office/powerpoint/2010/main" val="1581964403"/>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3931745" cy="433381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443569977"/>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3931745" cy="4333815"/>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263080944"/>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60"/>
            <a:ext cx="3931745" cy="4334375"/>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36356775"/>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4706009" cy="511578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16419" y="1253517"/>
            <a:ext cx="3361172" cy="1318234"/>
          </a:xfrm>
        </p:spPr>
        <p:txBody>
          <a:bodyPr anchor="b" anchorCtr="0">
            <a:noAutofit/>
          </a:bodyPr>
          <a:lstStyle>
            <a:lvl1pPr algn="l">
              <a:defRPr sz="27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16419" y="2619262"/>
            <a:ext cx="3361172"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561"/>
            <a:ext cx="3931912" cy="4334375"/>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16507251"/>
      </p:ext>
    </p:extLst>
  </p:cSld>
  <p:clrMapOvr>
    <a:overrideClrMapping bg1="lt1" tx1="dk1" bg2="lt2" tx2="dk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2"/>
            <a:ext cx="8686800" cy="327407"/>
          </a:xfrm>
        </p:spPr>
        <p:txBody>
          <a:bodyPr/>
          <a:lstStyle>
            <a:lvl1pPr marL="0" indent="0">
              <a:spcBef>
                <a:spcPts val="0"/>
              </a:spcBef>
              <a:spcAft>
                <a:spcPts val="0"/>
              </a:spcAft>
              <a:buNone/>
              <a:defRPr sz="1200"/>
            </a:lvl1pPr>
            <a:lvl2pPr marL="342892" indent="0">
              <a:buNone/>
              <a:defRPr/>
            </a:lvl2pPr>
            <a:lvl3pPr marL="685783" indent="0">
              <a:buNone/>
              <a:defRPr/>
            </a:lvl3pPr>
            <a:lvl4pPr marL="1028675" indent="0">
              <a:buNone/>
              <a:defRPr/>
            </a:lvl4pPr>
            <a:lvl5pPr marL="1371566"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20" y="4488996"/>
            <a:ext cx="8686799" cy="273844"/>
          </a:xfrm>
        </p:spPr>
        <p:txBody>
          <a:bodyPr anchor="b" anchorCtr="0"/>
          <a:lstStyle>
            <a:lvl1pPr marL="0" indent="0">
              <a:spcBef>
                <a:spcPts val="0"/>
              </a:spcBef>
              <a:spcAft>
                <a:spcPts val="0"/>
              </a:spcAft>
              <a:buNone/>
              <a:defRPr sz="600">
                <a:solidFill>
                  <a:srgbClr val="B3B3B3"/>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40703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15131" y="-24652"/>
            <a:ext cx="4728869" cy="51435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333523402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3001780" y="0"/>
            <a:ext cx="6142219" cy="5143500"/>
          </a:xfrm>
          <a:solidFill>
            <a:schemeClr val="tx1"/>
          </a:solidFill>
        </p:spPr>
        <p:txBody>
          <a:bodyPr anchor="ctr" anchorCtr="0"/>
          <a:lstStyle>
            <a:lvl1pPr marL="0" indent="0" algn="ctr">
              <a:buNone/>
              <a:defRPr>
                <a:solidFill>
                  <a:schemeClr val="bg1"/>
                </a:solidFill>
              </a:defRPr>
            </a:lvl1pPr>
          </a:lstStyle>
          <a:p>
            <a:r>
              <a:rPr lang="en-US"/>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397621" y="14384"/>
            <a:ext cx="4160535" cy="4160535"/>
          </a:xfrm>
          <a:prstGeom prst="ellipse">
            <a:avLst/>
          </a:prstGeom>
          <a:solidFill>
            <a:schemeClr val="bg2"/>
          </a:solidFill>
        </p:spPr>
        <p:txBody>
          <a:bodyPr tIns="0" bIns="0" anchor="ctr" anchorCtr="0"/>
          <a:lstStyle>
            <a:lvl1pPr marL="0" indent="0" algn="l">
              <a:buFont typeface="Arial" panose="020B0604020202020204" pitchFamily="34" charset="0"/>
              <a:buNone/>
              <a:defRPr sz="2700" b="1">
                <a:solidFill>
                  <a:schemeClr val="bg1"/>
                </a:solidFill>
                <a:latin typeface="+mj-lt"/>
              </a:defRPr>
            </a:lvl1pPr>
            <a:lvl2pPr marL="342900" indent="0" algn="ctr">
              <a:buFont typeface="Arial" panose="020B0604020202020204" pitchFamily="34" charset="0"/>
              <a:buNone/>
              <a:defRPr sz="2700">
                <a:solidFill>
                  <a:schemeClr val="bg1"/>
                </a:solidFill>
                <a:latin typeface="+mj-lt"/>
              </a:defRPr>
            </a:lvl2pPr>
            <a:lvl3pPr marL="685800" indent="0" algn="ctr">
              <a:buFont typeface="Arial" panose="020B0604020202020204" pitchFamily="34" charset="0"/>
              <a:buNone/>
              <a:defRPr sz="2700">
                <a:solidFill>
                  <a:schemeClr val="bg1"/>
                </a:solidFill>
                <a:latin typeface="+mj-lt"/>
              </a:defRPr>
            </a:lvl3pPr>
            <a:lvl4pPr marL="1028700" indent="0" algn="ctr">
              <a:buFont typeface="Arial" panose="020B0604020202020204" pitchFamily="34" charset="0"/>
              <a:buNone/>
              <a:defRPr sz="2700">
                <a:solidFill>
                  <a:schemeClr val="bg1"/>
                </a:solidFill>
                <a:latin typeface="+mj-lt"/>
              </a:defRPr>
            </a:lvl4pPr>
            <a:lvl5pPr marL="1371600" indent="0" algn="ctr">
              <a:buFont typeface="Arial" panose="020B0604020202020204" pitchFamily="34" charset="0"/>
              <a:buNone/>
              <a:defRPr sz="27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Tree>
    <p:extLst>
      <p:ext uri="{BB962C8B-B14F-4D97-AF65-F5344CB8AC3E}">
        <p14:creationId xmlns:p14="http://schemas.microsoft.com/office/powerpoint/2010/main" val="285034467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4929713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16418" y="1369219"/>
            <a:ext cx="6472481"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1098871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1369219"/>
            <a:ext cx="2763264"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3178187"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6139954" y="1013423"/>
            <a:ext cx="2763264" cy="327407"/>
          </a:xfrm>
        </p:spPr>
        <p:txBody>
          <a:bodyPr anchor="b"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8524704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16419"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2439357"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295"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4662294"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1369219"/>
            <a:ext cx="2030167"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6885233" y="1013423"/>
            <a:ext cx="2030167" cy="327407"/>
          </a:xfrm>
        </p:spPr>
        <p:txBody>
          <a:bodyPr anchor="b"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0759544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19"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3178187"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6139955" y="2982338"/>
            <a:ext cx="2763264" cy="12471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16419" y="1063904"/>
            <a:ext cx="2763264" cy="1530834"/>
          </a:xfrm>
        </p:spPr>
        <p:txBody>
          <a:bodyPr/>
          <a:lstStyle>
            <a:lvl1pPr marL="0" indent="0" algn="ctr">
              <a:buNone/>
              <a:defRPr/>
            </a:lvl1pPr>
          </a:lstStyle>
          <a:p>
            <a:r>
              <a:rPr lang="en-US"/>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3178187" y="1063904"/>
            <a:ext cx="2763264" cy="1530834"/>
          </a:xfrm>
        </p:spPr>
        <p:txBody>
          <a:bodyPr/>
          <a:lstStyle>
            <a:lvl1pPr marL="0" indent="0" algn="ctr">
              <a:buNone/>
              <a:defRPr/>
            </a:lvl1pPr>
          </a:lstStyle>
          <a:p>
            <a:r>
              <a:rPr lang="en-US"/>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6139954" y="1063904"/>
            <a:ext cx="2763264" cy="1530834"/>
          </a:xfrm>
        </p:spPr>
        <p:txBody>
          <a:bodyPr/>
          <a:lstStyle>
            <a:lvl1pPr marL="0" indent="0" algn="ctr">
              <a:buNone/>
              <a:defRPr/>
            </a:lvl1pPr>
          </a:lstStyle>
          <a:p>
            <a:r>
              <a:rPr lang="en-US"/>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16419"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3178187"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6139954" y="2654932"/>
            <a:ext cx="2763264" cy="327407"/>
          </a:xfrm>
        </p:spPr>
        <p:txBody>
          <a:bodyPr anchor="ctr" anchorCtr="0"/>
          <a:lstStyle>
            <a:lvl1pPr marL="0" indent="0">
              <a:spcBef>
                <a:spcPts val="0"/>
              </a:spcBef>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41406470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16420"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2439357"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4662966"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6885234" y="2862351"/>
            <a:ext cx="2030167" cy="1447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16419" y="1357011"/>
            <a:ext cx="2030166" cy="1124702"/>
          </a:xfrm>
        </p:spPr>
        <p:txBody>
          <a:bodyPr/>
          <a:lstStyle>
            <a:lvl1pPr marL="0" indent="0" algn="ctr">
              <a:buNone/>
              <a:defRPr/>
            </a:lvl1pPr>
          </a:lstStyle>
          <a:p>
            <a:r>
              <a:rPr lang="en-US"/>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2439357" y="1357011"/>
            <a:ext cx="2030166" cy="1124702"/>
          </a:xfrm>
        </p:spPr>
        <p:txBody>
          <a:bodyPr/>
          <a:lstStyle>
            <a:lvl1pPr marL="0" indent="0" algn="ctr">
              <a:buNone/>
              <a:defRPr/>
            </a:lvl1pPr>
          </a:lstStyle>
          <a:p>
            <a:r>
              <a:rPr lang="en-US"/>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4662966" y="1357011"/>
            <a:ext cx="2030166" cy="1124702"/>
          </a:xfrm>
        </p:spPr>
        <p:txBody>
          <a:bodyPr/>
          <a:lstStyle>
            <a:lvl1pPr marL="0" indent="0" algn="ctr">
              <a:buNone/>
              <a:defRPr/>
            </a:lvl1pPr>
          </a:lstStyle>
          <a:p>
            <a:r>
              <a:rPr lang="en-US"/>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6885233" y="1357011"/>
            <a:ext cx="2030166" cy="1124702"/>
          </a:xfrm>
        </p:spPr>
        <p:txBody>
          <a:bodyPr/>
          <a:lstStyle>
            <a:lvl1pPr marL="0" indent="0" algn="ctr">
              <a:buNone/>
              <a:defRPr/>
            </a:lvl1pPr>
          </a:lstStyle>
          <a:p>
            <a:r>
              <a:rPr lang="en-US"/>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16419" y="434621"/>
            <a:ext cx="868680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16419" y="134228"/>
            <a:ext cx="8686800" cy="298014"/>
          </a:xfrm>
          <a:prstGeom prst="rect">
            <a:avLst/>
          </a:prstGeom>
        </p:spPr>
        <p:txBody>
          <a:bodyPr anchor="ctr"/>
          <a:lstStyle>
            <a:lvl1pPr>
              <a:defRPr sz="15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16419"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2439357"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4662294"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6885233" y="2522616"/>
            <a:ext cx="2030167" cy="327407"/>
          </a:xfrm>
        </p:spPr>
        <p:txBody>
          <a:bodyPr anchor="ctr" anchorCtr="0"/>
          <a:lstStyle>
            <a:lvl1pPr marL="0" indent="0">
              <a:buNone/>
              <a:defRPr sz="1200" b="1">
                <a:solidFill>
                  <a:schemeClr val="bg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Insert column header</a:t>
            </a:r>
          </a:p>
        </p:txBody>
      </p:sp>
    </p:spTree>
    <p:extLst>
      <p:ext uri="{BB962C8B-B14F-4D97-AF65-F5344CB8AC3E}">
        <p14:creationId xmlns:p14="http://schemas.microsoft.com/office/powerpoint/2010/main" val="34851376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40487066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652"/>
            <a:ext cx="483489" cy="205091"/>
          </a:xfrm>
          <a:prstGeom prst="rect">
            <a:avLst/>
          </a:prstGeom>
        </p:spPr>
      </p:pic>
    </p:spTree>
    <p:extLst>
      <p:ext uri="{BB962C8B-B14F-4D97-AF65-F5344CB8AC3E}">
        <p14:creationId xmlns:p14="http://schemas.microsoft.com/office/powerpoint/2010/main" val="24573384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5303849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30013" y="0"/>
            <a:ext cx="4713987" cy="510556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16419" y="4899177"/>
            <a:ext cx="1843841"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16419" y="476276"/>
            <a:ext cx="5017297" cy="1790700"/>
          </a:xfrm>
          <a:prstGeom prst="rect">
            <a:avLst/>
          </a:prstGeom>
        </p:spPr>
        <p:txBody>
          <a:bodyPr anchor="b">
            <a:noAutofit/>
          </a:bodyPr>
          <a:lstStyle>
            <a:lvl1pPr algn="l">
              <a:defRPr sz="33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16419" y="2336032"/>
            <a:ext cx="5017297" cy="628412"/>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601" y="4270821"/>
            <a:ext cx="914399" cy="389106"/>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16419" y="3144351"/>
            <a:ext cx="5017296" cy="258288"/>
          </a:xfrm>
        </p:spPr>
        <p:txBody>
          <a:bodyPr tIns="0" bIns="0" anchor="b" anchorCtr="0">
            <a:noAutofit/>
          </a:bodyPr>
          <a:lstStyle>
            <a:lvl1pPr marL="0" indent="0">
              <a:lnSpc>
                <a:spcPct val="100000"/>
              </a:lnSpc>
              <a:spcBef>
                <a:spcPts val="0"/>
              </a:spcBef>
              <a:spcAft>
                <a:spcPts val="0"/>
              </a:spcAft>
              <a:buNone/>
              <a:defRPr sz="900" b="1">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16419" y="3420452"/>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16419" y="3832626"/>
            <a:ext cx="5017296" cy="258289"/>
          </a:xfrm>
        </p:spPr>
        <p:txBody>
          <a:bodyPr tIns="0" bIns="0">
            <a:noAutofit/>
          </a:bodyPr>
          <a:lstStyle>
            <a:lvl1pPr marL="0" indent="0">
              <a:lnSpc>
                <a:spcPct val="100000"/>
              </a:lnSpc>
              <a:spcBef>
                <a:spcPts val="0"/>
              </a:spcBef>
              <a:spcAft>
                <a:spcPts val="0"/>
              </a:spcAft>
              <a:buNone/>
              <a:defRPr sz="900" b="0">
                <a:solidFill>
                  <a:schemeClr val="tx1"/>
                </a:solidFill>
              </a:defRPr>
            </a:lvl1pPr>
            <a:lvl2pPr marL="342900" indent="0">
              <a:buNone/>
              <a:defRPr sz="900" b="1">
                <a:solidFill>
                  <a:schemeClr val="bg1"/>
                </a:solidFill>
              </a:defRPr>
            </a:lvl2pPr>
            <a:lvl3pPr marL="685800" indent="0">
              <a:buNone/>
              <a:defRPr sz="900" b="1">
                <a:solidFill>
                  <a:schemeClr val="bg1"/>
                </a:solidFill>
              </a:defRPr>
            </a:lvl3pPr>
            <a:lvl4pPr marL="1028700" indent="0">
              <a:buNone/>
              <a:defRPr sz="900" b="1">
                <a:solidFill>
                  <a:schemeClr val="bg1"/>
                </a:solidFill>
              </a:defRPr>
            </a:lvl4pPr>
            <a:lvl5pPr marL="1371600" indent="0">
              <a:buNone/>
              <a:defRPr sz="900" b="1">
                <a:solidFill>
                  <a:schemeClr val="bg1"/>
                </a:solidFill>
              </a:defRPr>
            </a:lvl5pPr>
          </a:lstStyle>
          <a:p>
            <a:pPr lvl="0"/>
            <a:r>
              <a:rPr lang="en-US"/>
              <a:t>Date</a:t>
            </a:r>
          </a:p>
        </p:txBody>
      </p:sp>
    </p:spTree>
    <p:extLst>
      <p:ext uri="{BB962C8B-B14F-4D97-AF65-F5344CB8AC3E}">
        <p14:creationId xmlns:p14="http://schemas.microsoft.com/office/powerpoint/2010/main" val="29101641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648508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7486208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3001781" cy="51435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3218199" y="1253517"/>
            <a:ext cx="5696449" cy="2992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16419" y="833644"/>
            <a:ext cx="2627964" cy="1793229"/>
          </a:xfrm>
        </p:spPr>
        <p:txBody>
          <a:bodyPr anchor="b" anchorCtr="0">
            <a:noAutofit/>
          </a:bodyPr>
          <a:lstStyle>
            <a:lvl1pPr algn="l">
              <a:defRPr sz="27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16419" y="2636635"/>
            <a:ext cx="2627965" cy="327158"/>
          </a:xfrm>
        </p:spPr>
        <p:txBody>
          <a:bodyPr>
            <a:noAutofit/>
          </a:bodyPr>
          <a:lstStyle>
            <a:lvl1pPr marL="0" indent="0" algn="l">
              <a:spcBef>
                <a:spcPts val="0"/>
              </a:spcBef>
              <a:spcAft>
                <a:spcPts val="0"/>
              </a:spcAft>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3218199" y="4488996"/>
            <a:ext cx="569644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3194891" y="4796816"/>
            <a:ext cx="57254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1534654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30262936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4409630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4054261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2"/>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2535383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5588010" y="230225"/>
            <a:ext cx="3706846" cy="37068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5981076" y="1173415"/>
            <a:ext cx="2934325" cy="1820465"/>
          </a:xfrm>
        </p:spPr>
        <p:txBody>
          <a:bodyPr anchor="ctr" anchorCtr="0"/>
          <a:lstStyle>
            <a:lvl1pPr marL="0" indent="0" algn="ctr">
              <a:buNone/>
              <a:defRPr sz="2400" b="1">
                <a:solidFill>
                  <a:schemeClr val="bg1"/>
                </a:solidFill>
              </a:defRPr>
            </a:lvl1pPr>
            <a:lvl2pPr marL="342900" indent="0">
              <a:buNone/>
              <a:defRPr sz="2700"/>
            </a:lvl2pPr>
            <a:lvl3pPr marL="685800" indent="0">
              <a:buNone/>
              <a:defRPr sz="2700"/>
            </a:lvl3pPr>
            <a:lvl4pPr marL="1028700" indent="0">
              <a:buNone/>
              <a:defRPr sz="2700"/>
            </a:lvl4pPr>
            <a:lvl5pPr marL="1371600" indent="0">
              <a:buNone/>
              <a:defRPr sz="27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17445081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4760761" y="0"/>
            <a:ext cx="4383239" cy="4699774"/>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5599254" y="241468"/>
            <a:ext cx="3693259" cy="3693260"/>
          </a:xfrm>
          <a:prstGeom prst="ellipse">
            <a:avLst/>
          </a:prstGeom>
          <a:solidFill>
            <a:schemeClr val="tx1"/>
          </a:solidFill>
        </p:spPr>
        <p:txBody>
          <a:bodyPr/>
          <a:lstStyle>
            <a:lvl1pPr marL="0" indent="0" algn="ctr">
              <a:buNone/>
              <a:defRPr>
                <a:solidFill>
                  <a:schemeClr val="bg1"/>
                </a:solidFill>
              </a:defRPr>
            </a:lvl1pPr>
          </a:lstStyle>
          <a:p>
            <a:r>
              <a:rPr lang="en-US"/>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0076528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16419" y="1369219"/>
            <a:ext cx="4145720" cy="2877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4327924" y="-4070"/>
            <a:ext cx="4804253" cy="3998420"/>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16419" y="4488996"/>
            <a:ext cx="8686799" cy="273844"/>
          </a:xfrm>
        </p:spPr>
        <p:txBody>
          <a:bodyPr anchor="b" anchorCtr="0"/>
          <a:lstStyle>
            <a:lvl1pPr marL="0" indent="0">
              <a:spcBef>
                <a:spcPts val="0"/>
              </a:spcBef>
              <a:spcAft>
                <a:spcPts val="0"/>
              </a:spcAft>
              <a:buNone/>
              <a:defRPr sz="600">
                <a:solidFill>
                  <a:srgbClr val="B3B3B3"/>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16418" y="434621"/>
            <a:ext cx="4145720" cy="327407"/>
          </a:xfrm>
        </p:spPr>
        <p:txBody>
          <a:bodyPr/>
          <a:lstStyle>
            <a:lvl1pPr marL="0" indent="0">
              <a:spcBef>
                <a:spcPts val="0"/>
              </a:spcBef>
              <a:spcAft>
                <a:spcPts val="0"/>
              </a:spcAft>
              <a:buNone/>
              <a:defRPr sz="1200"/>
            </a:lvl1pPr>
            <a:lvl2pPr marL="342900" indent="0">
              <a:buNone/>
              <a:defRPr/>
            </a:lvl2pPr>
            <a:lvl3pPr marL="685800" indent="0">
              <a:buNone/>
              <a:defRPr/>
            </a:lvl3pPr>
            <a:lvl4pPr marL="1028700" indent="0">
              <a:buNone/>
              <a:defRPr/>
            </a:lvl4pPr>
            <a:lvl5pPr marL="13716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16418" y="134228"/>
            <a:ext cx="4145720" cy="298014"/>
          </a:xfrm>
          <a:prstGeom prst="rect">
            <a:avLst/>
          </a:prstGeom>
        </p:spPr>
        <p:txBody>
          <a:bodyPr anchor="ctr"/>
          <a:lstStyle>
            <a:lvl1pPr>
              <a:defRPr sz="1500"/>
            </a:lvl1pPr>
          </a:lstStyle>
          <a:p>
            <a:r>
              <a:rPr lang="en-US"/>
              <a:t>Insert your slide title in Arial bold 20pt</a:t>
            </a:r>
          </a:p>
        </p:txBody>
      </p:sp>
    </p:spTree>
    <p:extLst>
      <p:ext uri="{BB962C8B-B14F-4D97-AF65-F5344CB8AC3E}">
        <p14:creationId xmlns:p14="http://schemas.microsoft.com/office/powerpoint/2010/main" val="229346102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image" Target="../media/image38.emf"/><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oleObject" Target="../embeddings/oleObject2.bin"/><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tags" Target="../tags/tag2.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theme" Target="../theme/theme10.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6" Type="http://schemas.openxmlformats.org/officeDocument/2006/relationships/theme" Target="../theme/theme11.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theme" Target="../theme/theme12.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image" Target="../media/image5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2.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image" Target="../media/image1.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theme" Target="../theme/theme3.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13.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image" Target="../media/image1.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theme" Target="../theme/theme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slideLayout" Target="../slideLayouts/slideLayout176.xml"/><Relationship Id="rId7" Type="http://schemas.openxmlformats.org/officeDocument/2006/relationships/slideLayout" Target="../slideLayouts/slideLayout14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image" Target="../media/image1.png"/><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4"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8" Type="http://schemas.openxmlformats.org/officeDocument/2006/relationships/slideLayout" Target="../slideLayouts/slideLayout142.xml"/><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20" Type="http://schemas.openxmlformats.org/officeDocument/2006/relationships/slideLayout" Target="../slideLayouts/slideLayout154.xml"/><Relationship Id="rId41" Type="http://schemas.openxmlformats.org/officeDocument/2006/relationships/slideLayout" Target="../slideLayouts/slideLayout17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34" Type="http://schemas.openxmlformats.org/officeDocument/2006/relationships/image" Target="../media/image1.png"/><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theme" Target="../theme/theme8.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slideLayout" Target="../slideLayouts/slideLayout209.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slideLayout" Target="../slideLayouts/slideLayout208.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slideLayout" Target="../slideLayouts/slideLayout207.xml"/><Relationship Id="rId8"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9" Type="http://schemas.openxmlformats.org/officeDocument/2006/relationships/slideLayout" Target="../slideLayouts/slideLayout248.xml"/><Relationship Id="rId21" Type="http://schemas.openxmlformats.org/officeDocument/2006/relationships/slideLayout" Target="../slideLayouts/slideLayout230.xml"/><Relationship Id="rId34" Type="http://schemas.openxmlformats.org/officeDocument/2006/relationships/slideLayout" Target="../slideLayouts/slideLayout243.xml"/><Relationship Id="rId42" Type="http://schemas.openxmlformats.org/officeDocument/2006/relationships/slideLayout" Target="../slideLayouts/slideLayout251.xml"/><Relationship Id="rId47" Type="http://schemas.openxmlformats.org/officeDocument/2006/relationships/slideLayout" Target="../slideLayouts/slideLayout256.xml"/><Relationship Id="rId50" Type="http://schemas.openxmlformats.org/officeDocument/2006/relationships/theme" Target="../theme/theme9.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9" Type="http://schemas.openxmlformats.org/officeDocument/2006/relationships/slideLayout" Target="../slideLayouts/slideLayout238.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slideLayout" Target="../slideLayouts/slideLayout241.xml"/><Relationship Id="rId37" Type="http://schemas.openxmlformats.org/officeDocument/2006/relationships/slideLayout" Target="../slideLayouts/slideLayout246.xml"/><Relationship Id="rId40" Type="http://schemas.openxmlformats.org/officeDocument/2006/relationships/slideLayout" Target="../slideLayouts/slideLayout249.xml"/><Relationship Id="rId45" Type="http://schemas.openxmlformats.org/officeDocument/2006/relationships/slideLayout" Target="../slideLayouts/slideLayout254.xml"/><Relationship Id="rId53" Type="http://schemas.openxmlformats.org/officeDocument/2006/relationships/image" Target="../media/image38.emf"/><Relationship Id="rId5" Type="http://schemas.openxmlformats.org/officeDocument/2006/relationships/slideLayout" Target="../slideLayouts/slideLayout214.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slideLayout" Target="../slideLayouts/slideLayout240.xml"/><Relationship Id="rId44" Type="http://schemas.openxmlformats.org/officeDocument/2006/relationships/slideLayout" Target="../slideLayouts/slideLayout253.xml"/><Relationship Id="rId52" Type="http://schemas.openxmlformats.org/officeDocument/2006/relationships/oleObject" Target="../embeddings/oleObject1.bin"/><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43" Type="http://schemas.openxmlformats.org/officeDocument/2006/relationships/slideLayout" Target="../slideLayouts/slideLayout252.xml"/><Relationship Id="rId48" Type="http://schemas.openxmlformats.org/officeDocument/2006/relationships/slideLayout" Target="../slideLayouts/slideLayout257.xml"/><Relationship Id="rId8" Type="http://schemas.openxmlformats.org/officeDocument/2006/relationships/slideLayout" Target="../slideLayouts/slideLayout217.xml"/><Relationship Id="rId51" Type="http://schemas.openxmlformats.org/officeDocument/2006/relationships/tags" Target="../tags/tag1.xml"/><Relationship Id="rId3" Type="http://schemas.openxmlformats.org/officeDocument/2006/relationships/slideLayout" Target="../slideLayouts/slideLayout212.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slideLayout" Target="../slideLayouts/slideLayout247.xml"/><Relationship Id="rId46" Type="http://schemas.openxmlformats.org/officeDocument/2006/relationships/slideLayout" Target="../slideLayouts/slideLayout255.xml"/><Relationship Id="rId20" Type="http://schemas.openxmlformats.org/officeDocument/2006/relationships/slideLayout" Target="../slideLayouts/slideLayout229.xml"/><Relationship Id="rId41" Type="http://schemas.openxmlformats.org/officeDocument/2006/relationships/slideLayout" Target="../slideLayouts/slideLayout250.xml"/><Relationship Id="rId54" Type="http://schemas.openxmlformats.org/officeDocument/2006/relationships/image" Target="../media/image1.pn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slideLayout" Target="../slideLayouts/slideLayout245.xml"/><Relationship Id="rId49" Type="http://schemas.openxmlformats.org/officeDocument/2006/relationships/slideLayout" Target="../slideLayouts/slideLayout2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6"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497240013"/>
      </p:ext>
    </p:extLst>
  </p:cSld>
  <p:clrMap bg1="lt1" tx1="dk1" bg2="lt2" tx2="dk2" accent1="accent1" accent2="accent2" accent3="accent3" accent4="accent4" accent5="accent5" accent6="accent6" hlink="hlink" folHlink="folHlink"/>
  <p:sldLayoutIdLst>
    <p:sldLayoutId id="2147486866" r:id="rId1"/>
    <p:sldLayoutId id="2147486867" r:id="rId2"/>
    <p:sldLayoutId id="2147486868" r:id="rId3"/>
    <p:sldLayoutId id="2147486869" r:id="rId4"/>
    <p:sldLayoutId id="2147486870" r:id="rId5"/>
    <p:sldLayoutId id="2147486871" r:id="rId6"/>
    <p:sldLayoutId id="2147486872" r:id="rId7"/>
    <p:sldLayoutId id="2147486873" r:id="rId8"/>
    <p:sldLayoutId id="2147486874" r:id="rId9"/>
    <p:sldLayoutId id="2147486875" r:id="rId10"/>
    <p:sldLayoutId id="2147486876" r:id="rId11"/>
    <p:sldLayoutId id="2147486877" r:id="rId12"/>
    <p:sldLayoutId id="2147486878" r:id="rId13"/>
    <p:sldLayoutId id="2147486879" r:id="rId14"/>
    <p:sldLayoutId id="2147486880" r:id="rId15"/>
    <p:sldLayoutId id="2147486881" r:id="rId16"/>
    <p:sldLayoutId id="2147486882" r:id="rId17"/>
    <p:sldLayoutId id="2147486883" r:id="rId18"/>
    <p:sldLayoutId id="2147486884" r:id="rId19"/>
    <p:sldLayoutId id="2147486885" r:id="rId20"/>
    <p:sldLayoutId id="2147486886" r:id="rId21"/>
    <p:sldLayoutId id="2147488763" r:id="rId22"/>
    <p:sldLayoutId id="2147486887" r:id="rId23"/>
    <p:sldLayoutId id="2147486888" r:id="rId24"/>
    <p:sldLayoutId id="2147486889" r:id="rId25"/>
    <p:sldLayoutId id="2147488766" r:id="rId26"/>
    <p:sldLayoutId id="2147486890" r:id="rId27"/>
    <p:sldLayoutId id="2147486891" r:id="rId28"/>
    <p:sldLayoutId id="2147486892" r:id="rId29"/>
    <p:sldLayoutId id="2147486893" r:id="rId30"/>
    <p:sldLayoutId id="2147486894" r:id="rId31"/>
    <p:sldLayoutId id="2147486895" r:id="rId32"/>
    <p:sldLayoutId id="2147486896" r:id="rId33"/>
    <p:sldLayoutId id="2147486897" r:id="rId34"/>
    <p:sldLayoutId id="2147486898" r:id="rId35"/>
    <p:sldLayoutId id="2147486899" r:id="rId36"/>
    <p:sldLayoutId id="2147486900" r:id="rId37"/>
    <p:sldLayoutId id="2147486901" r:id="rId38"/>
    <p:sldLayoutId id="2147486902" r:id="rId39"/>
    <p:sldLayoutId id="2147486903" r:id="rId40"/>
    <p:sldLayoutId id="2147486904" r:id="rId41"/>
    <p:sldLayoutId id="2147486905" r:id="rId42"/>
    <p:sldLayoutId id="2147486906" r:id="rId43"/>
    <p:sldLayoutId id="2147488783" r:id="rId44"/>
    <p:sldLayoutId id="2147486907" r:id="rId45"/>
    <p:sldLayoutId id="2147486908" r:id="rId46"/>
    <p:sldLayoutId id="2147486909" r:id="rId47"/>
    <p:sldLayoutId id="2147486910" r:id="rId48"/>
    <p:sldLayoutId id="2147486911" r:id="rId49"/>
    <p:sldLayoutId id="2147488788" r:id="rId50"/>
    <p:sldLayoutId id="2147486912" r:id="rId51"/>
    <p:sldLayoutId id="2147488913" r:id="rId52"/>
    <p:sldLayoutId id="2147486913" r:id="rId53"/>
    <p:sldLayoutId id="2147486914" r:id="rId54"/>
    <p:sldLayoutId id="2147488791" r:id="rId55"/>
    <p:sldLayoutId id="2147488793" r:id="rId56"/>
    <p:sldLayoutId id="2147488795" r:id="rId57"/>
    <p:sldLayoutId id="2147488912" r:id="rId58"/>
    <p:sldLayoutId id="2147486915" r:id="rId59"/>
    <p:sldLayoutId id="2147486916" r:id="rId60"/>
    <p:sldLayoutId id="2147486917" r:id="rId61"/>
    <p:sldLayoutId id="2147496121" r:id="rId62"/>
    <p:sldLayoutId id="2147496166" r:id="rId63"/>
    <p:sldLayoutId id="2147496167" r:id="rId64"/>
  </p:sldLayoutIdLst>
  <p:hf sldNum="0"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83EA715-63E5-E254-11BB-EBC0B0B0558D}"/>
              </a:ext>
            </a:extLst>
          </p:cNvPr>
          <p:cNvGraphicFramePr>
            <a:graphicFrameLocks noChangeAspect="1"/>
          </p:cNvGraphicFramePr>
          <p:nvPr userDrawn="1">
            <p:custDataLst>
              <p:tags r:id="rId24"/>
            </p:custDataLst>
            <p:extLst>
              <p:ext uri="{D42A27DB-BD31-4B8C-83A1-F6EECF244321}">
                <p14:modId xmlns:p14="http://schemas.microsoft.com/office/powerpoint/2010/main" val="17145628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5" imgW="503" imgH="503" progId="TCLayout.ActiveDocument.1">
                  <p:embed/>
                </p:oleObj>
              </mc:Choice>
              <mc:Fallback>
                <p:oleObj name="think-cell Slide" r:id="rId25" imgW="503" imgH="503" progId="TCLayout.ActiveDocument.1">
                  <p:embed/>
                  <p:pic>
                    <p:nvPicPr>
                      <p:cNvPr id="8" name="Object 7" hidden="1">
                        <a:extLst>
                          <a:ext uri="{FF2B5EF4-FFF2-40B4-BE49-F238E27FC236}">
                            <a16:creationId xmlns:a16="http://schemas.microsoft.com/office/drawing/2014/main" id="{783EA715-63E5-E254-11BB-EBC0B0B0558D}"/>
                          </a:ext>
                        </a:extLst>
                      </p:cNvPr>
                      <p:cNvPicPr/>
                      <p:nvPr/>
                    </p:nvPicPr>
                    <p:blipFill>
                      <a:blip r:embed="rId26"/>
                      <a:stretch>
                        <a:fillRect/>
                      </a:stretch>
                    </p:blipFill>
                    <p:spPr>
                      <a:xfrm>
                        <a:off x="1191" y="1191"/>
                        <a:ext cx="1191" cy="119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userDrawn="1"/>
        </p:nvPicPr>
        <p:blipFill>
          <a:blip r:embed="rId27"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823236243"/>
      </p:ext>
    </p:extLst>
  </p:cSld>
  <p:clrMap bg1="lt1" tx1="dk1" bg2="lt2" tx2="dk2" accent1="accent1" accent2="accent2" accent3="accent3" accent4="accent4" accent5="accent5" accent6="accent6" hlink="hlink" folHlink="folHlink"/>
  <p:sldLayoutIdLst>
    <p:sldLayoutId id="2147496018" r:id="rId1"/>
    <p:sldLayoutId id="2147496019" r:id="rId2"/>
    <p:sldLayoutId id="2147496020" r:id="rId3"/>
    <p:sldLayoutId id="2147496021" r:id="rId4"/>
    <p:sldLayoutId id="2147496088" r:id="rId5"/>
    <p:sldLayoutId id="2147496022" r:id="rId6"/>
    <p:sldLayoutId id="2147496089" r:id="rId7"/>
    <p:sldLayoutId id="2147496023" r:id="rId8"/>
    <p:sldLayoutId id="2147496086" r:id="rId9"/>
    <p:sldLayoutId id="2147496081" r:id="rId10"/>
    <p:sldLayoutId id="2147496083" r:id="rId11"/>
    <p:sldLayoutId id="2147496087" r:id="rId12"/>
    <p:sldLayoutId id="2147496084" r:id="rId13"/>
    <p:sldLayoutId id="2147496085" r:id="rId14"/>
    <p:sldLayoutId id="2147496024" r:id="rId15"/>
    <p:sldLayoutId id="2147496082" r:id="rId16"/>
    <p:sldLayoutId id="2147483726" r:id="rId17"/>
    <p:sldLayoutId id="2147496031" r:id="rId18"/>
    <p:sldLayoutId id="2147496096" r:id="rId19"/>
    <p:sldLayoutId id="2147496098" r:id="rId20"/>
    <p:sldLayoutId id="2147496099" r:id="rId21"/>
    <p:sldLayoutId id="2147496100" r:id="rId22"/>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1086929" y="131964"/>
            <a:ext cx="652478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1088075" y="1369219"/>
            <a:ext cx="6533364"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spTree>
    <p:extLst>
      <p:ext uri="{BB962C8B-B14F-4D97-AF65-F5344CB8AC3E}">
        <p14:creationId xmlns:p14="http://schemas.microsoft.com/office/powerpoint/2010/main" val="2174186248"/>
      </p:ext>
    </p:extLst>
  </p:cSld>
  <p:clrMap bg1="lt1" tx1="dk1" bg2="lt2" tx2="dk2" accent1="accent1" accent2="accent2" accent3="accent3" accent4="accent4" accent5="accent5" accent6="accent6" hlink="hlink" folHlink="folHlink"/>
  <p:sldLayoutIdLst>
    <p:sldLayoutId id="2147496124" r:id="rId1"/>
    <p:sldLayoutId id="2147496125" r:id="rId2"/>
    <p:sldLayoutId id="2147496126" r:id="rId3"/>
    <p:sldLayoutId id="2147496127" r:id="rId4"/>
    <p:sldLayoutId id="2147496128" r:id="rId5"/>
    <p:sldLayoutId id="2147496129" r:id="rId6"/>
    <p:sldLayoutId id="2147496130" r:id="rId7"/>
    <p:sldLayoutId id="2147496131" r:id="rId8"/>
    <p:sldLayoutId id="2147496132" r:id="rId9"/>
    <p:sldLayoutId id="2147496133" r:id="rId10"/>
    <p:sldLayoutId id="2147496134" r:id="rId11"/>
    <p:sldLayoutId id="2147496135" r:id="rId12"/>
    <p:sldLayoutId id="2147496136" r:id="rId13"/>
    <p:sldLayoutId id="2147496137" r:id="rId14"/>
    <p:sldLayoutId id="2147496138" r:id="rId15"/>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27" cstate="email">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956173628"/>
      </p:ext>
    </p:extLst>
  </p:cSld>
  <p:clrMap bg1="lt1" tx1="dk1" bg2="lt2" tx2="dk2" accent1="accent1" accent2="accent2" accent3="accent3" accent4="accent4" accent5="accent5" accent6="accent6" hlink="hlink" folHlink="folHlink"/>
  <p:sldLayoutIdLst>
    <p:sldLayoutId id="2147496141" r:id="rId1"/>
    <p:sldLayoutId id="2147496142" r:id="rId2"/>
    <p:sldLayoutId id="2147496143" r:id="rId3"/>
    <p:sldLayoutId id="2147496144" r:id="rId4"/>
    <p:sldLayoutId id="2147496145" r:id="rId5"/>
    <p:sldLayoutId id="2147496146" r:id="rId6"/>
    <p:sldLayoutId id="2147496147" r:id="rId7"/>
    <p:sldLayoutId id="2147496148" r:id="rId8"/>
    <p:sldLayoutId id="2147496149" r:id="rId9"/>
    <p:sldLayoutId id="2147496150" r:id="rId10"/>
    <p:sldLayoutId id="2147496151" r:id="rId11"/>
    <p:sldLayoutId id="2147496152" r:id="rId12"/>
    <p:sldLayoutId id="2147496153" r:id="rId13"/>
    <p:sldLayoutId id="2147496154" r:id="rId14"/>
    <p:sldLayoutId id="2147496155" r:id="rId15"/>
    <p:sldLayoutId id="2147496156" r:id="rId16"/>
    <p:sldLayoutId id="2147496157" r:id="rId17"/>
    <p:sldLayoutId id="2147496158" r:id="rId18"/>
    <p:sldLayoutId id="2147496159" r:id="rId19"/>
    <p:sldLayoutId id="2147496160" r:id="rId20"/>
    <p:sldLayoutId id="2147496161" r:id="rId21"/>
    <p:sldLayoutId id="2147496162" r:id="rId22"/>
    <p:sldLayoutId id="2147496163" r:id="rId23"/>
    <p:sldLayoutId id="2147496164" r:id="rId24"/>
    <p:sldLayoutId id="2147496165" r:id="rId25"/>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512039"/>
      </p:ext>
    </p:extLst>
  </p:cSld>
  <p:clrMap bg1="lt1" tx1="dk1" bg2="lt2" tx2="dk2" accent1="accent1" accent2="accent2" accent3="accent3" accent4="accent4" accent5="accent5" accent6="accent6" hlink="hlink" folHlink="folHlink"/>
  <p:sldLayoutIdLst>
    <p:sldLayoutId id="2147486919" r:id="rId1"/>
    <p:sldLayoutId id="2147486920" r:id="rId2"/>
    <p:sldLayoutId id="2147486921" r:id="rId3"/>
    <p:sldLayoutId id="2147486922" r:id="rId4"/>
    <p:sldLayoutId id="2147486923" r:id="rId5"/>
    <p:sldLayoutId id="2147486924" r:id="rId6"/>
    <p:sldLayoutId id="2147486925" r:id="rId7"/>
    <p:sldLayoutId id="2147486926" r:id="rId8"/>
    <p:sldLayoutId id="2147486927" r:id="rId9"/>
    <p:sldLayoutId id="2147486928" r:id="rId10"/>
    <p:sldLayoutId id="2147486929" r:id="rId11"/>
    <p:sldLayoutId id="2147486930" r:id="rId12"/>
    <p:sldLayoutId id="2147486931" r:id="rId13"/>
    <p:sldLayoutId id="2147486932" r:id="rId14"/>
    <p:sldLayoutId id="2147496183" r:id="rId15"/>
    <p:sldLayoutId id="2147496186" r:id="rId16"/>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341357703"/>
      </p:ext>
    </p:extLst>
  </p:cSld>
  <p:clrMap bg1="lt1" tx1="dk1" bg2="lt2" tx2="dk2" accent1="accent1" accent2="accent2" accent3="accent3" accent4="accent4" accent5="accent5" accent6="accent6" hlink="hlink" folHlink="folHlink"/>
  <p:sldLayoutIdLst>
    <p:sldLayoutId id="2147486934" r:id="rId1"/>
    <p:sldLayoutId id="2147486935" r:id="rId2"/>
    <p:sldLayoutId id="2147486936" r:id="rId3"/>
    <p:sldLayoutId id="2147486937" r:id="rId4"/>
    <p:sldLayoutId id="2147486938" r:id="rId5"/>
    <p:sldLayoutId id="2147486939" r:id="rId6"/>
    <p:sldLayoutId id="2147486940" r:id="rId7"/>
    <p:sldLayoutId id="2147486941" r:id="rId8"/>
    <p:sldLayoutId id="2147486942" r:id="rId9"/>
    <p:sldLayoutId id="2147486943" r:id="rId10"/>
    <p:sldLayoutId id="2147486944" r:id="rId11"/>
    <p:sldLayoutId id="2147486945" r:id="rId12"/>
    <p:sldLayoutId id="2147486946" r:id="rId13"/>
    <p:sldLayoutId id="2147486947" r:id="rId14"/>
    <p:sldLayoutId id="2147486948" r:id="rId15"/>
    <p:sldLayoutId id="2147486949" r:id="rId16"/>
    <p:sldLayoutId id="2147486950" r:id="rId17"/>
    <p:sldLayoutId id="2147486951" r:id="rId18"/>
    <p:sldLayoutId id="2147486952" r:id="rId19"/>
    <p:sldLayoutId id="2147486953" r:id="rId20"/>
    <p:sldLayoutId id="2147486954" r:id="rId21"/>
    <p:sldLayoutId id="2147486955" r:id="rId22"/>
    <p:sldLayoutId id="2147486956" r:id="rId23"/>
    <p:sldLayoutId id="2147486957" r:id="rId24"/>
    <p:sldLayoutId id="2147486958" r:id="rId25"/>
    <p:sldLayoutId id="2147486959" r:id="rId26"/>
    <p:sldLayoutId id="2147486960" r:id="rId27"/>
    <p:sldLayoutId id="2147486961" r:id="rId28"/>
    <p:sldLayoutId id="2147486962" r:id="rId29"/>
    <p:sldLayoutId id="2147496188" r:id="rId30"/>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3"/>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301188336"/>
      </p:ext>
    </p:extLst>
  </p:cSld>
  <p:clrMap bg1="lt1" tx1="dk1" bg2="lt2" tx2="dk2" accent1="accent1" accent2="accent2" accent3="accent3" accent4="accent4" accent5="accent5" accent6="accent6" hlink="hlink" folHlink="folHlink"/>
  <p:sldLayoutIdLst>
    <p:sldLayoutId id="2147486964" r:id="rId1"/>
    <p:sldLayoutId id="2147486965" r:id="rId2"/>
    <p:sldLayoutId id="2147486966" r:id="rId3"/>
    <p:sldLayoutId id="2147486967" r:id="rId4"/>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2962397372"/>
      </p:ext>
    </p:extLst>
  </p:cSld>
  <p:clrMap bg1="lt1" tx1="dk1" bg2="lt2" tx2="dk2" accent1="accent1" accent2="accent2" accent3="accent3" accent4="accent4" accent5="accent5" accent6="accent6" hlink="hlink" folHlink="folHlink"/>
  <p:sldLayoutIdLst>
    <p:sldLayoutId id="2147486969" r:id="rId1"/>
    <p:sldLayoutId id="2147486970" r:id="rId2"/>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13143"/>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sp>
        <p:nvSpPr>
          <p:cNvPr id="13" name="TextBox 12">
            <a:extLst>
              <a:ext uri="{FF2B5EF4-FFF2-40B4-BE49-F238E27FC236}">
                <a16:creationId xmlns:a16="http://schemas.microsoft.com/office/drawing/2014/main" id="{E6F4DD64-3534-DEB8-AEE5-0372CCAEBF2E}"/>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523891500"/>
      </p:ext>
    </p:extLst>
  </p:cSld>
  <p:clrMap bg1="lt1" tx1="dk1" bg2="lt2" tx2="dk2" accent1="accent1" accent2="accent2" accent3="accent3" accent4="accent4" accent5="accent5" accent6="accent6" hlink="hlink" folHlink="folHlink"/>
  <p:sldLayoutIdLst>
    <p:sldLayoutId id="2147486972" r:id="rId1"/>
    <p:sldLayoutId id="2147486973" r:id="rId2"/>
    <p:sldLayoutId id="2147486974" r:id="rId3"/>
    <p:sldLayoutId id="2147486975" r:id="rId4"/>
    <p:sldLayoutId id="2147486976" r:id="rId5"/>
    <p:sldLayoutId id="2147486977" r:id="rId6"/>
    <p:sldLayoutId id="2147486978" r:id="rId7"/>
    <p:sldLayoutId id="2147486979" r:id="rId8"/>
    <p:sldLayoutId id="2147486980" r:id="rId9"/>
    <p:sldLayoutId id="2147486981" r:id="rId10"/>
    <p:sldLayoutId id="2147486982" r:id="rId11"/>
    <p:sldLayoutId id="2147486983" r:id="rId12"/>
    <p:sldLayoutId id="2147486984" r:id="rId13"/>
    <p:sldLayoutId id="2147486985" r:id="rId14"/>
    <p:sldLayoutId id="2147486986" r:id="rId15"/>
    <p:sldLayoutId id="2147486987" r:id="rId16"/>
    <p:sldLayoutId id="2147486988" r:id="rId17"/>
    <p:sldLayoutId id="2147486989" r:id="rId18"/>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3106254636"/>
      </p:ext>
    </p:extLst>
  </p:cSld>
  <p:clrMap bg1="lt1" tx1="dk1" bg2="lt2" tx2="dk2" accent1="accent1" accent2="accent2" accent3="accent3" accent4="accent4" accent5="accent5" accent6="accent6" hlink="hlink" folHlink="folHlink"/>
  <p:sldLayoutIdLst>
    <p:sldLayoutId id="2147486991" r:id="rId1"/>
    <p:sldLayoutId id="2147486992" r:id="rId2"/>
    <p:sldLayoutId id="2147486993" r:id="rId3"/>
    <p:sldLayoutId id="2147486994" r:id="rId4"/>
    <p:sldLayoutId id="2147486995" r:id="rId5"/>
    <p:sldLayoutId id="2147486996" r:id="rId6"/>
    <p:sldLayoutId id="2147486997" r:id="rId7"/>
    <p:sldLayoutId id="2147486998" r:id="rId8"/>
    <p:sldLayoutId id="2147486999" r:id="rId9"/>
    <p:sldLayoutId id="2147487000" r:id="rId10"/>
    <p:sldLayoutId id="2147487001" r:id="rId11"/>
    <p:sldLayoutId id="2147487002" r:id="rId12"/>
    <p:sldLayoutId id="2147487003" r:id="rId13"/>
    <p:sldLayoutId id="2147487004" r:id="rId14"/>
    <p:sldLayoutId id="2147487005" r:id="rId15"/>
    <p:sldLayoutId id="2147487006" r:id="rId16"/>
    <p:sldLayoutId id="2147487007" r:id="rId17"/>
    <p:sldLayoutId id="2147487008" r:id="rId18"/>
    <p:sldLayoutId id="2147487009" r:id="rId19"/>
    <p:sldLayoutId id="2147487010" r:id="rId20"/>
    <p:sldLayoutId id="2147487011" r:id="rId21"/>
    <p:sldLayoutId id="2147487012" r:id="rId22"/>
    <p:sldLayoutId id="2147487013" r:id="rId23"/>
    <p:sldLayoutId id="2147487014" r:id="rId24"/>
    <p:sldLayoutId id="2147487015" r:id="rId25"/>
    <p:sldLayoutId id="2147487016" r:id="rId26"/>
    <p:sldLayoutId id="2147487017" r:id="rId27"/>
    <p:sldLayoutId id="2147487018" r:id="rId28"/>
    <p:sldLayoutId id="2147487019" r:id="rId29"/>
    <p:sldLayoutId id="2147487020" r:id="rId30"/>
    <p:sldLayoutId id="2147487021" r:id="rId31"/>
    <p:sldLayoutId id="2147487022" r:id="rId32"/>
    <p:sldLayoutId id="2147487023" r:id="rId33"/>
    <p:sldLayoutId id="2147487024" r:id="rId34"/>
    <p:sldLayoutId id="2147487025" r:id="rId35"/>
    <p:sldLayoutId id="2147487026" r:id="rId36"/>
    <p:sldLayoutId id="2147487027" r:id="rId37"/>
    <p:sldLayoutId id="2147487028" r:id="rId38"/>
    <p:sldLayoutId id="2147487029" r:id="rId39"/>
    <p:sldLayoutId id="2147487030" r:id="rId40"/>
    <p:sldLayoutId id="2147487031" r:id="rId41"/>
    <p:sldLayoutId id="2147487032" r:id="rId42"/>
    <p:sldLayoutId id="2147487033" r:id="rId43"/>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3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605937477"/>
      </p:ext>
    </p:extLst>
  </p:cSld>
  <p:clrMap bg1="lt1" tx1="dk1" bg2="lt2" tx2="dk2" accent1="accent1" accent2="accent2" accent3="accent3" accent4="accent4" accent5="accent5" accent6="accent6" hlink="hlink" folHlink="folHlink"/>
  <p:sldLayoutIdLst>
    <p:sldLayoutId id="2147487035" r:id="rId1"/>
    <p:sldLayoutId id="2147487036" r:id="rId2"/>
    <p:sldLayoutId id="2147487037" r:id="rId3"/>
    <p:sldLayoutId id="2147487038" r:id="rId4"/>
    <p:sldLayoutId id="2147487039" r:id="rId5"/>
    <p:sldLayoutId id="2147487040" r:id="rId6"/>
    <p:sldLayoutId id="2147487041" r:id="rId7"/>
    <p:sldLayoutId id="2147487042" r:id="rId8"/>
    <p:sldLayoutId id="2147487043" r:id="rId9"/>
    <p:sldLayoutId id="2147487044" r:id="rId10"/>
    <p:sldLayoutId id="2147487045" r:id="rId11"/>
    <p:sldLayoutId id="2147487046" r:id="rId12"/>
    <p:sldLayoutId id="2147487047" r:id="rId13"/>
    <p:sldLayoutId id="2147487048" r:id="rId14"/>
    <p:sldLayoutId id="2147487049" r:id="rId15"/>
    <p:sldLayoutId id="2147487050" r:id="rId16"/>
    <p:sldLayoutId id="2147487051" r:id="rId17"/>
    <p:sldLayoutId id="2147487052" r:id="rId18"/>
    <p:sldLayoutId id="2147487053" r:id="rId19"/>
    <p:sldLayoutId id="2147487054" r:id="rId20"/>
    <p:sldLayoutId id="2147487055" r:id="rId21"/>
    <p:sldLayoutId id="2147487056" r:id="rId22"/>
    <p:sldLayoutId id="2147487057" r:id="rId23"/>
    <p:sldLayoutId id="2147487058" r:id="rId24"/>
    <p:sldLayoutId id="2147487059" r:id="rId25"/>
    <p:sldLayoutId id="2147487060" r:id="rId26"/>
    <p:sldLayoutId id="2147487061" r:id="rId27"/>
    <p:sldLayoutId id="2147487062" r:id="rId28"/>
    <p:sldLayoutId id="2147487063" r:id="rId29"/>
    <p:sldLayoutId id="2147487064" r:id="rId30"/>
    <p:sldLayoutId id="2147496122" r:id="rId31"/>
    <p:sldLayoutId id="2147496139" r:id="rId32"/>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C42C78-E337-B5C5-4A5C-9E4892A1C8F7}"/>
              </a:ext>
            </a:extLst>
          </p:cNvPr>
          <p:cNvGraphicFramePr>
            <a:graphicFrameLocks noChangeAspect="1"/>
          </p:cNvGraphicFramePr>
          <p:nvPr userDrawn="1">
            <p:custDataLst>
              <p:tags r:id="rId51"/>
            </p:custDataLst>
            <p:extLst>
              <p:ext uri="{D42A27DB-BD31-4B8C-83A1-F6EECF244321}">
                <p14:modId xmlns:p14="http://schemas.microsoft.com/office/powerpoint/2010/main" val="12458133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2" imgW="503" imgH="503" progId="TCLayout.ActiveDocument.1">
                  <p:embed/>
                </p:oleObj>
              </mc:Choice>
              <mc:Fallback>
                <p:oleObj name="think-cell Slide" r:id="rId52" imgW="503" imgH="503" progId="TCLayout.ActiveDocument.1">
                  <p:embed/>
                  <p:pic>
                    <p:nvPicPr>
                      <p:cNvPr id="8" name="Object 7" hidden="1">
                        <a:extLst>
                          <a:ext uri="{FF2B5EF4-FFF2-40B4-BE49-F238E27FC236}">
                            <a16:creationId xmlns:a16="http://schemas.microsoft.com/office/drawing/2014/main" id="{A6C42C78-E337-B5C5-4A5C-9E4892A1C8F7}"/>
                          </a:ext>
                        </a:extLst>
                      </p:cNvPr>
                      <p:cNvPicPr/>
                      <p:nvPr/>
                    </p:nvPicPr>
                    <p:blipFill>
                      <a:blip r:embed="rId53"/>
                      <a:stretch>
                        <a:fillRect/>
                      </a:stretch>
                    </p:blipFill>
                    <p:spPr>
                      <a:xfrm>
                        <a:off x="1191" y="1191"/>
                        <a:ext cx="1191" cy="119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16419" y="131964"/>
            <a:ext cx="8686800" cy="327406"/>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16419" y="1369219"/>
            <a:ext cx="8698229" cy="2877104"/>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8238994" y="4826403"/>
            <a:ext cx="676406" cy="273844"/>
          </a:xfrm>
          <a:prstGeom prst="rect">
            <a:avLst/>
          </a:prstGeom>
        </p:spPr>
        <p:txBody>
          <a:bodyPr vert="horz" lIns="0" tIns="45720" rIns="0" bIns="45720" rtlCol="0" anchor="ctr"/>
          <a:lstStyle>
            <a:lvl1pPr algn="r">
              <a:defRPr sz="750">
                <a:solidFill>
                  <a:schemeClr val="tx1"/>
                </a:solidFill>
              </a:defRPr>
            </a:lvl1pPr>
          </a:lstStyle>
          <a:p>
            <a:fld id="{403EF4E2-7A7A-0548-85F1-5479B7C9E1B2}" type="slidenum">
              <a:rPr lang="en-US" smtClean="0"/>
              <a:pPr/>
              <a:t>‹#›</a:t>
            </a:fld>
            <a:endParaRPr lang="en-US"/>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09199" y="4796816"/>
            <a:ext cx="87111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6626269" y="4888445"/>
            <a:ext cx="1950929" cy="173124"/>
          </a:xfrm>
          <a:prstGeom prst="rect">
            <a:avLst/>
          </a:prstGeom>
          <a:noFill/>
        </p:spPr>
        <p:txBody>
          <a:bodyPr wrap="square" lIns="0" rIns="0"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525">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54" cstate="screen">
            <a:extLst>
              <a:ext uri="{28A0092B-C50C-407E-A947-70E740481C1C}">
                <a14:useLocalDpi xmlns:a14="http://schemas.microsoft.com/office/drawing/2010/main"/>
              </a:ext>
            </a:extLst>
          </a:blip>
          <a:srcRect/>
          <a:stretch/>
        </p:blipFill>
        <p:spPr>
          <a:xfrm>
            <a:off x="217596" y="4871327"/>
            <a:ext cx="483489" cy="205740"/>
          </a:xfrm>
          <a:prstGeom prst="rect">
            <a:avLst/>
          </a:prstGeom>
        </p:spPr>
      </p:pic>
    </p:spTree>
    <p:extLst>
      <p:ext uri="{BB962C8B-B14F-4D97-AF65-F5344CB8AC3E}">
        <p14:creationId xmlns:p14="http://schemas.microsoft.com/office/powerpoint/2010/main" val="1808003711"/>
      </p:ext>
    </p:extLst>
  </p:cSld>
  <p:clrMap bg1="lt1" tx1="dk1" bg2="lt2" tx2="dk2" accent1="accent1" accent2="accent2" accent3="accent3" accent4="accent4" accent5="accent5" accent6="accent6" hlink="hlink" folHlink="folHlink"/>
  <p:sldLayoutIdLst>
    <p:sldLayoutId id="2147495989" r:id="rId1"/>
    <p:sldLayoutId id="2147495990" r:id="rId2"/>
    <p:sldLayoutId id="2147495991" r:id="rId3"/>
    <p:sldLayoutId id="2147495992" r:id="rId4"/>
    <p:sldLayoutId id="2147495993" r:id="rId5"/>
    <p:sldLayoutId id="2147495994" r:id="rId6"/>
    <p:sldLayoutId id="2147495995" r:id="rId7"/>
    <p:sldLayoutId id="2147495996" r:id="rId8"/>
    <p:sldLayoutId id="2147495997" r:id="rId9"/>
    <p:sldLayoutId id="2147495998" r:id="rId10"/>
    <p:sldLayoutId id="2147495999" r:id="rId11"/>
    <p:sldLayoutId id="2147496000" r:id="rId12"/>
    <p:sldLayoutId id="2147496001" r:id="rId13"/>
    <p:sldLayoutId id="2147496002" r:id="rId14"/>
    <p:sldLayoutId id="2147496003" r:id="rId15"/>
    <p:sldLayoutId id="2147496004" r:id="rId16"/>
    <p:sldLayoutId id="2147496005" r:id="rId17"/>
    <p:sldLayoutId id="2147496006" r:id="rId18"/>
    <p:sldLayoutId id="2147496007" r:id="rId19"/>
    <p:sldLayoutId id="2147496008" r:id="rId20"/>
    <p:sldLayoutId id="2147496009" r:id="rId21"/>
    <p:sldLayoutId id="2147496010" r:id="rId22"/>
    <p:sldLayoutId id="2147496011" r:id="rId23"/>
    <p:sldLayoutId id="2147496012" r:id="rId24"/>
    <p:sldLayoutId id="2147496013" r:id="rId25"/>
    <p:sldLayoutId id="2147496014" r:id="rId26"/>
    <p:sldLayoutId id="2147496015" r:id="rId27"/>
    <p:sldLayoutId id="2147496016" r:id="rId28"/>
    <p:sldLayoutId id="2147496095" r:id="rId29"/>
    <p:sldLayoutId id="2147496110" r:id="rId30"/>
    <p:sldLayoutId id="2147496119" r:id="rId31"/>
    <p:sldLayoutId id="2147484118" r:id="rId32"/>
    <p:sldLayoutId id="2147496111" r:id="rId33"/>
    <p:sldLayoutId id="2147496112" r:id="rId34"/>
    <p:sldLayoutId id="2147484121" r:id="rId35"/>
    <p:sldLayoutId id="2147484122" r:id="rId36"/>
    <p:sldLayoutId id="2147484123" r:id="rId37"/>
    <p:sldLayoutId id="2147490866" r:id="rId38"/>
    <p:sldLayoutId id="2147496063" r:id="rId39"/>
    <p:sldLayoutId id="2147484069" r:id="rId40"/>
    <p:sldLayoutId id="2147496064" r:id="rId41"/>
    <p:sldLayoutId id="2147496065" r:id="rId42"/>
    <p:sldLayoutId id="2147484072" r:id="rId43"/>
    <p:sldLayoutId id="2147496101" r:id="rId44"/>
    <p:sldLayoutId id="2147496102" r:id="rId45"/>
    <p:sldLayoutId id="2147496103" r:id="rId46"/>
    <p:sldLayoutId id="2147496025" r:id="rId47"/>
    <p:sldLayoutId id="2147496027" r:id="rId48"/>
    <p:sldLayoutId id="2147496035" r:id="rId49"/>
  </p:sldLayoutIdLst>
  <p:hf hdr="0" ftr="0" dt="0"/>
  <p:txStyles>
    <p:titleStyle>
      <a:lvl1pPr algn="l" defTabSz="685800" rtl="0" eaLnBrk="1" latinLnBrk="0" hangingPunct="1">
        <a:lnSpc>
          <a:spcPct val="100000"/>
        </a:lnSpc>
        <a:spcBef>
          <a:spcPct val="0"/>
        </a:spcBef>
        <a:buNone/>
        <a:defRPr sz="15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450"/>
        </a:spcAft>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100000"/>
        </a:lnSpc>
        <a:spcBef>
          <a:spcPts val="0"/>
        </a:spcBef>
        <a:spcAft>
          <a:spcPts val="450"/>
        </a:spcAft>
        <a:buSzPct val="100000"/>
        <a:buFont typeface="System Font Regular"/>
        <a:buChar char="-"/>
        <a:defRPr sz="1050" kern="1200">
          <a:solidFill>
            <a:schemeClr val="tx1"/>
          </a:solidFill>
          <a:latin typeface="+mn-lt"/>
          <a:ea typeface="+mn-ea"/>
          <a:cs typeface="+mn-cs"/>
        </a:defRPr>
      </a:lvl2pPr>
      <a:lvl3pPr marL="857250" indent="-171450" algn="l" defTabSz="685800" rtl="0" eaLnBrk="1" latinLnBrk="0" hangingPunct="1">
        <a:lnSpc>
          <a:spcPct val="100000"/>
        </a:lnSpc>
        <a:spcBef>
          <a:spcPts val="0"/>
        </a:spcBef>
        <a:spcAft>
          <a:spcPts val="450"/>
        </a:spcAft>
        <a:buFont typeface="Arial" panose="020B0604020202020204" pitchFamily="34" charset="0"/>
        <a:buChar char="•"/>
        <a:defRPr sz="9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4pPr>
      <a:lvl5pPr marL="1543050" indent="-171450" algn="l" defTabSz="685800" rtl="0" eaLnBrk="1" latinLnBrk="0" hangingPunct="1">
        <a:lnSpc>
          <a:spcPct val="10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xml"/><Relationship Id="rId1" Type="http://schemas.openxmlformats.org/officeDocument/2006/relationships/slideLayout" Target="../slideLayouts/slideLayout264.xml"/></Relationships>
</file>

<file path=ppt/slides/_rels/slide1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xml"/><Relationship Id="rId1" Type="http://schemas.openxmlformats.org/officeDocument/2006/relationships/slideLayout" Target="../slideLayouts/slideLayout209.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9.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89465B6-0842-5640-EEDD-FB06CD888AAA}"/>
              </a:ext>
            </a:extLst>
          </p:cNvPr>
          <p:cNvPicPr>
            <a:picLocks noGrp="1" noChangeAspect="1"/>
          </p:cNvPicPr>
          <p:nvPr>
            <p:ph type="pic" sz="quarter" idx="12"/>
          </p:nvPr>
        </p:nvPicPr>
        <p:blipFill>
          <a:blip r:embed="rId3"/>
          <a:srcRect l="21875" r="21875"/>
          <a:stretch/>
        </p:blipFill>
        <p:spPr/>
      </p:pic>
      <p:sp>
        <p:nvSpPr>
          <p:cNvPr id="2" name="Title 1">
            <a:extLst>
              <a:ext uri="{FF2B5EF4-FFF2-40B4-BE49-F238E27FC236}">
                <a16:creationId xmlns:a16="http://schemas.microsoft.com/office/drawing/2014/main" id="{2FC6DDB4-C543-C6ED-D866-37B43E29A9CF}"/>
              </a:ext>
            </a:extLst>
          </p:cNvPr>
          <p:cNvSpPr>
            <a:spLocks noGrp="1"/>
          </p:cNvSpPr>
          <p:nvPr>
            <p:ph type="ctrTitle"/>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000"/>
              <a:t>Liquor Enhancement</a:t>
            </a:r>
            <a:br>
              <a:rPr lang="en-US" sz="2000"/>
            </a:br>
            <a:r>
              <a:rPr lang="en-US" sz="3200"/>
              <a:t>Open State Launch</a:t>
            </a:r>
            <a:endParaRPr lang="en-US" sz="2000"/>
          </a:p>
        </p:txBody>
      </p:sp>
      <p:sp>
        <p:nvSpPr>
          <p:cNvPr id="3" name="Subtitle 2">
            <a:extLst>
              <a:ext uri="{FF2B5EF4-FFF2-40B4-BE49-F238E27FC236}">
                <a16:creationId xmlns:a16="http://schemas.microsoft.com/office/drawing/2014/main" id="{E7993DDE-1628-A396-3D19-44AE3BB3E623}"/>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FF6D1AB6-42C8-6861-C90A-C83121CFC747}"/>
              </a:ext>
            </a:extLst>
          </p:cNvPr>
          <p:cNvSpPr>
            <a:spLocks noGrp="1"/>
          </p:cNvSpPr>
          <p:nvPr>
            <p:ph type="body" sz="quarter" idx="10"/>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a:p>
        </p:txBody>
      </p:sp>
      <p:sp>
        <p:nvSpPr>
          <p:cNvPr id="5" name="Text Placeholder 4">
            <a:extLst>
              <a:ext uri="{FF2B5EF4-FFF2-40B4-BE49-F238E27FC236}">
                <a16:creationId xmlns:a16="http://schemas.microsoft.com/office/drawing/2014/main" id="{BEA59935-7784-06EB-54DC-EC93708CB688}"/>
              </a:ext>
            </a:extLst>
          </p:cNvPr>
          <p:cNvSpPr>
            <a:spLocks noGrp="1"/>
          </p:cNvSpPr>
          <p:nvPr>
            <p:ph type="body" sz="quarter" idx="11"/>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a:p>
        </p:txBody>
      </p:sp>
      <p:sp>
        <p:nvSpPr>
          <p:cNvPr id="6" name="Text Placeholder 5">
            <a:extLst>
              <a:ext uri="{FF2B5EF4-FFF2-40B4-BE49-F238E27FC236}">
                <a16:creationId xmlns:a16="http://schemas.microsoft.com/office/drawing/2014/main" id="{62A46E95-B807-AFE8-A662-804C05E7B7C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57215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6">
            <a:extLst>
              <a:ext uri="{FF2B5EF4-FFF2-40B4-BE49-F238E27FC236}">
                <a16:creationId xmlns:a16="http://schemas.microsoft.com/office/drawing/2014/main" id="{4057CD83-FE4E-2FDE-5F10-C2C0F15D6FB1}"/>
              </a:ext>
            </a:extLst>
          </p:cNvPr>
          <p:cNvSpPr>
            <a:spLocks noGrp="1"/>
          </p:cNvSpPr>
          <p:nvPr/>
        </p:nvSpPr>
        <p:spPr>
          <a:xfrm>
            <a:off x="209775" y="134228"/>
            <a:ext cx="6159834"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Volume Changes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Beer – Total Liquor Plus vs. Total Open State</a:t>
            </a:r>
            <a:endParaRPr lang="en-US">
              <a:solidFill>
                <a:srgbClr val="4697E2"/>
              </a:solidFill>
              <a:latin typeface="Aptos Display" panose="02110004020202020204"/>
            </a:endParaRPr>
          </a:p>
        </p:txBody>
      </p:sp>
      <p:sp>
        <p:nvSpPr>
          <p:cNvPr id="2" name="TextBox 1">
            <a:extLst>
              <a:ext uri="{FF2B5EF4-FFF2-40B4-BE49-F238E27FC236}">
                <a16:creationId xmlns:a16="http://schemas.microsoft.com/office/drawing/2014/main" id="{D5FBD859-FBE5-B3C2-0C1C-3B29941D83B1}"/>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The more pronounced seasonality is coming from the new markets</a:t>
            </a:r>
          </a:p>
        </p:txBody>
      </p:sp>
      <p:pic>
        <p:nvPicPr>
          <p:cNvPr id="5" name="Picture 4">
            <a:extLst>
              <a:ext uri="{FF2B5EF4-FFF2-40B4-BE49-F238E27FC236}">
                <a16:creationId xmlns:a16="http://schemas.microsoft.com/office/drawing/2014/main" id="{A206FCC8-8608-4A32-71A4-62351948023D}"/>
              </a:ext>
            </a:extLst>
          </p:cNvPr>
          <p:cNvPicPr>
            <a:picLocks noChangeAspect="1"/>
          </p:cNvPicPr>
          <p:nvPr/>
        </p:nvPicPr>
        <p:blipFill>
          <a:blip r:embed="rId2"/>
          <a:stretch>
            <a:fillRect/>
          </a:stretch>
        </p:blipFill>
        <p:spPr>
          <a:xfrm>
            <a:off x="2189285" y="1685553"/>
            <a:ext cx="4765430" cy="2456408"/>
          </a:xfrm>
          <a:prstGeom prst="rect">
            <a:avLst/>
          </a:prstGeom>
        </p:spPr>
      </p:pic>
    </p:spTree>
    <p:extLst>
      <p:ext uri="{BB962C8B-B14F-4D97-AF65-F5344CB8AC3E}">
        <p14:creationId xmlns:p14="http://schemas.microsoft.com/office/powerpoint/2010/main" val="2747100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6">
            <a:extLst>
              <a:ext uri="{FF2B5EF4-FFF2-40B4-BE49-F238E27FC236}">
                <a16:creationId xmlns:a16="http://schemas.microsoft.com/office/drawing/2014/main" id="{2E03A6C3-8EDA-3EDE-76A9-E40E949A4AFA}"/>
              </a:ext>
            </a:extLst>
          </p:cNvPr>
          <p:cNvSpPr>
            <a:spLocks noGrp="1"/>
          </p:cNvSpPr>
          <p:nvPr/>
        </p:nvSpPr>
        <p:spPr>
          <a:xfrm>
            <a:off x="209775" y="134228"/>
            <a:ext cx="6627855"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Manufacturer $ Share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Beer – Total Liquor Plus vs. Total Open State</a:t>
            </a:r>
            <a:endParaRPr lang="en-US">
              <a:solidFill>
                <a:srgbClr val="4697E2"/>
              </a:solidFill>
              <a:latin typeface="Aptos Display" panose="02110004020202020204"/>
            </a:endParaRPr>
          </a:p>
        </p:txBody>
      </p:sp>
      <p:graphicFrame>
        <p:nvGraphicFramePr>
          <p:cNvPr id="9" name="Table 8">
            <a:extLst>
              <a:ext uri="{FF2B5EF4-FFF2-40B4-BE49-F238E27FC236}">
                <a16:creationId xmlns:a16="http://schemas.microsoft.com/office/drawing/2014/main" id="{693CC79E-0F28-A8FC-977F-3582EAF9FAC5}"/>
              </a:ext>
            </a:extLst>
          </p:cNvPr>
          <p:cNvGraphicFramePr>
            <a:graphicFrameLocks noGrp="1"/>
          </p:cNvGraphicFramePr>
          <p:nvPr/>
        </p:nvGraphicFramePr>
        <p:xfrm>
          <a:off x="209775" y="958982"/>
          <a:ext cx="8526719" cy="3807070"/>
        </p:xfrm>
        <a:graphic>
          <a:graphicData uri="http://schemas.openxmlformats.org/drawingml/2006/table">
            <a:tbl>
              <a:tblPr/>
              <a:tblGrid>
                <a:gridCol w="2249462">
                  <a:extLst>
                    <a:ext uri="{9D8B030D-6E8A-4147-A177-3AD203B41FA5}">
                      <a16:colId xmlns:a16="http://schemas.microsoft.com/office/drawing/2014/main" val="917400740"/>
                    </a:ext>
                  </a:extLst>
                </a:gridCol>
                <a:gridCol w="820955">
                  <a:extLst>
                    <a:ext uri="{9D8B030D-6E8A-4147-A177-3AD203B41FA5}">
                      <a16:colId xmlns:a16="http://schemas.microsoft.com/office/drawing/2014/main" val="1272373342"/>
                    </a:ext>
                  </a:extLst>
                </a:gridCol>
                <a:gridCol w="692507">
                  <a:extLst>
                    <a:ext uri="{9D8B030D-6E8A-4147-A177-3AD203B41FA5}">
                      <a16:colId xmlns:a16="http://schemas.microsoft.com/office/drawing/2014/main" val="2394640808"/>
                    </a:ext>
                  </a:extLst>
                </a:gridCol>
                <a:gridCol w="893557">
                  <a:extLst>
                    <a:ext uri="{9D8B030D-6E8A-4147-A177-3AD203B41FA5}">
                      <a16:colId xmlns:a16="http://schemas.microsoft.com/office/drawing/2014/main" val="3929899042"/>
                    </a:ext>
                  </a:extLst>
                </a:gridCol>
                <a:gridCol w="664583">
                  <a:extLst>
                    <a:ext uri="{9D8B030D-6E8A-4147-A177-3AD203B41FA5}">
                      <a16:colId xmlns:a16="http://schemas.microsoft.com/office/drawing/2014/main" val="2775410816"/>
                    </a:ext>
                  </a:extLst>
                </a:gridCol>
                <a:gridCol w="843294">
                  <a:extLst>
                    <a:ext uri="{9D8B030D-6E8A-4147-A177-3AD203B41FA5}">
                      <a16:colId xmlns:a16="http://schemas.microsoft.com/office/drawing/2014/main" val="995103328"/>
                    </a:ext>
                  </a:extLst>
                </a:gridCol>
                <a:gridCol w="681337">
                  <a:extLst>
                    <a:ext uri="{9D8B030D-6E8A-4147-A177-3AD203B41FA5}">
                      <a16:colId xmlns:a16="http://schemas.microsoft.com/office/drawing/2014/main" val="2990062955"/>
                    </a:ext>
                  </a:extLst>
                </a:gridCol>
                <a:gridCol w="865634">
                  <a:extLst>
                    <a:ext uri="{9D8B030D-6E8A-4147-A177-3AD203B41FA5}">
                      <a16:colId xmlns:a16="http://schemas.microsoft.com/office/drawing/2014/main" val="1174746793"/>
                    </a:ext>
                  </a:extLst>
                </a:gridCol>
                <a:gridCol w="815390">
                  <a:extLst>
                    <a:ext uri="{9D8B030D-6E8A-4147-A177-3AD203B41FA5}">
                      <a16:colId xmlns:a16="http://schemas.microsoft.com/office/drawing/2014/main" val="3850065007"/>
                    </a:ext>
                  </a:extLst>
                </a:gridCol>
              </a:tblGrid>
              <a:tr h="388281">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Manufacturer</a:t>
                      </a:r>
                    </a:p>
                  </a:txBody>
                  <a:tcPr marL="5258" marR="5258" marT="5258"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555555"/>
                      </a:solidFill>
                      <a:prstDash val="solid"/>
                      <a:round/>
                      <a:headEnd type="none" w="med" len="med"/>
                      <a:tailEnd type="none" w="med" len="med"/>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 Diff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 Chang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Shar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Share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Change 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 vs. Before</a:t>
                      </a:r>
                    </a:p>
                  </a:txBody>
                  <a:tcPr marL="5258" marR="5258" marT="5258"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555555"/>
                    </a:solidFill>
                  </a:tcPr>
                </a:tc>
                <a:extLst>
                  <a:ext uri="{0D108BD9-81ED-4DB2-BD59-A6C34878D82A}">
                    <a16:rowId xmlns:a16="http://schemas.microsoft.com/office/drawing/2014/main" val="188638580"/>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ANHEUSER-BUSCH INC.</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55555"/>
                      </a:solidFill>
                      <a:prstDash val="solid"/>
                      <a:round/>
                      <a:headEnd type="none" w="med" len="med"/>
                      <a:tailEnd type="none" w="med" len="med"/>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43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0.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4.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6%</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52479672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CONSTELLATION</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042</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6.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260109"/>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MOLSON COORS BEVERAGE C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37</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9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45719065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ALL OTHER COMPANI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971</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4%</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9.7%</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8589756"/>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BOSTON BEER</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3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6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8.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1448440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MARK ANTHONY BRAND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30</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0%</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6%</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8166371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HEINEKEN US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07</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3102725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DIAGE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5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5518708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PABST BREWING C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2338876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NEW BELGIUM BREWING</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22</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19356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G. YUENGLING</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0</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8.8%</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1.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893949377"/>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SIERRA NEVAD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94</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2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7%</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9%</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673899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FIFCO US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4</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428457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SAPPORO BREWERIES LTD</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8%</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59556819"/>
                  </a:ext>
                </a:extLst>
              </a:tr>
              <a:tr h="236757">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UVEL US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7</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2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7%</a:t>
                      </a:r>
                    </a:p>
                  </a:txBody>
                  <a:tcPr marL="5715" marR="5715" marT="5715" marB="0" anchor="ctr">
                    <a:lnL w="12700" cap="flat" cmpd="sng" algn="ctr">
                      <a:solidFill>
                        <a:schemeClr val="tx1"/>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0%</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28336955"/>
                  </a:ext>
                </a:extLst>
              </a:tr>
            </a:tbl>
          </a:graphicData>
        </a:graphic>
      </p:graphicFrame>
      <p:sp>
        <p:nvSpPr>
          <p:cNvPr id="2" name="Subtitle 4">
            <a:extLst>
              <a:ext uri="{FF2B5EF4-FFF2-40B4-BE49-F238E27FC236}">
                <a16:creationId xmlns:a16="http://schemas.microsoft.com/office/drawing/2014/main" id="{9B612D34-2393-7B4E-C062-C7477D3BFAE2}"/>
              </a:ext>
            </a:extLst>
          </p:cNvPr>
          <p:cNvSpPr txBox="1">
            <a:spLocks/>
          </p:cNvSpPr>
          <p:nvPr/>
        </p:nvSpPr>
        <p:spPr>
          <a:xfrm>
            <a:off x="209775" y="4756106"/>
            <a:ext cx="8159100" cy="184800"/>
          </a:xfrm>
          <a:prstGeom prst="rect">
            <a:avLst/>
          </a:prstGeom>
          <a:noFill/>
          <a:ln>
            <a:noFill/>
          </a:ln>
        </p:spPr>
        <p:txBody>
          <a:bodyPr spcFirstLastPara="1" wrap="square" lIns="0" tIns="91425" rIns="0" bIns="91425" anchor="ctr" anchorCtr="0">
            <a:noAutofit/>
          </a:bodyPr>
          <a:lstStyle>
            <a:defPPr marR="0" lvl="0" algn="l" rtl="0">
              <a:lnSpc>
                <a:spcPct val="100000"/>
              </a:lnSpc>
              <a:spcBef>
                <a:spcPts val="0"/>
              </a:spcBef>
              <a:spcAft>
                <a:spcPts val="0"/>
              </a:spcAft>
            </a:defPPr>
            <a:lvl1pPr marL="457200" marR="0" lvl="0" indent="-31115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342900" indent="-233363" defTabSz="685800">
              <a:buClr>
                <a:srgbClr val="A02B93"/>
              </a:buClr>
            </a:pPr>
            <a:r>
              <a:rPr lang="en-US" sz="800">
                <a:solidFill>
                  <a:prstClr val="black"/>
                </a:solidFill>
                <a:latin typeface="Arial"/>
              </a:rPr>
              <a:t>52 WE 11/25/2023; In Millions</a:t>
            </a:r>
          </a:p>
        </p:txBody>
      </p:sp>
      <p:sp>
        <p:nvSpPr>
          <p:cNvPr id="3" name="TextBox 2">
            <a:extLst>
              <a:ext uri="{FF2B5EF4-FFF2-40B4-BE49-F238E27FC236}">
                <a16:creationId xmlns:a16="http://schemas.microsoft.com/office/drawing/2014/main" id="{F391FB64-F8F5-8A99-AC47-35BB040F8385}"/>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Some manufacturers are seeing larger than the 2.8x increase</a:t>
            </a:r>
          </a:p>
        </p:txBody>
      </p:sp>
    </p:spTree>
    <p:extLst>
      <p:ext uri="{BB962C8B-B14F-4D97-AF65-F5344CB8AC3E}">
        <p14:creationId xmlns:p14="http://schemas.microsoft.com/office/powerpoint/2010/main" val="21616379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6">
            <a:extLst>
              <a:ext uri="{FF2B5EF4-FFF2-40B4-BE49-F238E27FC236}">
                <a16:creationId xmlns:a16="http://schemas.microsoft.com/office/drawing/2014/main" id="{4057CD83-FE4E-2FDE-5F10-C2C0F15D6FB1}"/>
              </a:ext>
            </a:extLst>
          </p:cNvPr>
          <p:cNvSpPr>
            <a:spLocks noGrp="1"/>
          </p:cNvSpPr>
          <p:nvPr/>
        </p:nvSpPr>
        <p:spPr>
          <a:xfrm>
            <a:off x="209775" y="134228"/>
            <a:ext cx="6159834"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Volume Changes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Spirits – Total Liquor Plus vs. Total Open State</a:t>
            </a:r>
            <a:endParaRPr lang="en-US">
              <a:solidFill>
                <a:srgbClr val="4697E2"/>
              </a:solidFill>
              <a:latin typeface="Aptos Display" panose="02110004020202020204"/>
            </a:endParaRPr>
          </a:p>
        </p:txBody>
      </p:sp>
      <p:sp>
        <p:nvSpPr>
          <p:cNvPr id="2" name="TextBox 1">
            <a:extLst>
              <a:ext uri="{FF2B5EF4-FFF2-40B4-BE49-F238E27FC236}">
                <a16:creationId xmlns:a16="http://schemas.microsoft.com/office/drawing/2014/main" id="{D5FBD859-FBE5-B3C2-0C1C-3B29941D83B1}"/>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Spirits volume is higher, but trends are consistent</a:t>
            </a:r>
          </a:p>
        </p:txBody>
      </p:sp>
      <p:pic>
        <p:nvPicPr>
          <p:cNvPr id="5" name="Picture 4">
            <a:extLst>
              <a:ext uri="{FF2B5EF4-FFF2-40B4-BE49-F238E27FC236}">
                <a16:creationId xmlns:a16="http://schemas.microsoft.com/office/drawing/2014/main" id="{28F00B99-D570-1CC8-58ED-FD31C3538C38}"/>
              </a:ext>
            </a:extLst>
          </p:cNvPr>
          <p:cNvPicPr>
            <a:picLocks noChangeAspect="1"/>
          </p:cNvPicPr>
          <p:nvPr/>
        </p:nvPicPr>
        <p:blipFill>
          <a:blip r:embed="rId2"/>
          <a:stretch>
            <a:fillRect/>
          </a:stretch>
        </p:blipFill>
        <p:spPr>
          <a:xfrm>
            <a:off x="2202458" y="1583701"/>
            <a:ext cx="4739084" cy="2442827"/>
          </a:xfrm>
          <a:prstGeom prst="rect">
            <a:avLst/>
          </a:prstGeom>
        </p:spPr>
      </p:pic>
    </p:spTree>
    <p:extLst>
      <p:ext uri="{BB962C8B-B14F-4D97-AF65-F5344CB8AC3E}">
        <p14:creationId xmlns:p14="http://schemas.microsoft.com/office/powerpoint/2010/main" val="116610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6">
            <a:extLst>
              <a:ext uri="{FF2B5EF4-FFF2-40B4-BE49-F238E27FC236}">
                <a16:creationId xmlns:a16="http://schemas.microsoft.com/office/drawing/2014/main" id="{2E03A6C3-8EDA-3EDE-76A9-E40E949A4AFA}"/>
              </a:ext>
            </a:extLst>
          </p:cNvPr>
          <p:cNvSpPr>
            <a:spLocks noGrp="1"/>
          </p:cNvSpPr>
          <p:nvPr/>
        </p:nvSpPr>
        <p:spPr>
          <a:xfrm>
            <a:off x="209775" y="134228"/>
            <a:ext cx="6627855"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Manufacturer $ Share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Spirits – Total Liquor Plus vs. Total Open State</a:t>
            </a:r>
            <a:endParaRPr lang="en-US">
              <a:solidFill>
                <a:srgbClr val="4697E2"/>
              </a:solidFill>
              <a:latin typeface="Aptos Display" panose="02110004020202020204"/>
            </a:endParaRPr>
          </a:p>
        </p:txBody>
      </p:sp>
      <p:graphicFrame>
        <p:nvGraphicFramePr>
          <p:cNvPr id="9" name="Table 8">
            <a:extLst>
              <a:ext uri="{FF2B5EF4-FFF2-40B4-BE49-F238E27FC236}">
                <a16:creationId xmlns:a16="http://schemas.microsoft.com/office/drawing/2014/main" id="{693CC79E-0F28-A8FC-977F-3582EAF9FAC5}"/>
              </a:ext>
            </a:extLst>
          </p:cNvPr>
          <p:cNvGraphicFramePr>
            <a:graphicFrameLocks noGrp="1"/>
          </p:cNvGraphicFramePr>
          <p:nvPr/>
        </p:nvGraphicFramePr>
        <p:xfrm>
          <a:off x="209775" y="949043"/>
          <a:ext cx="8526719" cy="3807070"/>
        </p:xfrm>
        <a:graphic>
          <a:graphicData uri="http://schemas.openxmlformats.org/drawingml/2006/table">
            <a:tbl>
              <a:tblPr/>
              <a:tblGrid>
                <a:gridCol w="2249462">
                  <a:extLst>
                    <a:ext uri="{9D8B030D-6E8A-4147-A177-3AD203B41FA5}">
                      <a16:colId xmlns:a16="http://schemas.microsoft.com/office/drawing/2014/main" val="917400740"/>
                    </a:ext>
                  </a:extLst>
                </a:gridCol>
                <a:gridCol w="820955">
                  <a:extLst>
                    <a:ext uri="{9D8B030D-6E8A-4147-A177-3AD203B41FA5}">
                      <a16:colId xmlns:a16="http://schemas.microsoft.com/office/drawing/2014/main" val="1272373342"/>
                    </a:ext>
                  </a:extLst>
                </a:gridCol>
                <a:gridCol w="692507">
                  <a:extLst>
                    <a:ext uri="{9D8B030D-6E8A-4147-A177-3AD203B41FA5}">
                      <a16:colId xmlns:a16="http://schemas.microsoft.com/office/drawing/2014/main" val="2394640808"/>
                    </a:ext>
                  </a:extLst>
                </a:gridCol>
                <a:gridCol w="893557">
                  <a:extLst>
                    <a:ext uri="{9D8B030D-6E8A-4147-A177-3AD203B41FA5}">
                      <a16:colId xmlns:a16="http://schemas.microsoft.com/office/drawing/2014/main" val="3929899042"/>
                    </a:ext>
                  </a:extLst>
                </a:gridCol>
                <a:gridCol w="664583">
                  <a:extLst>
                    <a:ext uri="{9D8B030D-6E8A-4147-A177-3AD203B41FA5}">
                      <a16:colId xmlns:a16="http://schemas.microsoft.com/office/drawing/2014/main" val="2775410816"/>
                    </a:ext>
                  </a:extLst>
                </a:gridCol>
                <a:gridCol w="843294">
                  <a:extLst>
                    <a:ext uri="{9D8B030D-6E8A-4147-A177-3AD203B41FA5}">
                      <a16:colId xmlns:a16="http://schemas.microsoft.com/office/drawing/2014/main" val="995103328"/>
                    </a:ext>
                  </a:extLst>
                </a:gridCol>
                <a:gridCol w="681337">
                  <a:extLst>
                    <a:ext uri="{9D8B030D-6E8A-4147-A177-3AD203B41FA5}">
                      <a16:colId xmlns:a16="http://schemas.microsoft.com/office/drawing/2014/main" val="2990062955"/>
                    </a:ext>
                  </a:extLst>
                </a:gridCol>
                <a:gridCol w="865634">
                  <a:extLst>
                    <a:ext uri="{9D8B030D-6E8A-4147-A177-3AD203B41FA5}">
                      <a16:colId xmlns:a16="http://schemas.microsoft.com/office/drawing/2014/main" val="1174746793"/>
                    </a:ext>
                  </a:extLst>
                </a:gridCol>
                <a:gridCol w="815390">
                  <a:extLst>
                    <a:ext uri="{9D8B030D-6E8A-4147-A177-3AD203B41FA5}">
                      <a16:colId xmlns:a16="http://schemas.microsoft.com/office/drawing/2014/main" val="3850065007"/>
                    </a:ext>
                  </a:extLst>
                </a:gridCol>
              </a:tblGrid>
              <a:tr h="388281">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Manufacturer</a:t>
                      </a:r>
                    </a:p>
                  </a:txBody>
                  <a:tcPr marL="5258" marR="5258" marT="5258"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555555"/>
                      </a:solidFill>
                      <a:prstDash val="solid"/>
                      <a:round/>
                      <a:headEnd type="none" w="med" len="med"/>
                      <a:tailEnd type="none" w="med" len="med"/>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 Diff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 Chang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Shar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Share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Change 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 vs. Before</a:t>
                      </a:r>
                    </a:p>
                  </a:txBody>
                  <a:tcPr marL="5258" marR="5258" marT="5258"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555555"/>
                    </a:solidFill>
                  </a:tcPr>
                </a:tc>
                <a:extLst>
                  <a:ext uri="{0D108BD9-81ED-4DB2-BD59-A6C34878D82A}">
                    <a16:rowId xmlns:a16="http://schemas.microsoft.com/office/drawing/2014/main" val="188638580"/>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IAGE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55555"/>
                      </a:solidFill>
                      <a:prstDash val="solid"/>
                      <a:round/>
                      <a:headEnd type="none" w="med" len="med"/>
                      <a:tailEnd type="none" w="med" len="med"/>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158</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9.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52479672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ALL OTHER COMPANI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121</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9.8%</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260109"/>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SAZERAC</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06</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4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9.8%</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45719065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BACARDI</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70</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7.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8589756"/>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BEAM SUNTORY</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5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1448440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PERNOD RICARD</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326</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9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6.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8166371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E&amp;J GALL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138</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6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7%</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3102725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BROWN-FORMAN</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08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3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3%</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5518708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FIFTH GENERATION</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94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0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2338876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PROXIM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93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8.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19356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MOET HENNESSY US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890</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8.8%</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893949377"/>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HEAVEN HILL</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81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8%</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673899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CAMPARI AMERIC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6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2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8%</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428457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WILLIAM GRANT</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5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6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9%</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7%</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59556819"/>
                  </a:ext>
                </a:extLst>
              </a:tr>
              <a:tr h="236757">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REMY COINTREAU</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4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4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1.4%</a:t>
                      </a:r>
                    </a:p>
                  </a:txBody>
                  <a:tcPr marL="5715" marR="5715" marT="5715" marB="0" anchor="ctr">
                    <a:lnL w="12700" cap="flat" cmpd="sng" algn="ctr">
                      <a:solidFill>
                        <a:schemeClr val="tx1"/>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0%</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28336955"/>
                  </a:ext>
                </a:extLst>
              </a:tr>
            </a:tbl>
          </a:graphicData>
        </a:graphic>
      </p:graphicFrame>
      <p:sp>
        <p:nvSpPr>
          <p:cNvPr id="2" name="Subtitle 4">
            <a:extLst>
              <a:ext uri="{FF2B5EF4-FFF2-40B4-BE49-F238E27FC236}">
                <a16:creationId xmlns:a16="http://schemas.microsoft.com/office/drawing/2014/main" id="{9B612D34-2393-7B4E-C062-C7477D3BFAE2}"/>
              </a:ext>
            </a:extLst>
          </p:cNvPr>
          <p:cNvSpPr txBox="1">
            <a:spLocks/>
          </p:cNvSpPr>
          <p:nvPr/>
        </p:nvSpPr>
        <p:spPr>
          <a:xfrm>
            <a:off x="209775" y="4756106"/>
            <a:ext cx="8159100" cy="184800"/>
          </a:xfrm>
          <a:prstGeom prst="rect">
            <a:avLst/>
          </a:prstGeom>
          <a:noFill/>
          <a:ln>
            <a:noFill/>
          </a:ln>
        </p:spPr>
        <p:txBody>
          <a:bodyPr spcFirstLastPara="1" wrap="square" lIns="0" tIns="91425" rIns="0" bIns="91425" anchor="ctr" anchorCtr="0">
            <a:noAutofit/>
          </a:bodyPr>
          <a:lstStyle>
            <a:defPPr marR="0" lvl="0" algn="l" rtl="0">
              <a:lnSpc>
                <a:spcPct val="100000"/>
              </a:lnSpc>
              <a:spcBef>
                <a:spcPts val="0"/>
              </a:spcBef>
              <a:spcAft>
                <a:spcPts val="0"/>
              </a:spcAft>
            </a:defPPr>
            <a:lvl1pPr marL="457200" marR="0" lvl="0" indent="-31115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342900" indent="-233363" defTabSz="685800">
              <a:buClr>
                <a:srgbClr val="A02B93"/>
              </a:buClr>
            </a:pPr>
            <a:r>
              <a:rPr lang="en-US" sz="800">
                <a:solidFill>
                  <a:prstClr val="black"/>
                </a:solidFill>
                <a:latin typeface="Arial"/>
              </a:rPr>
              <a:t>52 WE 11/25/2023; In Millions</a:t>
            </a:r>
          </a:p>
        </p:txBody>
      </p:sp>
      <p:sp>
        <p:nvSpPr>
          <p:cNvPr id="3" name="TextBox 2">
            <a:extLst>
              <a:ext uri="{FF2B5EF4-FFF2-40B4-BE49-F238E27FC236}">
                <a16:creationId xmlns:a16="http://schemas.microsoft.com/office/drawing/2014/main" id="{F391FB64-F8F5-8A99-AC47-35BB040F8385}"/>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Some manufacturers are seeing larger than the 2.2x increase</a:t>
            </a:r>
          </a:p>
        </p:txBody>
      </p:sp>
    </p:spTree>
    <p:extLst>
      <p:ext uri="{BB962C8B-B14F-4D97-AF65-F5344CB8AC3E}">
        <p14:creationId xmlns:p14="http://schemas.microsoft.com/office/powerpoint/2010/main" val="12906874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6">
            <a:extLst>
              <a:ext uri="{FF2B5EF4-FFF2-40B4-BE49-F238E27FC236}">
                <a16:creationId xmlns:a16="http://schemas.microsoft.com/office/drawing/2014/main" id="{4057CD83-FE4E-2FDE-5F10-C2C0F15D6FB1}"/>
              </a:ext>
            </a:extLst>
          </p:cNvPr>
          <p:cNvSpPr>
            <a:spLocks noGrp="1"/>
          </p:cNvSpPr>
          <p:nvPr/>
        </p:nvSpPr>
        <p:spPr>
          <a:xfrm>
            <a:off x="209775" y="134228"/>
            <a:ext cx="6159834"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Volume Changes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Wine – Total Liquor Plus vs. Total Open State</a:t>
            </a:r>
            <a:endParaRPr lang="en-US">
              <a:solidFill>
                <a:srgbClr val="4697E2"/>
              </a:solidFill>
              <a:latin typeface="Aptos Display" panose="02110004020202020204"/>
            </a:endParaRPr>
          </a:p>
        </p:txBody>
      </p:sp>
      <p:sp>
        <p:nvSpPr>
          <p:cNvPr id="2" name="TextBox 1">
            <a:extLst>
              <a:ext uri="{FF2B5EF4-FFF2-40B4-BE49-F238E27FC236}">
                <a16:creationId xmlns:a16="http://schemas.microsoft.com/office/drawing/2014/main" id="{D5FBD859-FBE5-B3C2-0C1C-3B29941D83B1}"/>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Wine volume increased, but trends are consistent</a:t>
            </a:r>
          </a:p>
        </p:txBody>
      </p:sp>
      <p:pic>
        <p:nvPicPr>
          <p:cNvPr id="5" name="Picture 4">
            <a:extLst>
              <a:ext uri="{FF2B5EF4-FFF2-40B4-BE49-F238E27FC236}">
                <a16:creationId xmlns:a16="http://schemas.microsoft.com/office/drawing/2014/main" id="{A0569B1D-5454-0EA4-A916-A09A4DF3E50E}"/>
              </a:ext>
            </a:extLst>
          </p:cNvPr>
          <p:cNvPicPr>
            <a:picLocks noChangeAspect="1"/>
          </p:cNvPicPr>
          <p:nvPr/>
        </p:nvPicPr>
        <p:blipFill>
          <a:blip r:embed="rId2"/>
          <a:stretch>
            <a:fillRect/>
          </a:stretch>
        </p:blipFill>
        <p:spPr>
          <a:xfrm>
            <a:off x="2265226" y="1738266"/>
            <a:ext cx="4613548" cy="2325096"/>
          </a:xfrm>
          <a:prstGeom prst="rect">
            <a:avLst/>
          </a:prstGeom>
        </p:spPr>
      </p:pic>
    </p:spTree>
    <p:extLst>
      <p:ext uri="{BB962C8B-B14F-4D97-AF65-F5344CB8AC3E}">
        <p14:creationId xmlns:p14="http://schemas.microsoft.com/office/powerpoint/2010/main" val="3584771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6">
            <a:extLst>
              <a:ext uri="{FF2B5EF4-FFF2-40B4-BE49-F238E27FC236}">
                <a16:creationId xmlns:a16="http://schemas.microsoft.com/office/drawing/2014/main" id="{2E03A6C3-8EDA-3EDE-76A9-E40E949A4AFA}"/>
              </a:ext>
            </a:extLst>
          </p:cNvPr>
          <p:cNvSpPr>
            <a:spLocks noGrp="1"/>
          </p:cNvSpPr>
          <p:nvPr/>
        </p:nvSpPr>
        <p:spPr>
          <a:xfrm>
            <a:off x="209775" y="134228"/>
            <a:ext cx="6627855"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pPr defTabSz="514337"/>
            <a:r>
              <a:rPr lang="en-US">
                <a:solidFill>
                  <a:prstClr val="black"/>
                </a:solidFill>
                <a:latin typeface="Aptos Display" panose="02110004020202020204"/>
                <a:cs typeface="Arial"/>
              </a:rPr>
              <a:t>Manufacturer $ Share for </a:t>
            </a:r>
            <a:r>
              <a:rPr lang="en-US" err="1">
                <a:solidFill>
                  <a:srgbClr val="4697E2"/>
                </a:solidFill>
                <a:latin typeface="Aptos Display" panose="02110004020202020204"/>
                <a:cs typeface="Arial"/>
              </a:rPr>
              <a:t>BevAL</a:t>
            </a:r>
            <a:r>
              <a:rPr lang="en-US">
                <a:solidFill>
                  <a:srgbClr val="4697E2"/>
                </a:solidFill>
                <a:latin typeface="Aptos Display" panose="02110004020202020204"/>
                <a:cs typeface="Arial"/>
              </a:rPr>
              <a:t> Wine – Total Liquor Plus vs. Total Open State</a:t>
            </a:r>
            <a:endParaRPr lang="en-US">
              <a:solidFill>
                <a:srgbClr val="4697E2"/>
              </a:solidFill>
              <a:latin typeface="Aptos Display" panose="02110004020202020204"/>
            </a:endParaRPr>
          </a:p>
        </p:txBody>
      </p:sp>
      <p:graphicFrame>
        <p:nvGraphicFramePr>
          <p:cNvPr id="9" name="Table 8">
            <a:extLst>
              <a:ext uri="{FF2B5EF4-FFF2-40B4-BE49-F238E27FC236}">
                <a16:creationId xmlns:a16="http://schemas.microsoft.com/office/drawing/2014/main" id="{693CC79E-0F28-A8FC-977F-3582EAF9FAC5}"/>
              </a:ext>
            </a:extLst>
          </p:cNvPr>
          <p:cNvGraphicFramePr>
            <a:graphicFrameLocks noGrp="1"/>
          </p:cNvGraphicFramePr>
          <p:nvPr/>
        </p:nvGraphicFramePr>
        <p:xfrm>
          <a:off x="209775" y="949043"/>
          <a:ext cx="8526719" cy="3807070"/>
        </p:xfrm>
        <a:graphic>
          <a:graphicData uri="http://schemas.openxmlformats.org/drawingml/2006/table">
            <a:tbl>
              <a:tblPr/>
              <a:tblGrid>
                <a:gridCol w="2249462">
                  <a:extLst>
                    <a:ext uri="{9D8B030D-6E8A-4147-A177-3AD203B41FA5}">
                      <a16:colId xmlns:a16="http://schemas.microsoft.com/office/drawing/2014/main" val="917400740"/>
                    </a:ext>
                  </a:extLst>
                </a:gridCol>
                <a:gridCol w="820955">
                  <a:extLst>
                    <a:ext uri="{9D8B030D-6E8A-4147-A177-3AD203B41FA5}">
                      <a16:colId xmlns:a16="http://schemas.microsoft.com/office/drawing/2014/main" val="1272373342"/>
                    </a:ext>
                  </a:extLst>
                </a:gridCol>
                <a:gridCol w="692507">
                  <a:extLst>
                    <a:ext uri="{9D8B030D-6E8A-4147-A177-3AD203B41FA5}">
                      <a16:colId xmlns:a16="http://schemas.microsoft.com/office/drawing/2014/main" val="2394640808"/>
                    </a:ext>
                  </a:extLst>
                </a:gridCol>
                <a:gridCol w="893557">
                  <a:extLst>
                    <a:ext uri="{9D8B030D-6E8A-4147-A177-3AD203B41FA5}">
                      <a16:colId xmlns:a16="http://schemas.microsoft.com/office/drawing/2014/main" val="3929899042"/>
                    </a:ext>
                  </a:extLst>
                </a:gridCol>
                <a:gridCol w="664583">
                  <a:extLst>
                    <a:ext uri="{9D8B030D-6E8A-4147-A177-3AD203B41FA5}">
                      <a16:colId xmlns:a16="http://schemas.microsoft.com/office/drawing/2014/main" val="2775410816"/>
                    </a:ext>
                  </a:extLst>
                </a:gridCol>
                <a:gridCol w="843294">
                  <a:extLst>
                    <a:ext uri="{9D8B030D-6E8A-4147-A177-3AD203B41FA5}">
                      <a16:colId xmlns:a16="http://schemas.microsoft.com/office/drawing/2014/main" val="995103328"/>
                    </a:ext>
                  </a:extLst>
                </a:gridCol>
                <a:gridCol w="681337">
                  <a:extLst>
                    <a:ext uri="{9D8B030D-6E8A-4147-A177-3AD203B41FA5}">
                      <a16:colId xmlns:a16="http://schemas.microsoft.com/office/drawing/2014/main" val="2990062955"/>
                    </a:ext>
                  </a:extLst>
                </a:gridCol>
                <a:gridCol w="865634">
                  <a:extLst>
                    <a:ext uri="{9D8B030D-6E8A-4147-A177-3AD203B41FA5}">
                      <a16:colId xmlns:a16="http://schemas.microsoft.com/office/drawing/2014/main" val="1174746793"/>
                    </a:ext>
                  </a:extLst>
                </a:gridCol>
                <a:gridCol w="815390">
                  <a:extLst>
                    <a:ext uri="{9D8B030D-6E8A-4147-A177-3AD203B41FA5}">
                      <a16:colId xmlns:a16="http://schemas.microsoft.com/office/drawing/2014/main" val="3850065007"/>
                    </a:ext>
                  </a:extLst>
                </a:gridCol>
              </a:tblGrid>
              <a:tr h="388281">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Manufacturer</a:t>
                      </a:r>
                    </a:p>
                  </a:txBody>
                  <a:tcPr marL="5258" marR="5258" marT="5258"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555555"/>
                      </a:solidFill>
                      <a:prstDash val="solid"/>
                      <a:round/>
                      <a:headEnd type="none" w="med" len="med"/>
                      <a:tailEnd type="none" w="med" len="med"/>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 Diff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 Chang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 Share</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After</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vs. Before</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YOY Share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Change After </a:t>
                      </a:r>
                    </a:p>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Enhancement</a:t>
                      </a:r>
                    </a:p>
                  </a:txBody>
                  <a:tcPr marL="5258" marR="5258" marT="5258" marB="0" anchor="ctr">
                    <a:lnL>
                      <a:noFill/>
                    </a:lnL>
                    <a:lnR>
                      <a:noFill/>
                    </a:lnR>
                    <a:lnT w="12700" cap="flat" cmpd="sng" algn="ctr">
                      <a:solidFill>
                        <a:srgbClr val="000000"/>
                      </a:solidFill>
                      <a:prstDash val="solid"/>
                      <a:round/>
                      <a:headEnd type="none" w="med" len="med"/>
                      <a:tailEnd type="none" w="med" len="med"/>
                    </a:lnT>
                    <a:lnB>
                      <a:noFill/>
                    </a:lnB>
                    <a:solidFill>
                      <a:srgbClr val="555555"/>
                    </a:solidFill>
                  </a:tcPr>
                </a:tc>
                <a:tc>
                  <a:txBody>
                    <a:bodyPr/>
                    <a:lstStyle/>
                    <a:p>
                      <a:pPr algn="ctr" rtl="0" fontAlgn="ctr"/>
                      <a:r>
                        <a:rPr lang="en-US" sz="800" b="1" i="0" u="none" strike="noStrike">
                          <a:solidFill>
                            <a:srgbClr val="FFFFFF"/>
                          </a:solidFill>
                          <a:effectLst/>
                          <a:highlight>
                            <a:srgbClr val="555555"/>
                          </a:highlight>
                          <a:latin typeface="Arial" panose="020B0604020202020204" pitchFamily="34" charset="0"/>
                          <a:cs typeface="Arial" panose="020B0604020202020204" pitchFamily="34" charset="0"/>
                        </a:rPr>
                        <a:t>Pt Diff vs. Before</a:t>
                      </a:r>
                    </a:p>
                  </a:txBody>
                  <a:tcPr marL="5258" marR="5258" marT="5258"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555555"/>
                    </a:solidFill>
                  </a:tcPr>
                </a:tc>
                <a:extLst>
                  <a:ext uri="{0D108BD9-81ED-4DB2-BD59-A6C34878D82A}">
                    <a16:rowId xmlns:a16="http://schemas.microsoft.com/office/drawing/2014/main" val="188638580"/>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ALL OTHER COMPANI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55555"/>
                      </a:solidFill>
                      <a:prstDash val="solid"/>
                      <a:round/>
                      <a:headEnd type="none" w="med" len="med"/>
                      <a:tailEnd type="none" w="med" len="med"/>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282</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7.0%</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5.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7%</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52479672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E&amp;J GALLO</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331</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4.9%</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4%</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260109"/>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CONSTELLATION</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22</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9.2%</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5.9%</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45719065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MOET HENNESSY USA</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55</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1.3%</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5.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8589756"/>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EUTSCH FAMILY</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13</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14484403"/>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THE WINE GROUP</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9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2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0.7%</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8166371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FV WIN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92</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6.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031027252"/>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TRINCHERO FAMILY</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89</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4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3.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8%</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55187084"/>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TREASURY WINE ESTAT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34</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4.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2338876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JACKSON FAMILY WIN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26</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7.9%</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19356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DUCKHORN WINE COMPANY</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1</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5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9%</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893949377"/>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WAGNER FAMILY WIN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38</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4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6.6%</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4.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4%</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3%</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67389978"/>
                  </a:ext>
                </a:extLst>
              </a:tr>
              <a:tr h="227288">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PALM BAY INTERNTL</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37</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8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3.7%</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2.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742845725"/>
                  </a:ext>
                </a:extLst>
              </a:tr>
              <a:tr h="227288">
                <a:tc>
                  <a:txBody>
                    <a:bodyPr/>
                    <a:lstStyle/>
                    <a:p>
                      <a:pPr algn="l" rtl="0" fontAlgn="ctr"/>
                      <a:r>
                        <a:rPr lang="en-US" sz="800" b="0" i="0" u="none" strike="noStrike">
                          <a:solidFill>
                            <a:srgbClr val="000000"/>
                          </a:solidFill>
                          <a:effectLst/>
                          <a:latin typeface="Arial" panose="020B0604020202020204" pitchFamily="34" charset="0"/>
                          <a:cs typeface="Arial" panose="020B0604020202020204" pitchFamily="34" charset="0"/>
                        </a:rPr>
                        <a:t>STE MICHELLE ESTATES</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34</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7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4%</a:t>
                      </a:r>
                    </a:p>
                  </a:txBody>
                  <a:tcPr marL="5715" marR="5715" marT="5715" marB="0" anchor="ctr">
                    <a:lnL w="12700" cap="flat" cmpd="sng" algn="ctr">
                      <a:solidFill>
                        <a:schemeClr val="tx1"/>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2.5%</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1.5%</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1%</a:t>
                      </a:r>
                    </a:p>
                  </a:txBody>
                  <a:tcPr marL="5715" marR="5715" marT="5715" marB="0" anchor="ctr">
                    <a:lnL>
                      <a:noFill/>
                    </a:lnL>
                    <a:lnR w="12700" cap="flat" cmpd="sng" algn="ctr">
                      <a:solidFill>
                        <a:srgbClr val="555555"/>
                      </a:solidFill>
                      <a:prstDash val="solid"/>
                      <a:round/>
                      <a:headEnd type="none" w="med" len="med"/>
                      <a:tailEnd type="none" w="med" len="med"/>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2%</a:t>
                      </a:r>
                    </a:p>
                  </a:txBody>
                  <a:tcPr marL="5715" marR="5715" marT="5715" marB="0" anchor="ctr">
                    <a:lnL w="12700" cap="flat" cmpd="sng" algn="ctr">
                      <a:solidFill>
                        <a:srgbClr val="555555"/>
                      </a:solidFill>
                      <a:prstDash val="solid"/>
                      <a:round/>
                      <a:headEnd type="none" w="med" len="med"/>
                      <a:tailEnd type="none" w="med" len="med"/>
                    </a:lnL>
                    <a:lnR>
                      <a:noFill/>
                    </a:lnR>
                    <a:lnT>
                      <a:noFill/>
                    </a:lnT>
                    <a:lnB>
                      <a:noFill/>
                    </a:lnB>
                    <a:noFill/>
                  </a:tcPr>
                </a:tc>
                <a:tc>
                  <a:txBody>
                    <a:bodyPr/>
                    <a:lstStyle/>
                    <a:p>
                      <a:pPr algn="ctr" rtl="0" fontAlgn="ctr"/>
                      <a:r>
                        <a:rPr lang="en-US" sz="800" b="0" i="0" u="none" strike="noStrike">
                          <a:solidFill>
                            <a:srgbClr val="000000"/>
                          </a:solidFill>
                          <a:effectLs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59556819"/>
                  </a:ext>
                </a:extLst>
              </a:tr>
              <a:tr h="236757">
                <a:tc>
                  <a:txBody>
                    <a:bodyPr/>
                    <a:lstStyle/>
                    <a:p>
                      <a:pPr algn="l"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KOBRAND</a:t>
                      </a:r>
                    </a:p>
                  </a:txBody>
                  <a:tcPr marL="5715" marR="5715" marT="571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5</a:t>
                      </a:r>
                    </a:p>
                  </a:txBody>
                  <a:tcPr marL="5715" marR="5715" marT="571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6x</a:t>
                      </a:r>
                    </a:p>
                  </a:txBody>
                  <a:tcPr marL="5715" marR="5715" marT="571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2.1%</a:t>
                      </a:r>
                    </a:p>
                  </a:txBody>
                  <a:tcPr marL="5715" marR="5715" marT="5715" marB="0" anchor="ctr">
                    <a:lnL w="12700" cap="flat" cmpd="sng" algn="ctr">
                      <a:solidFill>
                        <a:schemeClr val="tx1"/>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1.4%</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2%</a:t>
                      </a:r>
                    </a:p>
                  </a:txBody>
                  <a:tcPr marL="5715" marR="5715" marT="5715" marB="0" anchor="ctr">
                    <a:lnL>
                      <a:noFill/>
                    </a:lnL>
                    <a:lnR w="12700" cap="flat" cmpd="sng" algn="ctr">
                      <a:solidFill>
                        <a:srgbClr val="55555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1%</a:t>
                      </a:r>
                    </a:p>
                  </a:txBody>
                  <a:tcPr marL="5715" marR="5715" marT="5715" marB="0" anchor="ctr">
                    <a:lnL w="12700" cap="flat" cmpd="sng" algn="ctr">
                      <a:solidFill>
                        <a:srgbClr val="55555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en-US" sz="800" b="0" i="0" u="none" strike="noStrike">
                          <a:solidFill>
                            <a:srgbClr val="000000"/>
                          </a:solidFill>
                          <a:effectLst/>
                          <a:highlight>
                            <a:srgbClr val="F2F2F2"/>
                          </a:highlight>
                          <a:latin typeface="Arial" panose="020B0604020202020204" pitchFamily="34" charset="0"/>
                          <a:cs typeface="Arial" panose="020B0604020202020204" pitchFamily="34" charset="0"/>
                        </a:rPr>
                        <a:t>0.0%</a:t>
                      </a:r>
                    </a:p>
                  </a:txBody>
                  <a:tcPr marL="5715" marR="5715" marT="571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28336955"/>
                  </a:ext>
                </a:extLst>
              </a:tr>
            </a:tbl>
          </a:graphicData>
        </a:graphic>
      </p:graphicFrame>
      <p:sp>
        <p:nvSpPr>
          <p:cNvPr id="2" name="Subtitle 4">
            <a:extLst>
              <a:ext uri="{FF2B5EF4-FFF2-40B4-BE49-F238E27FC236}">
                <a16:creationId xmlns:a16="http://schemas.microsoft.com/office/drawing/2014/main" id="{9B612D34-2393-7B4E-C062-C7477D3BFAE2}"/>
              </a:ext>
            </a:extLst>
          </p:cNvPr>
          <p:cNvSpPr txBox="1">
            <a:spLocks/>
          </p:cNvSpPr>
          <p:nvPr/>
        </p:nvSpPr>
        <p:spPr>
          <a:xfrm>
            <a:off x="209775" y="4756106"/>
            <a:ext cx="8159100" cy="184800"/>
          </a:xfrm>
          <a:prstGeom prst="rect">
            <a:avLst/>
          </a:prstGeom>
          <a:noFill/>
          <a:ln>
            <a:noFill/>
          </a:ln>
        </p:spPr>
        <p:txBody>
          <a:bodyPr spcFirstLastPara="1" wrap="square" lIns="0" tIns="91425" rIns="0" bIns="91425" anchor="ctr" anchorCtr="0">
            <a:noAutofit/>
          </a:bodyPr>
          <a:lstStyle>
            <a:defPPr marR="0" lvl="0" algn="l" rtl="0">
              <a:lnSpc>
                <a:spcPct val="100000"/>
              </a:lnSpc>
              <a:spcBef>
                <a:spcPts val="0"/>
              </a:spcBef>
              <a:spcAft>
                <a:spcPts val="0"/>
              </a:spcAft>
            </a:defPPr>
            <a:lvl1pPr marL="457200" marR="0" lvl="0" indent="-31115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342900" indent="-233363" defTabSz="685800">
              <a:buClr>
                <a:srgbClr val="A02B93"/>
              </a:buClr>
            </a:pPr>
            <a:r>
              <a:rPr lang="en-US" sz="800">
                <a:solidFill>
                  <a:prstClr val="black"/>
                </a:solidFill>
                <a:latin typeface="Arial"/>
              </a:rPr>
              <a:t>52 WE 11/25/2023; In Millions</a:t>
            </a:r>
          </a:p>
        </p:txBody>
      </p:sp>
      <p:sp>
        <p:nvSpPr>
          <p:cNvPr id="3" name="TextBox 2">
            <a:extLst>
              <a:ext uri="{FF2B5EF4-FFF2-40B4-BE49-F238E27FC236}">
                <a16:creationId xmlns:a16="http://schemas.microsoft.com/office/drawing/2014/main" id="{F391FB64-F8F5-8A99-AC47-35BB040F8385}"/>
              </a:ext>
            </a:extLst>
          </p:cNvPr>
          <p:cNvSpPr txBox="1"/>
          <p:nvPr/>
        </p:nvSpPr>
        <p:spPr>
          <a:xfrm>
            <a:off x="209773" y="507004"/>
            <a:ext cx="8328056" cy="300082"/>
          </a:xfrm>
          <a:prstGeom prst="rect">
            <a:avLst/>
          </a:prstGeom>
          <a:noFill/>
        </p:spPr>
        <p:txBody>
          <a:bodyPr wrap="square" rtlCol="0">
            <a:spAutoFit/>
          </a:bodyPr>
          <a:lstStyle/>
          <a:p>
            <a:pPr defTabSz="685800"/>
            <a:r>
              <a:rPr lang="en-US" sz="1350">
                <a:solidFill>
                  <a:prstClr val="black"/>
                </a:solidFill>
                <a:latin typeface="Aptos" panose="02110004020202020204"/>
              </a:rPr>
              <a:t>Some manufacturers are seeing larger than the 1.8x increase</a:t>
            </a:r>
          </a:p>
        </p:txBody>
      </p:sp>
    </p:spTree>
    <p:extLst>
      <p:ext uri="{BB962C8B-B14F-4D97-AF65-F5344CB8AC3E}">
        <p14:creationId xmlns:p14="http://schemas.microsoft.com/office/powerpoint/2010/main" val="1713553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DDCC5A-08D5-56D9-CDB6-25F186C29643}"/>
              </a:ext>
            </a:extLst>
          </p:cNvPr>
          <p:cNvSpPr>
            <a:spLocks noGrp="1"/>
          </p:cNvSpPr>
          <p:nvPr>
            <p:ph type="sldNum" sz="quarter" idx="4"/>
          </p:nvPr>
        </p:nvSpPr>
        <p:spPr/>
        <p:txBody>
          <a:bodyPr/>
          <a:lstStyle/>
          <a:p>
            <a:fld id="{403EF4E2-7A7A-0548-85F1-5479B7C9E1B2}" type="slidenum">
              <a:rPr lang="en-US" smtClean="0"/>
              <a:pPr/>
              <a:t>16</a:t>
            </a:fld>
            <a:endParaRPr lang="en-US"/>
          </a:p>
        </p:txBody>
      </p:sp>
      <p:sp>
        <p:nvSpPr>
          <p:cNvPr id="3" name="Title 2">
            <a:extLst>
              <a:ext uri="{FF2B5EF4-FFF2-40B4-BE49-F238E27FC236}">
                <a16:creationId xmlns:a16="http://schemas.microsoft.com/office/drawing/2014/main" id="{34870C0E-169E-75B6-528A-FF66C675F684}"/>
              </a:ext>
            </a:extLst>
          </p:cNvPr>
          <p:cNvSpPr>
            <a:spLocks noGrp="1"/>
          </p:cNvSpPr>
          <p:nvPr>
            <p:ph type="ctrTitle"/>
          </p:nvPr>
        </p:nvSpPr>
        <p:spPr/>
        <p:txBody>
          <a:bodyPr/>
          <a:lstStyle/>
          <a:p>
            <a:r>
              <a:rPr lang="en-US">
                <a:cs typeface="Arial"/>
              </a:rPr>
              <a:t>Explanation of the Changes: Methodology</a:t>
            </a:r>
            <a:endParaRPr lang="en-US"/>
          </a:p>
        </p:txBody>
      </p:sp>
      <p:sp>
        <p:nvSpPr>
          <p:cNvPr id="4" name="Subtitle 3">
            <a:extLst>
              <a:ext uri="{FF2B5EF4-FFF2-40B4-BE49-F238E27FC236}">
                <a16:creationId xmlns:a16="http://schemas.microsoft.com/office/drawing/2014/main" id="{DBD0BC67-682F-5F11-5ED4-7FACC87150F2}"/>
              </a:ext>
            </a:extLst>
          </p:cNvPr>
          <p:cNvSpPr>
            <a:spLocks noGrp="1"/>
          </p:cNvSpPr>
          <p:nvPr>
            <p:ph type="subTitle" idx="1"/>
          </p:nvPr>
        </p:nvSpPr>
        <p:spPr/>
        <p:txBody>
          <a:bodyPr vert="horz" lIns="0" tIns="45720" rIns="0" bIns="45720" rtlCol="0" anchor="t">
            <a:noAutofit/>
          </a:bodyPr>
          <a:lstStyle/>
          <a:p>
            <a:r>
              <a:rPr lang="en-US">
                <a:cs typeface="Arial"/>
              </a:rPr>
              <a:t>General Knowledge on what's changing</a:t>
            </a:r>
            <a:endParaRPr lang="en-US"/>
          </a:p>
        </p:txBody>
      </p:sp>
    </p:spTree>
    <p:extLst>
      <p:ext uri="{BB962C8B-B14F-4D97-AF65-F5344CB8AC3E}">
        <p14:creationId xmlns:p14="http://schemas.microsoft.com/office/powerpoint/2010/main" val="2378716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C9AC0-6466-63D6-1FC9-795A8C5EB574}"/>
              </a:ext>
            </a:extLst>
          </p:cNvPr>
          <p:cNvSpPr>
            <a:spLocks noGrp="1"/>
          </p:cNvSpPr>
          <p:nvPr>
            <p:ph type="title"/>
          </p:nvPr>
        </p:nvSpPr>
        <p:spPr/>
        <p:txBody>
          <a:bodyPr/>
          <a:lstStyle/>
          <a:p>
            <a:r>
              <a:rPr lang="en-US">
                <a:cs typeface="Arial"/>
              </a:rPr>
              <a:t>Liquor Channel Enhancement: Non-Census Increase</a:t>
            </a:r>
            <a:endParaRPr lang="en-US"/>
          </a:p>
        </p:txBody>
      </p:sp>
      <p:sp>
        <p:nvSpPr>
          <p:cNvPr id="4" name="Subtitle 3">
            <a:extLst>
              <a:ext uri="{FF2B5EF4-FFF2-40B4-BE49-F238E27FC236}">
                <a16:creationId xmlns:a16="http://schemas.microsoft.com/office/drawing/2014/main" id="{D9B09AB9-8599-9137-3EDF-A0B0169C8F5A}"/>
              </a:ext>
            </a:extLst>
          </p:cNvPr>
          <p:cNvSpPr>
            <a:spLocks noGrp="1"/>
          </p:cNvSpPr>
          <p:nvPr>
            <p:ph type="subTitle" idx="2"/>
          </p:nvPr>
        </p:nvSpPr>
        <p:spPr/>
        <p:txBody>
          <a:bodyPr/>
          <a:lstStyle/>
          <a:p>
            <a:r>
              <a:rPr lang="en-US">
                <a:solidFill>
                  <a:schemeClr val="bg2"/>
                </a:solidFill>
                <a:cs typeface="Arial"/>
              </a:rPr>
              <a:t>With the move to reporting </a:t>
            </a:r>
            <a:r>
              <a:rPr lang="en-US" err="1">
                <a:solidFill>
                  <a:schemeClr val="bg2"/>
                </a:solidFill>
                <a:cs typeface="Arial"/>
              </a:rPr>
              <a:t>Statelines</a:t>
            </a:r>
            <a:r>
              <a:rPr lang="en-US">
                <a:solidFill>
                  <a:schemeClr val="bg2"/>
                </a:solidFill>
                <a:cs typeface="Arial"/>
              </a:rPr>
              <a:t>, we increased sample in the SMMs</a:t>
            </a:r>
            <a:endParaRPr lang="en-US">
              <a:solidFill>
                <a:schemeClr val="bg2"/>
              </a:solidFill>
            </a:endParaRPr>
          </a:p>
        </p:txBody>
      </p:sp>
      <p:sp>
        <p:nvSpPr>
          <p:cNvPr id="5" name="Subtitle 4">
            <a:extLst>
              <a:ext uri="{FF2B5EF4-FFF2-40B4-BE49-F238E27FC236}">
                <a16:creationId xmlns:a16="http://schemas.microsoft.com/office/drawing/2014/main" id="{8F401A87-99E1-51DD-5A5A-17428F39C9A1}"/>
              </a:ext>
            </a:extLst>
          </p:cNvPr>
          <p:cNvSpPr>
            <a:spLocks noGrp="1"/>
          </p:cNvSpPr>
          <p:nvPr>
            <p:ph type="subTitle" idx="3"/>
          </p:nvPr>
        </p:nvSpPr>
        <p:spPr/>
        <p:txBody>
          <a:bodyPr/>
          <a:lstStyle/>
          <a:p>
            <a:endParaRPr lang="en-US"/>
          </a:p>
        </p:txBody>
      </p:sp>
      <p:pic>
        <p:nvPicPr>
          <p:cNvPr id="7" name="Picture 6">
            <a:extLst>
              <a:ext uri="{FF2B5EF4-FFF2-40B4-BE49-F238E27FC236}">
                <a16:creationId xmlns:a16="http://schemas.microsoft.com/office/drawing/2014/main" id="{5058B583-11B9-DEC2-F8A3-731FDDE554B3}"/>
              </a:ext>
            </a:extLst>
          </p:cNvPr>
          <p:cNvPicPr>
            <a:picLocks noChangeAspect="1"/>
          </p:cNvPicPr>
          <p:nvPr/>
        </p:nvPicPr>
        <p:blipFill>
          <a:blip r:embed="rId2"/>
          <a:stretch>
            <a:fillRect/>
          </a:stretch>
        </p:blipFill>
        <p:spPr>
          <a:xfrm>
            <a:off x="4891939" y="3290997"/>
            <a:ext cx="1837990" cy="1341236"/>
          </a:xfrm>
          <a:prstGeom prst="rect">
            <a:avLst/>
          </a:prstGeom>
        </p:spPr>
      </p:pic>
      <p:pic>
        <p:nvPicPr>
          <p:cNvPr id="9" name="Picture 8">
            <a:extLst>
              <a:ext uri="{FF2B5EF4-FFF2-40B4-BE49-F238E27FC236}">
                <a16:creationId xmlns:a16="http://schemas.microsoft.com/office/drawing/2014/main" id="{E97C5448-A020-3140-3680-3AF61BB4FF7A}"/>
              </a:ext>
            </a:extLst>
          </p:cNvPr>
          <p:cNvPicPr>
            <a:picLocks noChangeAspect="1"/>
          </p:cNvPicPr>
          <p:nvPr/>
        </p:nvPicPr>
        <p:blipFill>
          <a:blip r:embed="rId3"/>
          <a:stretch>
            <a:fillRect/>
          </a:stretch>
        </p:blipFill>
        <p:spPr>
          <a:xfrm>
            <a:off x="1129205" y="3290997"/>
            <a:ext cx="1813717" cy="1341236"/>
          </a:xfrm>
          <a:prstGeom prst="rect">
            <a:avLst/>
          </a:prstGeom>
        </p:spPr>
      </p:pic>
      <p:sp>
        <p:nvSpPr>
          <p:cNvPr id="10" name="TextBox 9">
            <a:extLst>
              <a:ext uri="{FF2B5EF4-FFF2-40B4-BE49-F238E27FC236}">
                <a16:creationId xmlns:a16="http://schemas.microsoft.com/office/drawing/2014/main" id="{12B64AB1-E316-3909-1DEB-A5AF2F2A8F68}"/>
              </a:ext>
            </a:extLst>
          </p:cNvPr>
          <p:cNvSpPr txBox="1"/>
          <p:nvPr/>
        </p:nvSpPr>
        <p:spPr>
          <a:xfrm>
            <a:off x="1414271" y="3018814"/>
            <a:ext cx="1243584" cy="272183"/>
          </a:xfrm>
          <a:prstGeom prst="rect">
            <a:avLst/>
          </a:prstGeom>
          <a:noFill/>
        </p:spPr>
        <p:txBody>
          <a:bodyPr wrap="square" lIns="0" rIns="0" rtlCol="0">
            <a:noAutofit/>
          </a:bodyPr>
          <a:lstStyle/>
          <a:p>
            <a:pPr algn="l">
              <a:spcAft>
                <a:spcPts val="600"/>
              </a:spcAft>
            </a:pPr>
            <a:r>
              <a:rPr lang="en-US" sz="1600" u="sng"/>
              <a:t>Denver SMM</a:t>
            </a:r>
          </a:p>
        </p:txBody>
      </p:sp>
      <p:sp>
        <p:nvSpPr>
          <p:cNvPr id="11" name="TextBox 10">
            <a:extLst>
              <a:ext uri="{FF2B5EF4-FFF2-40B4-BE49-F238E27FC236}">
                <a16:creationId xmlns:a16="http://schemas.microsoft.com/office/drawing/2014/main" id="{321F2A0A-9ED7-B7A2-0843-52DAEEA2CBF3}"/>
              </a:ext>
            </a:extLst>
          </p:cNvPr>
          <p:cNvSpPr txBox="1"/>
          <p:nvPr/>
        </p:nvSpPr>
        <p:spPr>
          <a:xfrm>
            <a:off x="4939208" y="3024067"/>
            <a:ext cx="1743453" cy="272183"/>
          </a:xfrm>
          <a:prstGeom prst="rect">
            <a:avLst/>
          </a:prstGeom>
          <a:noFill/>
        </p:spPr>
        <p:txBody>
          <a:bodyPr wrap="square" lIns="0" rIns="0" rtlCol="0">
            <a:noAutofit/>
          </a:bodyPr>
          <a:lstStyle/>
          <a:p>
            <a:pPr algn="l">
              <a:spcAft>
                <a:spcPts val="600"/>
              </a:spcAft>
            </a:pPr>
            <a:r>
              <a:rPr lang="en-US" sz="1600" u="sng"/>
              <a:t>Colorado Stateline</a:t>
            </a:r>
          </a:p>
        </p:txBody>
      </p:sp>
      <p:sp>
        <p:nvSpPr>
          <p:cNvPr id="12" name="TextBox 11">
            <a:extLst>
              <a:ext uri="{FF2B5EF4-FFF2-40B4-BE49-F238E27FC236}">
                <a16:creationId xmlns:a16="http://schemas.microsoft.com/office/drawing/2014/main" id="{7A2847B0-9F7A-28D0-AC25-2BBAFD2CC924}"/>
              </a:ext>
            </a:extLst>
          </p:cNvPr>
          <p:cNvSpPr txBox="1"/>
          <p:nvPr/>
        </p:nvSpPr>
        <p:spPr>
          <a:xfrm>
            <a:off x="257014" y="1219504"/>
            <a:ext cx="8789450" cy="2031325"/>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300"/>
              <a:t>With the release of the </a:t>
            </a:r>
            <a:r>
              <a:rPr lang="en-US" sz="1300" err="1"/>
              <a:t>statelines</a:t>
            </a:r>
            <a:r>
              <a:rPr lang="en-US" sz="1300"/>
              <a:t> in October 2023, we more than doubled the number of sample stores in most states</a:t>
            </a:r>
            <a:br>
              <a:rPr lang="en-US" sz="1300"/>
            </a:br>
            <a:endParaRPr lang="en-US" sz="1300"/>
          </a:p>
          <a:p>
            <a:pPr marL="628650" lvl="1" indent="-171450">
              <a:buFont typeface="Arial" panose="020B0604020202020204" pitchFamily="34" charset="0"/>
              <a:buChar char="•"/>
            </a:pPr>
            <a:r>
              <a:rPr lang="en-US" sz="1300"/>
              <a:t>While some of this increase covered each states “white space”, many stores were added to each SMM</a:t>
            </a:r>
            <a:br>
              <a:rPr lang="en-US" sz="1300"/>
            </a:br>
            <a:endParaRPr lang="en-US" sz="1300"/>
          </a:p>
          <a:p>
            <a:pPr marL="628650" lvl="1" indent="-171450">
              <a:buFont typeface="Arial" panose="020B0604020202020204" pitchFamily="34" charset="0"/>
              <a:buChar char="•"/>
            </a:pPr>
            <a:r>
              <a:rPr lang="en-US" sz="1300"/>
              <a:t>We were able to obtain more representative stores of the Universe we are measuring </a:t>
            </a:r>
            <a:br>
              <a:rPr lang="en-US" sz="1300"/>
            </a:br>
            <a:r>
              <a:rPr lang="en-US" sz="1300"/>
              <a:t>(e.g. independents and stores in smaller counties)</a:t>
            </a:r>
          </a:p>
          <a:p>
            <a:pPr marL="628650" lvl="1" indent="-171450">
              <a:buFont typeface="Arial" panose="020B0604020202020204" pitchFamily="34" charset="0"/>
              <a:buChar char="•"/>
            </a:pPr>
            <a:endParaRPr lang="en-US" sz="1300"/>
          </a:p>
          <a:p>
            <a:pPr marL="628650" lvl="1" indent="-171450">
              <a:buFont typeface="Arial" panose="020B0604020202020204" pitchFamily="34" charset="0"/>
              <a:buChar char="•"/>
            </a:pPr>
            <a:r>
              <a:rPr lang="en-US" sz="1300"/>
              <a:t>This more affects Manufacturer/Brand representation within each SMM</a:t>
            </a:r>
          </a:p>
          <a:p>
            <a:pPr marL="628650" lvl="1" indent="-171450">
              <a:buFont typeface="Arial" panose="020B0604020202020204" pitchFamily="34" charset="0"/>
              <a:buChar char="•"/>
            </a:pPr>
            <a:endParaRPr lang="en-US" sz="1100"/>
          </a:p>
          <a:p>
            <a:pPr marL="628650" lvl="1" indent="-171450">
              <a:buFont typeface="Arial" panose="020B0604020202020204" pitchFamily="34" charset="0"/>
              <a:buChar char="•"/>
            </a:pPr>
            <a:endParaRPr lang="en-US" sz="1100"/>
          </a:p>
        </p:txBody>
      </p:sp>
      <p:sp>
        <p:nvSpPr>
          <p:cNvPr id="15" name="Arrow: Right 14">
            <a:extLst>
              <a:ext uri="{FF2B5EF4-FFF2-40B4-BE49-F238E27FC236}">
                <a16:creationId xmlns:a16="http://schemas.microsoft.com/office/drawing/2014/main" id="{86C99709-404E-BEEE-9461-E6B4949973B7}"/>
              </a:ext>
            </a:extLst>
          </p:cNvPr>
          <p:cNvSpPr/>
          <p:nvPr/>
        </p:nvSpPr>
        <p:spPr>
          <a:xfrm>
            <a:off x="3200400" y="3596801"/>
            <a:ext cx="1432560" cy="64617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a:p>
        </p:txBody>
      </p:sp>
    </p:spTree>
    <p:extLst>
      <p:ext uri="{BB962C8B-B14F-4D97-AF65-F5344CB8AC3E}">
        <p14:creationId xmlns:p14="http://schemas.microsoft.com/office/powerpoint/2010/main" val="2432074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52"/>
        <p:cNvGrpSpPr/>
        <p:nvPr/>
      </p:nvGrpSpPr>
      <p:grpSpPr>
        <a:xfrm>
          <a:off x="0" y="0"/>
          <a:ext cx="0" cy="0"/>
          <a:chOff x="0" y="0"/>
          <a:chExt cx="0" cy="0"/>
        </a:xfrm>
      </p:grpSpPr>
      <p:sp>
        <p:nvSpPr>
          <p:cNvPr id="1255" name="Google Shape;1255;p90"/>
          <p:cNvSpPr txBox="1">
            <a:spLocks noGrp="1"/>
          </p:cNvSpPr>
          <p:nvPr>
            <p:ph type="sldNum" idx="12"/>
          </p:nvPr>
        </p:nvSpPr>
        <p:spPr>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8</a:t>
            </a:fld>
            <a:endParaRPr/>
          </a:p>
        </p:txBody>
      </p:sp>
      <p:sp>
        <p:nvSpPr>
          <p:cNvPr id="10" name="TextBox 9">
            <a:extLst>
              <a:ext uri="{FF2B5EF4-FFF2-40B4-BE49-F238E27FC236}">
                <a16:creationId xmlns:a16="http://schemas.microsoft.com/office/drawing/2014/main" id="{48677022-E073-53FA-13DB-7DEC96B19369}"/>
              </a:ext>
            </a:extLst>
          </p:cNvPr>
          <p:cNvSpPr txBox="1"/>
          <p:nvPr/>
        </p:nvSpPr>
        <p:spPr>
          <a:xfrm>
            <a:off x="4183140" y="1044088"/>
            <a:ext cx="4662037" cy="3308598"/>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b="1"/>
              <a:t>What is the universe?</a:t>
            </a:r>
          </a:p>
          <a:p>
            <a:endParaRPr lang="en-US" sz="1100" b="1"/>
          </a:p>
          <a:p>
            <a:r>
              <a:rPr lang="en-US" sz="1100"/>
              <a:t>The universe is the population of retail outlets meeting our channel definition. It is estimated by ACV, and that estimate is informed by sources such as </a:t>
            </a:r>
            <a:r>
              <a:rPr lang="en-US" sz="1100" err="1"/>
              <a:t>TDLinx</a:t>
            </a:r>
            <a:r>
              <a:rPr lang="en-US" sz="1100"/>
              <a:t>, public data, 3rd party data, etc.</a:t>
            </a:r>
            <a:endParaRPr lang="en-US" sz="1100">
              <a:cs typeface="Arial"/>
            </a:endParaRPr>
          </a:p>
          <a:p>
            <a:endParaRPr lang="en-US" sz="1100"/>
          </a:p>
          <a:p>
            <a:r>
              <a:rPr lang="en-US" sz="1100" b="1">
                <a:solidFill>
                  <a:schemeClr val="bg2"/>
                </a:solidFill>
              </a:rPr>
              <a:t>We will be updating the Liquor Channel universe estimates.</a:t>
            </a:r>
            <a:endParaRPr lang="en-US" sz="1100" b="1">
              <a:solidFill>
                <a:schemeClr val="bg2"/>
              </a:solidFill>
              <a:cs typeface="Arial"/>
            </a:endParaRPr>
          </a:p>
          <a:p>
            <a:endParaRPr lang="en-US" sz="1100"/>
          </a:p>
          <a:p>
            <a:r>
              <a:rPr lang="en-US" sz="1100" b="1"/>
              <a:t>What's the effect?</a:t>
            </a:r>
            <a:endParaRPr lang="en-US" sz="1100"/>
          </a:p>
          <a:p>
            <a:endParaRPr lang="en-US" sz="1100" b="1"/>
          </a:p>
          <a:p>
            <a:r>
              <a:rPr lang="en" sz="1100"/>
              <a:t>Our early review of the universe estimate indicates that the growth rate of the current 'projected' portion of the Liquor channel (primarily independents) is higher than it will be in the revised estimate (which delivers with this enhancement)</a:t>
            </a:r>
            <a:endParaRPr lang="en-US" sz="1100"/>
          </a:p>
          <a:p>
            <a:endParaRPr lang="en" sz="1100"/>
          </a:p>
          <a:p>
            <a:r>
              <a:rPr lang="en" sz="1100"/>
              <a:t>The enhancement will update the update the Liquor Channel universe.</a:t>
            </a:r>
            <a:endParaRPr lang="en-US" sz="1100"/>
          </a:p>
          <a:p>
            <a:endParaRPr lang="en" sz="1100"/>
          </a:p>
          <a:p>
            <a:r>
              <a:rPr lang="en" sz="1100"/>
              <a:t>You should expect to see more pronounced data changes in the SMMs and some 2023 estimates for statelines</a:t>
            </a:r>
            <a:endParaRPr lang="en-US" sz="1100"/>
          </a:p>
        </p:txBody>
      </p:sp>
      <p:sp>
        <p:nvSpPr>
          <p:cNvPr id="2" name="Google Shape;957;p51">
            <a:extLst>
              <a:ext uri="{FF2B5EF4-FFF2-40B4-BE49-F238E27FC236}">
                <a16:creationId xmlns:a16="http://schemas.microsoft.com/office/drawing/2014/main" id="{2D66C0A4-5D92-4A3E-2F3E-154CDD919304}"/>
              </a:ext>
            </a:extLst>
          </p:cNvPr>
          <p:cNvSpPr/>
          <p:nvPr/>
        </p:nvSpPr>
        <p:spPr>
          <a:xfrm>
            <a:off x="692941" y="1378175"/>
            <a:ext cx="2681438" cy="2641334"/>
          </a:xfrm>
          <a:prstGeom prst="ellipse">
            <a:avLst/>
          </a:prstGeom>
          <a:solidFill>
            <a:schemeClr val="bg2"/>
          </a:solidFill>
          <a:ln w="9525" cap="flat" cmpd="sng">
            <a:solidFill>
              <a:schemeClr val="bg2"/>
            </a:solidFill>
            <a:prstDash val="solid"/>
            <a:round/>
            <a:headEnd type="none" w="sm" len="sm"/>
            <a:tailEnd type="none" w="sm" len="sm"/>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40">
              <a:buClr>
                <a:srgbClr val="000000"/>
              </a:buClr>
              <a:buSzPts val="1400"/>
            </a:pPr>
            <a:endParaRPr sz="1867" kern="0">
              <a:solidFill>
                <a:srgbClr val="FFFFFF"/>
              </a:solidFill>
              <a:latin typeface="Montserrat"/>
              <a:ea typeface="Montserrat"/>
              <a:cs typeface="Montserrat"/>
              <a:sym typeface="Montserrat"/>
            </a:endParaRPr>
          </a:p>
        </p:txBody>
      </p:sp>
      <p:sp>
        <p:nvSpPr>
          <p:cNvPr id="3" name="Google Shape;958;p51">
            <a:extLst>
              <a:ext uri="{FF2B5EF4-FFF2-40B4-BE49-F238E27FC236}">
                <a16:creationId xmlns:a16="http://schemas.microsoft.com/office/drawing/2014/main" id="{75D6C802-1FF0-421D-43C2-348585035032}"/>
              </a:ext>
            </a:extLst>
          </p:cNvPr>
          <p:cNvSpPr/>
          <p:nvPr/>
        </p:nvSpPr>
        <p:spPr>
          <a:xfrm>
            <a:off x="1092865" y="2166059"/>
            <a:ext cx="1881592" cy="1853451"/>
          </a:xfrm>
          <a:prstGeom prst="ellipse">
            <a:avLst/>
          </a:prstGeom>
          <a:solidFill>
            <a:srgbClr val="D9D9D9"/>
          </a:solidFill>
          <a:ln w="9525" cap="flat" cmpd="sng">
            <a:solidFill>
              <a:srgbClr val="BFBFBF"/>
            </a:solidFill>
            <a:prstDash val="solid"/>
            <a:round/>
            <a:headEnd type="none" w="sm" len="sm"/>
            <a:tailEnd type="none" w="sm" len="sm"/>
          </a:ln>
        </p:spPr>
        <p:txBody>
          <a:bodyPr spcFirstLastPara="1" wrap="square" lIns="121900" tIns="60933" rIns="12190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40">
              <a:buClr>
                <a:srgbClr val="000000"/>
              </a:buClr>
              <a:buSzPts val="1400"/>
            </a:pPr>
            <a:endParaRPr sz="1867" kern="0">
              <a:solidFill>
                <a:srgbClr val="FFFFFF"/>
              </a:solidFill>
              <a:latin typeface="Montserrat"/>
              <a:ea typeface="Montserrat"/>
              <a:cs typeface="Montserrat"/>
              <a:sym typeface="Montserrat"/>
            </a:endParaRPr>
          </a:p>
        </p:txBody>
      </p:sp>
      <p:sp>
        <p:nvSpPr>
          <p:cNvPr id="4" name="Google Shape;959;p51">
            <a:extLst>
              <a:ext uri="{FF2B5EF4-FFF2-40B4-BE49-F238E27FC236}">
                <a16:creationId xmlns:a16="http://schemas.microsoft.com/office/drawing/2014/main" id="{8D0F77B6-357B-2881-A5E3-76B01DAB16EC}"/>
              </a:ext>
            </a:extLst>
          </p:cNvPr>
          <p:cNvSpPr txBox="1"/>
          <p:nvPr/>
        </p:nvSpPr>
        <p:spPr>
          <a:xfrm>
            <a:off x="1416554" y="1584472"/>
            <a:ext cx="1234211" cy="453171"/>
          </a:xfrm>
          <a:prstGeom prst="rect">
            <a:avLst/>
          </a:prstGeom>
          <a:noFill/>
          <a:ln>
            <a:noFill/>
          </a:ln>
        </p:spPr>
        <p:txBody>
          <a:bodyPr spcFirstLastPara="1" wrap="square" lIns="0" tIns="60933" rIns="0" bIns="60933"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20" algn="ctr" defTabSz="1219140">
              <a:spcAft>
                <a:spcPts val="800"/>
              </a:spcAft>
            </a:pPr>
            <a:r>
              <a:rPr lang="en-US" sz="1200" kern="0">
                <a:solidFill>
                  <a:srgbClr val="FFFFFF"/>
                </a:solidFill>
                <a:sym typeface="Montserrat"/>
              </a:rPr>
              <a:t>Projects to the Universe</a:t>
            </a:r>
            <a:endParaRPr lang="en-US" sz="1200">
              <a:cs typeface="Arial"/>
            </a:endParaRPr>
          </a:p>
        </p:txBody>
      </p:sp>
      <p:sp>
        <p:nvSpPr>
          <p:cNvPr id="5" name="Google Shape;960;p51">
            <a:extLst>
              <a:ext uri="{FF2B5EF4-FFF2-40B4-BE49-F238E27FC236}">
                <a16:creationId xmlns:a16="http://schemas.microsoft.com/office/drawing/2014/main" id="{FB6F6E64-C680-203B-1656-1DF4EF2EE719}"/>
              </a:ext>
            </a:extLst>
          </p:cNvPr>
          <p:cNvSpPr txBox="1"/>
          <p:nvPr/>
        </p:nvSpPr>
        <p:spPr>
          <a:xfrm>
            <a:off x="1416554" y="2915745"/>
            <a:ext cx="1234211" cy="453171"/>
          </a:xfrm>
          <a:prstGeom prst="rect">
            <a:avLst/>
          </a:prstGeom>
          <a:noFill/>
          <a:ln>
            <a:noFill/>
          </a:ln>
        </p:spPr>
        <p:txBody>
          <a:bodyPr spcFirstLastPara="1" wrap="square" lIns="0" tIns="60933" rIns="0" bIns="60933"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320" algn="ctr" defTabSz="1219140">
              <a:spcAft>
                <a:spcPts val="800"/>
              </a:spcAft>
            </a:pPr>
            <a:r>
              <a:rPr lang="en-US" sz="1200" kern="0">
                <a:solidFill>
                  <a:srgbClr val="555555"/>
                </a:solidFill>
                <a:sym typeface="Montserrat"/>
              </a:rPr>
              <a:t>Store Sample</a:t>
            </a:r>
            <a:endParaRPr lang="en-US" sz="1200">
              <a:solidFill>
                <a:srgbClr val="555555"/>
              </a:solidFill>
              <a:cs typeface="Arial"/>
            </a:endParaRPr>
          </a:p>
        </p:txBody>
      </p:sp>
      <p:cxnSp>
        <p:nvCxnSpPr>
          <p:cNvPr id="6" name="Google Shape;961;p51">
            <a:extLst>
              <a:ext uri="{FF2B5EF4-FFF2-40B4-BE49-F238E27FC236}">
                <a16:creationId xmlns:a16="http://schemas.microsoft.com/office/drawing/2014/main" id="{DB66BA68-9227-13C5-9683-EA3391CFD667}"/>
              </a:ext>
            </a:extLst>
          </p:cNvPr>
          <p:cNvCxnSpPr/>
          <p:nvPr/>
        </p:nvCxnSpPr>
        <p:spPr>
          <a:xfrm rot="10800000">
            <a:off x="910636" y="2087093"/>
            <a:ext cx="364455" cy="374492"/>
          </a:xfrm>
          <a:prstGeom prst="straightConnector1">
            <a:avLst/>
          </a:prstGeom>
          <a:noFill/>
          <a:ln w="9525" cap="flat" cmpd="sng">
            <a:solidFill>
              <a:schemeClr val="lt1"/>
            </a:solidFill>
            <a:prstDash val="solid"/>
            <a:round/>
            <a:headEnd type="none" w="sm" len="sm"/>
            <a:tailEnd type="triangle" w="med" len="med"/>
          </a:ln>
        </p:spPr>
      </p:cxnSp>
      <p:cxnSp>
        <p:nvCxnSpPr>
          <p:cNvPr id="7" name="Google Shape;962;p51">
            <a:extLst>
              <a:ext uri="{FF2B5EF4-FFF2-40B4-BE49-F238E27FC236}">
                <a16:creationId xmlns:a16="http://schemas.microsoft.com/office/drawing/2014/main" id="{C1C99E6E-EEE9-5D01-7EC1-761F84D41617}"/>
              </a:ext>
            </a:extLst>
          </p:cNvPr>
          <p:cNvCxnSpPr/>
          <p:nvPr/>
        </p:nvCxnSpPr>
        <p:spPr>
          <a:xfrm rot="10800000" flipH="1">
            <a:off x="2792232" y="2119001"/>
            <a:ext cx="406496" cy="342582"/>
          </a:xfrm>
          <a:prstGeom prst="straightConnector1">
            <a:avLst/>
          </a:prstGeom>
          <a:noFill/>
          <a:ln w="9525" cap="flat" cmpd="sng">
            <a:solidFill>
              <a:schemeClr val="lt1"/>
            </a:solidFill>
            <a:prstDash val="solid"/>
            <a:round/>
            <a:headEnd type="none" w="sm" len="sm"/>
            <a:tailEnd type="triangle" w="med" len="med"/>
          </a:ln>
        </p:spPr>
      </p:cxnSp>
      <p:sp>
        <p:nvSpPr>
          <p:cNvPr id="14" name="Title 66">
            <a:extLst>
              <a:ext uri="{FF2B5EF4-FFF2-40B4-BE49-F238E27FC236}">
                <a16:creationId xmlns:a16="http://schemas.microsoft.com/office/drawing/2014/main" id="{51C7AEB8-7062-0D58-278F-706CB9131E2B}"/>
              </a:ext>
            </a:extLst>
          </p:cNvPr>
          <p:cNvSpPr>
            <a:spLocks noGrp="1"/>
          </p:cNvSpPr>
          <p:nvPr/>
        </p:nvSpPr>
        <p:spPr>
          <a:xfrm>
            <a:off x="216419" y="134228"/>
            <a:ext cx="5141393" cy="298014"/>
          </a:xfrm>
          <a:prstGeom prst="rect">
            <a:avLst/>
          </a:prstGeom>
        </p:spPr>
        <p:txBody>
          <a:bodyPr vert="horz" lIns="0" tIns="45720" rIns="0" bIns="45720" rtlCol="0" anchor="ctr">
            <a:noAutofit/>
          </a:bodyPr>
          <a:lstStyle>
            <a:lvl1pPr algn="l" defTabSz="685783" rtl="0" eaLnBrk="1" latinLnBrk="0" hangingPunct="1">
              <a:lnSpc>
                <a:spcPct val="100000"/>
              </a:lnSpc>
              <a:spcBef>
                <a:spcPct val="0"/>
              </a:spcBef>
              <a:buNone/>
              <a:defRPr sz="1500" b="1" kern="1200">
                <a:solidFill>
                  <a:schemeClr val="tx1"/>
                </a:solidFill>
                <a:latin typeface="+mj-lt"/>
                <a:ea typeface="+mj-ea"/>
                <a:cs typeface="+mj-cs"/>
              </a:defRPr>
            </a:lvl1pPr>
          </a:lstStyle>
          <a:p>
            <a:r>
              <a:rPr lang="en-US">
                <a:cs typeface="Arial"/>
              </a:rPr>
              <a:t>Liquor Channel Enhancement: Universe Updated</a:t>
            </a:r>
            <a:endParaRPr lang="en-US" sz="1200" b="0">
              <a:cs typeface="Arial"/>
            </a:endParaRPr>
          </a:p>
        </p:txBody>
      </p:sp>
    </p:spTree>
    <p:extLst>
      <p:ext uri="{BB962C8B-B14F-4D97-AF65-F5344CB8AC3E}">
        <p14:creationId xmlns:p14="http://schemas.microsoft.com/office/powerpoint/2010/main" val="3298544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B23B67-B2B6-7ED8-00C2-2761EC69B62A}"/>
              </a:ext>
            </a:extLst>
          </p:cNvPr>
          <p:cNvSpPr>
            <a:spLocks noGrp="1"/>
          </p:cNvSpPr>
          <p:nvPr>
            <p:ph idx="1"/>
          </p:nvPr>
        </p:nvSpPr>
        <p:spPr>
          <a:xfrm>
            <a:off x="3231132" y="1446633"/>
            <a:ext cx="5696449" cy="1930074"/>
          </a:xfrm>
        </p:spPr>
        <p:txBody>
          <a:bodyPr vert="horz" lIns="0" tIns="45720" rIns="0" bIns="45720" rtlCol="0" anchor="t">
            <a:noAutofit/>
          </a:bodyPr>
          <a:lstStyle/>
          <a:p>
            <a:r>
              <a:rPr lang="en-US" sz="1800" b="1">
                <a:cs typeface="Arial"/>
              </a:rPr>
              <a:t>Liquor Channel Enhancement Overview</a:t>
            </a:r>
          </a:p>
          <a:p>
            <a:r>
              <a:rPr lang="en-US" sz="1800" b="1">
                <a:cs typeface="Arial"/>
              </a:rPr>
              <a:t>Data Review</a:t>
            </a:r>
          </a:p>
          <a:p>
            <a:r>
              <a:rPr lang="en-US" sz="1800" b="1">
                <a:cs typeface="Arial"/>
              </a:rPr>
              <a:t>Other Impacts</a:t>
            </a:r>
          </a:p>
          <a:p>
            <a:r>
              <a:rPr lang="en-US" sz="1800" b="1">
                <a:cs typeface="Arial"/>
              </a:rPr>
              <a:t>Timelines &amp; Support</a:t>
            </a:r>
          </a:p>
          <a:p>
            <a:r>
              <a:rPr lang="en-US" sz="1800" b="1">
                <a:cs typeface="Arial"/>
              </a:rPr>
              <a:t>Next Steps</a:t>
            </a:r>
          </a:p>
          <a:p>
            <a:pPr lvl="1">
              <a:buFont typeface="Courier New" panose="020B0604020202020204" pitchFamily="34" charset="0"/>
              <a:buChar char="o"/>
            </a:pPr>
            <a:endParaRPr lang="en-US" sz="1400" b="1">
              <a:cs typeface="Arial"/>
            </a:endParaRPr>
          </a:p>
          <a:p>
            <a:pPr lvl="1">
              <a:buFont typeface="Courier New" panose="020B0604020202020204" pitchFamily="34" charset="0"/>
              <a:buChar char="o"/>
            </a:pPr>
            <a:endParaRPr lang="en-US" sz="1400" b="1">
              <a:cs typeface="Arial"/>
            </a:endParaRPr>
          </a:p>
          <a:p>
            <a:endParaRPr lang="en-US" sz="1800" b="1">
              <a:cs typeface="Arial"/>
            </a:endParaRPr>
          </a:p>
        </p:txBody>
      </p:sp>
      <p:sp>
        <p:nvSpPr>
          <p:cNvPr id="2" name="Title 1">
            <a:extLst>
              <a:ext uri="{FF2B5EF4-FFF2-40B4-BE49-F238E27FC236}">
                <a16:creationId xmlns:a16="http://schemas.microsoft.com/office/drawing/2014/main" id="{418ECF48-FBB5-460A-376F-03273D4326B5}"/>
              </a:ext>
            </a:extLst>
          </p:cNvPr>
          <p:cNvSpPr>
            <a:spLocks noGrp="1"/>
          </p:cNvSpPr>
          <p:nvPr>
            <p:ph type="ctrTitle"/>
          </p:nvPr>
        </p:nvSpPr>
        <p:spPr/>
        <p:txBody>
          <a:bodyPr/>
          <a:lstStyle/>
          <a:p>
            <a:r>
              <a:rPr lang="en-US">
                <a:cs typeface="Arial"/>
              </a:rPr>
              <a:t>Agenda</a:t>
            </a:r>
            <a:endParaRPr lang="en-US"/>
          </a:p>
        </p:txBody>
      </p:sp>
    </p:spTree>
    <p:extLst>
      <p:ext uri="{BB962C8B-B14F-4D97-AF65-F5344CB8AC3E}">
        <p14:creationId xmlns:p14="http://schemas.microsoft.com/office/powerpoint/2010/main" val="1290598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2C6FE-E062-8A7B-FCB8-33B69CD7E227}"/>
              </a:ext>
            </a:extLst>
          </p:cNvPr>
          <p:cNvSpPr>
            <a:spLocks noGrp="1"/>
          </p:cNvSpPr>
          <p:nvPr>
            <p:ph type="sldNum" sz="quarter" idx="12"/>
          </p:nvPr>
        </p:nvSpPr>
        <p:spPr/>
        <p:txBody>
          <a:bodyPr/>
          <a:lstStyle/>
          <a:p>
            <a:fld id="{403EF4E2-7A7A-0548-85F1-5479B7C9E1B2}" type="slidenum">
              <a:rPr lang="en-US" smtClean="0"/>
              <a:t>3</a:t>
            </a:fld>
            <a:endParaRPr lang="en-US"/>
          </a:p>
        </p:txBody>
      </p:sp>
      <p:sp>
        <p:nvSpPr>
          <p:cNvPr id="4" name="Text Placeholder 3">
            <a:extLst>
              <a:ext uri="{FF2B5EF4-FFF2-40B4-BE49-F238E27FC236}">
                <a16:creationId xmlns:a16="http://schemas.microsoft.com/office/drawing/2014/main" id="{4881E8A8-F983-1C67-312C-AB2EABF7E225}"/>
              </a:ext>
            </a:extLst>
          </p:cNvPr>
          <p:cNvSpPr>
            <a:spLocks noGrp="1"/>
          </p:cNvSpPr>
          <p:nvPr>
            <p:ph type="body" sz="quarter" idx="13"/>
          </p:nvPr>
        </p:nvSpPr>
        <p:spPr/>
        <p:txBody>
          <a:bodyPr/>
          <a:lstStyle/>
          <a:p>
            <a:r>
              <a:rPr lang="en-US">
                <a:solidFill>
                  <a:schemeClr val="tx1">
                    <a:lumMod val="50000"/>
                  </a:schemeClr>
                </a:solidFill>
              </a:rPr>
              <a:t>From Liquor Plus to Total Liquor Open State (with Statelines)</a:t>
            </a:r>
          </a:p>
        </p:txBody>
      </p:sp>
      <p:sp>
        <p:nvSpPr>
          <p:cNvPr id="6" name="Title 5">
            <a:extLst>
              <a:ext uri="{FF2B5EF4-FFF2-40B4-BE49-F238E27FC236}">
                <a16:creationId xmlns:a16="http://schemas.microsoft.com/office/drawing/2014/main" id="{25B63043-3A09-B703-67FE-E5997604EE8C}"/>
              </a:ext>
            </a:extLst>
          </p:cNvPr>
          <p:cNvSpPr>
            <a:spLocks noGrp="1"/>
          </p:cNvSpPr>
          <p:nvPr>
            <p:ph type="title"/>
          </p:nvPr>
        </p:nvSpPr>
        <p:spPr/>
        <p:txBody>
          <a:bodyPr/>
          <a:lstStyle/>
          <a:p>
            <a:r>
              <a:rPr lang="en-US">
                <a:solidFill>
                  <a:schemeClr val="tx1">
                    <a:lumMod val="50000"/>
                  </a:schemeClr>
                </a:solidFill>
              </a:rPr>
              <a:t>Liquor Channel Enhancements</a:t>
            </a:r>
          </a:p>
        </p:txBody>
      </p:sp>
      <p:sp>
        <p:nvSpPr>
          <p:cNvPr id="22" name="TextBox 21">
            <a:extLst>
              <a:ext uri="{FF2B5EF4-FFF2-40B4-BE49-F238E27FC236}">
                <a16:creationId xmlns:a16="http://schemas.microsoft.com/office/drawing/2014/main" id="{15DC8543-8F42-8738-44B6-141473D59767}"/>
              </a:ext>
            </a:extLst>
          </p:cNvPr>
          <p:cNvSpPr txBox="1"/>
          <p:nvPr/>
        </p:nvSpPr>
        <p:spPr>
          <a:xfrm>
            <a:off x="3520641" y="1341242"/>
            <a:ext cx="2144449" cy="380873"/>
          </a:xfrm>
          <a:prstGeom prst="rect">
            <a:avLst/>
          </a:prstGeom>
          <a:noFill/>
        </p:spPr>
        <p:txBody>
          <a:bodyPr wrap="square" lIns="91440" tIns="45720" rIns="91440" bIns="45720" rtlCol="0" anchor="t">
            <a:spAutoFit/>
          </a:bodyPr>
          <a:lstStyle/>
          <a:p>
            <a:pPr defTabSz="914355">
              <a:buClr>
                <a:srgbClr val="000000"/>
              </a:buClr>
              <a:defRPr/>
            </a:pPr>
            <a:r>
              <a:rPr lang="en-US" sz="1050" b="1" u="sng" kern="0">
                <a:solidFill>
                  <a:schemeClr val="accent5">
                    <a:lumMod val="75000"/>
                  </a:schemeClr>
                </a:solidFill>
                <a:latin typeface="+mj-lt"/>
                <a:cs typeface="Arial"/>
                <a:sym typeface="Arial"/>
              </a:rPr>
              <a:t>+7 New</a:t>
            </a:r>
            <a:r>
              <a:rPr lang="en-US" sz="1050" b="1" kern="0">
                <a:solidFill>
                  <a:schemeClr val="tx2"/>
                </a:solidFill>
                <a:latin typeface="+mj-lt"/>
                <a:cs typeface="Arial"/>
                <a:sym typeface="Arial"/>
              </a:rPr>
              <a:t> Statelines (8 total)</a:t>
            </a:r>
          </a:p>
          <a:p>
            <a:pPr defTabSz="914355">
              <a:buClr>
                <a:srgbClr val="000000"/>
              </a:buClr>
              <a:defRPr/>
            </a:pPr>
            <a:r>
              <a:rPr lang="en-US" sz="825" b="1" kern="0">
                <a:solidFill>
                  <a:schemeClr val="tx2"/>
                </a:solidFill>
                <a:latin typeface="+mj-lt"/>
                <a:cs typeface="Arial"/>
                <a:sym typeface="Arial"/>
              </a:rPr>
              <a:t>Optional license. No impact to Liquor+.</a:t>
            </a:r>
            <a:endParaRPr lang="en-US" sz="825" b="1" kern="0">
              <a:solidFill>
                <a:schemeClr val="tx2"/>
              </a:solidFill>
              <a:latin typeface="+mj-lt"/>
              <a:cs typeface="Arial"/>
            </a:endParaRPr>
          </a:p>
        </p:txBody>
      </p:sp>
      <p:sp>
        <p:nvSpPr>
          <p:cNvPr id="23" name="TextBox 22">
            <a:extLst>
              <a:ext uri="{FF2B5EF4-FFF2-40B4-BE49-F238E27FC236}">
                <a16:creationId xmlns:a16="http://schemas.microsoft.com/office/drawing/2014/main" id="{69461709-EE59-218C-F324-C95640F5EC10}"/>
              </a:ext>
            </a:extLst>
          </p:cNvPr>
          <p:cNvSpPr txBox="1"/>
          <p:nvPr/>
        </p:nvSpPr>
        <p:spPr>
          <a:xfrm>
            <a:off x="316340" y="1397696"/>
            <a:ext cx="1965676" cy="253916"/>
          </a:xfrm>
          <a:prstGeom prst="rect">
            <a:avLst/>
          </a:prstGeom>
          <a:noFill/>
        </p:spPr>
        <p:txBody>
          <a:bodyPr wrap="square" lIns="91440" tIns="45720" rIns="91440" bIns="45720" rtlCol="0" anchor="t">
            <a:spAutoFit/>
          </a:bodyPr>
          <a:lstStyle/>
          <a:p>
            <a:pPr defTabSz="914355">
              <a:spcAft>
                <a:spcPts val="900"/>
              </a:spcAft>
              <a:defRPr/>
            </a:pPr>
            <a:r>
              <a:rPr lang="en-US" sz="1050" b="1" kern="0">
                <a:solidFill>
                  <a:schemeClr val="tx2"/>
                </a:solidFill>
                <a:latin typeface="+mj-lt"/>
                <a:cs typeface="Arial"/>
                <a:sym typeface="Arial"/>
              </a:rPr>
              <a:t>9 SMMs + Census Retailers</a:t>
            </a:r>
            <a:endParaRPr lang="en-US" sz="1350"/>
          </a:p>
        </p:txBody>
      </p:sp>
      <p:cxnSp>
        <p:nvCxnSpPr>
          <p:cNvPr id="24" name="Google Shape;1429;p107">
            <a:extLst>
              <a:ext uri="{FF2B5EF4-FFF2-40B4-BE49-F238E27FC236}">
                <a16:creationId xmlns:a16="http://schemas.microsoft.com/office/drawing/2014/main" id="{68CB8529-FFAE-9AFA-ED5C-63487EF56BC6}"/>
              </a:ext>
            </a:extLst>
          </p:cNvPr>
          <p:cNvCxnSpPr>
            <a:cxnSpLocks/>
          </p:cNvCxnSpPr>
          <p:nvPr/>
        </p:nvCxnSpPr>
        <p:spPr>
          <a:xfrm>
            <a:off x="189534" y="1248182"/>
            <a:ext cx="8667348" cy="10683"/>
          </a:xfrm>
          <a:prstGeom prst="straightConnector1">
            <a:avLst/>
          </a:prstGeom>
          <a:noFill/>
          <a:ln w="19050" cap="flat" cmpd="sng">
            <a:solidFill>
              <a:schemeClr val="tx1"/>
            </a:solidFill>
            <a:prstDash val="solid"/>
            <a:round/>
            <a:headEnd type="none" w="med" len="med"/>
            <a:tailEnd type="triangle" w="lg" len="med"/>
          </a:ln>
        </p:spPr>
      </p:cxnSp>
      <p:sp>
        <p:nvSpPr>
          <p:cNvPr id="26" name="Google Shape;1430;p107">
            <a:extLst>
              <a:ext uri="{FF2B5EF4-FFF2-40B4-BE49-F238E27FC236}">
                <a16:creationId xmlns:a16="http://schemas.microsoft.com/office/drawing/2014/main" id="{3CB29103-25F7-BA23-6C1D-9285C0CDECB7}"/>
              </a:ext>
            </a:extLst>
          </p:cNvPr>
          <p:cNvSpPr/>
          <p:nvPr/>
        </p:nvSpPr>
        <p:spPr>
          <a:xfrm>
            <a:off x="995724" y="1172437"/>
            <a:ext cx="138900" cy="138900"/>
          </a:xfrm>
          <a:prstGeom prst="rect">
            <a:avLst/>
          </a:prstGeom>
          <a:solidFill>
            <a:schemeClr val="bg2"/>
          </a:solid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buClr>
                <a:srgbClr val="000000"/>
              </a:buClr>
              <a:defRPr/>
            </a:pPr>
            <a:endParaRPr sz="1500">
              <a:solidFill>
                <a:srgbClr val="000000"/>
              </a:solidFill>
              <a:latin typeface="+mj-lt"/>
              <a:sym typeface="Arial"/>
            </a:endParaRPr>
          </a:p>
        </p:txBody>
      </p:sp>
      <p:sp>
        <p:nvSpPr>
          <p:cNvPr id="27" name="Google Shape;1431;p107">
            <a:extLst>
              <a:ext uri="{FF2B5EF4-FFF2-40B4-BE49-F238E27FC236}">
                <a16:creationId xmlns:a16="http://schemas.microsoft.com/office/drawing/2014/main" id="{F5892C1C-095F-AB5A-DA95-97F29BD37E03}"/>
              </a:ext>
            </a:extLst>
          </p:cNvPr>
          <p:cNvSpPr/>
          <p:nvPr/>
        </p:nvSpPr>
        <p:spPr>
          <a:xfrm>
            <a:off x="4376038" y="1187175"/>
            <a:ext cx="138900" cy="138900"/>
          </a:xfrm>
          <a:prstGeom prst="rect">
            <a:avLst/>
          </a:prstGeom>
          <a:solidFill>
            <a:schemeClr val="bg2"/>
          </a:solid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buClr>
                <a:srgbClr val="000000"/>
              </a:buClr>
              <a:defRPr/>
            </a:pPr>
            <a:endParaRPr sz="1500">
              <a:solidFill>
                <a:srgbClr val="FFFFFF"/>
              </a:solidFill>
              <a:latin typeface="+mj-lt"/>
              <a:sym typeface="Arial"/>
            </a:endParaRPr>
          </a:p>
        </p:txBody>
      </p:sp>
      <p:sp>
        <p:nvSpPr>
          <p:cNvPr id="28" name="TextBox 27">
            <a:extLst>
              <a:ext uri="{FF2B5EF4-FFF2-40B4-BE49-F238E27FC236}">
                <a16:creationId xmlns:a16="http://schemas.microsoft.com/office/drawing/2014/main" id="{02984D86-FBEA-240A-5EB7-A30CD43D8E94}"/>
              </a:ext>
            </a:extLst>
          </p:cNvPr>
          <p:cNvSpPr txBox="1"/>
          <p:nvPr/>
        </p:nvSpPr>
        <p:spPr>
          <a:xfrm>
            <a:off x="6165433" y="1464151"/>
            <a:ext cx="2569264" cy="380873"/>
          </a:xfrm>
          <a:prstGeom prst="rect">
            <a:avLst/>
          </a:prstGeom>
          <a:noFill/>
        </p:spPr>
        <p:txBody>
          <a:bodyPr wrap="square" lIns="91440" tIns="45720" rIns="91440" bIns="45720" rtlCol="0" anchor="t">
            <a:spAutoFit/>
          </a:bodyPr>
          <a:lstStyle/>
          <a:p>
            <a:pPr defTabSz="914355">
              <a:buClr>
                <a:srgbClr val="000000"/>
              </a:buClr>
              <a:defRPr/>
            </a:pPr>
            <a:r>
              <a:rPr lang="en-US" sz="1050" b="1" kern="0">
                <a:solidFill>
                  <a:schemeClr val="tx2"/>
                </a:solidFill>
                <a:latin typeface="+mj-lt"/>
                <a:cs typeface="Arial"/>
                <a:sym typeface="Arial"/>
              </a:rPr>
              <a:t>Liquor+ </a:t>
            </a:r>
            <a:r>
              <a:rPr lang="en-US" sz="1050" b="1" kern="0">
                <a:solidFill>
                  <a:schemeClr val="tx2"/>
                </a:solidFill>
                <a:latin typeface="+mj-lt"/>
                <a:cs typeface="Arial"/>
                <a:sym typeface="Wingdings" panose="05000000000000000000" pitchFamily="2" charset="2"/>
              </a:rPr>
              <a:t> </a:t>
            </a:r>
            <a:r>
              <a:rPr lang="en-US" sz="1050" b="1" u="sng" kern="0">
                <a:solidFill>
                  <a:schemeClr val="accent5">
                    <a:lumMod val="75000"/>
                  </a:schemeClr>
                </a:solidFill>
                <a:latin typeface="+mj-lt"/>
                <a:cs typeface="Arial"/>
                <a:sym typeface="Arial"/>
              </a:rPr>
              <a:t>Total Liquor Open State</a:t>
            </a:r>
          </a:p>
          <a:p>
            <a:pPr defTabSz="914355">
              <a:spcAft>
                <a:spcPts val="450"/>
              </a:spcAft>
              <a:buClr>
                <a:srgbClr val="000000"/>
              </a:buClr>
              <a:defRPr/>
            </a:pPr>
            <a:r>
              <a:rPr lang="en-US" sz="825" b="1" kern="0">
                <a:solidFill>
                  <a:schemeClr val="tx2"/>
                </a:solidFill>
                <a:latin typeface="+mj-lt"/>
                <a:cs typeface="Arial"/>
                <a:sym typeface="Arial"/>
              </a:rPr>
              <a:t>Required upgrade, all NIQ BevAl</a:t>
            </a:r>
            <a:endParaRPr lang="en-US" sz="825" kern="0">
              <a:solidFill>
                <a:schemeClr val="tx2"/>
              </a:solidFill>
              <a:latin typeface="+mj-lt"/>
              <a:cs typeface="Arial"/>
              <a:sym typeface="Arial"/>
            </a:endParaRPr>
          </a:p>
        </p:txBody>
      </p:sp>
      <p:sp>
        <p:nvSpPr>
          <p:cNvPr id="29" name="Google Shape;1431;p107">
            <a:extLst>
              <a:ext uri="{FF2B5EF4-FFF2-40B4-BE49-F238E27FC236}">
                <a16:creationId xmlns:a16="http://schemas.microsoft.com/office/drawing/2014/main" id="{0716CC98-7DDA-CA29-B95F-7BEDA9F63ECC}"/>
              </a:ext>
            </a:extLst>
          </p:cNvPr>
          <p:cNvSpPr/>
          <p:nvPr/>
        </p:nvSpPr>
        <p:spPr>
          <a:xfrm>
            <a:off x="7007205" y="1183967"/>
            <a:ext cx="138900" cy="138900"/>
          </a:xfrm>
          <a:prstGeom prst="rect">
            <a:avLst/>
          </a:prstGeom>
          <a:solidFill>
            <a:schemeClr val="bg2"/>
          </a:solid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78">
              <a:buClr>
                <a:srgbClr val="000000"/>
              </a:buClr>
              <a:defRPr/>
            </a:pPr>
            <a:endParaRPr sz="1500">
              <a:solidFill>
                <a:srgbClr val="FFFFFF"/>
              </a:solidFill>
              <a:latin typeface="+mj-lt"/>
              <a:sym typeface="Arial"/>
            </a:endParaRPr>
          </a:p>
        </p:txBody>
      </p:sp>
      <p:sp>
        <p:nvSpPr>
          <p:cNvPr id="30" name="TextBox 29">
            <a:extLst>
              <a:ext uri="{FF2B5EF4-FFF2-40B4-BE49-F238E27FC236}">
                <a16:creationId xmlns:a16="http://schemas.microsoft.com/office/drawing/2014/main" id="{6E4B3215-DAC2-4A03-D246-F2A6C42F6579}"/>
              </a:ext>
            </a:extLst>
          </p:cNvPr>
          <p:cNvSpPr txBox="1"/>
          <p:nvPr/>
        </p:nvSpPr>
        <p:spPr>
          <a:xfrm>
            <a:off x="476135" y="801824"/>
            <a:ext cx="1696341"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55">
              <a:buClr>
                <a:srgbClr val="000000"/>
              </a:buClr>
              <a:defRPr/>
            </a:pPr>
            <a:r>
              <a:rPr lang="en-US" sz="1500" b="1" kern="0">
                <a:solidFill>
                  <a:schemeClr val="tx2"/>
                </a:solidFill>
                <a:latin typeface="+mj-lt"/>
                <a:cs typeface="Arial"/>
                <a:sym typeface="Arial"/>
              </a:rPr>
              <a:t>Liquor Plus </a:t>
            </a:r>
            <a:endParaRPr lang="en-US" sz="1500" kern="0">
              <a:solidFill>
                <a:schemeClr val="tx2"/>
              </a:solidFill>
              <a:latin typeface="+mj-lt"/>
              <a:cs typeface="Arial"/>
              <a:sym typeface="Arial"/>
            </a:endParaRPr>
          </a:p>
        </p:txBody>
      </p:sp>
      <p:sp>
        <p:nvSpPr>
          <p:cNvPr id="32" name="TextBox 31">
            <a:extLst>
              <a:ext uri="{FF2B5EF4-FFF2-40B4-BE49-F238E27FC236}">
                <a16:creationId xmlns:a16="http://schemas.microsoft.com/office/drawing/2014/main" id="{448646F4-7266-1EB8-ADCA-D1A10BB86781}"/>
              </a:ext>
            </a:extLst>
          </p:cNvPr>
          <p:cNvSpPr txBox="1"/>
          <p:nvPr/>
        </p:nvSpPr>
        <p:spPr>
          <a:xfrm>
            <a:off x="5962803" y="786478"/>
            <a:ext cx="223365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55">
              <a:buClr>
                <a:srgbClr val="000000"/>
              </a:buClr>
              <a:defRPr/>
            </a:pPr>
            <a:r>
              <a:rPr lang="en-US" sz="1600" b="1" kern="0">
                <a:solidFill>
                  <a:schemeClr val="accent2"/>
                </a:solidFill>
                <a:latin typeface="+mj-lt"/>
                <a:cs typeface="Arial"/>
                <a:sym typeface="Arial"/>
              </a:rPr>
              <a:t>July 22nd/23rd 2024</a:t>
            </a:r>
            <a:endParaRPr lang="en-US" sz="1600" b="1" kern="0">
              <a:solidFill>
                <a:schemeClr val="accent2"/>
              </a:solidFill>
              <a:latin typeface="+mj-lt"/>
              <a:cs typeface="Arial"/>
            </a:endParaRPr>
          </a:p>
        </p:txBody>
      </p:sp>
      <p:sp>
        <p:nvSpPr>
          <p:cNvPr id="33" name="TextBox 32">
            <a:extLst>
              <a:ext uri="{FF2B5EF4-FFF2-40B4-BE49-F238E27FC236}">
                <a16:creationId xmlns:a16="http://schemas.microsoft.com/office/drawing/2014/main" id="{916297AA-E0D8-A436-3A50-E31D58CC9723}"/>
              </a:ext>
            </a:extLst>
          </p:cNvPr>
          <p:cNvSpPr txBox="1"/>
          <p:nvPr/>
        </p:nvSpPr>
        <p:spPr>
          <a:xfrm>
            <a:off x="3737812" y="830542"/>
            <a:ext cx="2144449"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55">
              <a:buClr>
                <a:srgbClr val="000000"/>
              </a:buClr>
              <a:defRPr/>
            </a:pPr>
            <a:r>
              <a:rPr lang="en-US" sz="1600" b="1" kern="0">
                <a:solidFill>
                  <a:schemeClr val="tx2"/>
                </a:solidFill>
                <a:latin typeface="+mj-lt"/>
                <a:cs typeface="Arial"/>
                <a:sym typeface="Arial"/>
              </a:rPr>
              <a:t>October 2023</a:t>
            </a:r>
            <a:endParaRPr lang="en-US" sz="1600" b="1" kern="0">
              <a:solidFill>
                <a:schemeClr val="tx2"/>
              </a:solidFill>
              <a:latin typeface="+mj-lt"/>
              <a:cs typeface="Arial"/>
            </a:endParaRPr>
          </a:p>
        </p:txBody>
      </p:sp>
      <p:sp>
        <p:nvSpPr>
          <p:cNvPr id="34" name="TextBox 33">
            <a:extLst>
              <a:ext uri="{FF2B5EF4-FFF2-40B4-BE49-F238E27FC236}">
                <a16:creationId xmlns:a16="http://schemas.microsoft.com/office/drawing/2014/main" id="{333F258F-D206-48EE-D719-6F7BB189DE54}"/>
              </a:ext>
            </a:extLst>
          </p:cNvPr>
          <p:cNvSpPr txBox="1"/>
          <p:nvPr/>
        </p:nvSpPr>
        <p:spPr>
          <a:xfrm>
            <a:off x="725976" y="4267462"/>
            <a:ext cx="7733777"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55">
              <a:buClr>
                <a:srgbClr val="000000"/>
              </a:buClr>
              <a:defRPr/>
            </a:pPr>
            <a:r>
              <a:rPr lang="en-US" sz="1500" kern="0">
                <a:latin typeface="+mj-lt"/>
                <a:cs typeface="Arial"/>
                <a:sym typeface="Arial"/>
              </a:rPr>
              <a:t>Investing to develop the </a:t>
            </a:r>
            <a:r>
              <a:rPr lang="en-US" sz="1500" b="1" i="1" kern="0">
                <a:solidFill>
                  <a:schemeClr val="bg2"/>
                </a:solidFill>
                <a:latin typeface="Georgia" panose="02040502050405020303" pitchFamily="18" charset="0"/>
                <a:cs typeface="Arial"/>
                <a:sym typeface="Arial"/>
              </a:rPr>
              <a:t>most comprehensive </a:t>
            </a:r>
            <a:r>
              <a:rPr lang="en-US" sz="1500" kern="0">
                <a:latin typeface="+mj-lt"/>
                <a:cs typeface="Arial"/>
                <a:sym typeface="Arial"/>
              </a:rPr>
              <a:t>liquor channel available with release across suppliers, distributors, Wall Street, and retail</a:t>
            </a:r>
          </a:p>
        </p:txBody>
      </p:sp>
      <p:grpSp>
        <p:nvGrpSpPr>
          <p:cNvPr id="9" name="Group 8">
            <a:extLst>
              <a:ext uri="{FF2B5EF4-FFF2-40B4-BE49-F238E27FC236}">
                <a16:creationId xmlns:a16="http://schemas.microsoft.com/office/drawing/2014/main" id="{10CBD0BB-8FF2-5A22-2826-11B0C860B99B}"/>
              </a:ext>
            </a:extLst>
          </p:cNvPr>
          <p:cNvGrpSpPr/>
          <p:nvPr/>
        </p:nvGrpSpPr>
        <p:grpSpPr>
          <a:xfrm>
            <a:off x="3497552" y="2385667"/>
            <a:ext cx="2093020" cy="1162162"/>
            <a:chOff x="1902496" y="1004683"/>
            <a:chExt cx="5501636" cy="3438682"/>
          </a:xfrm>
        </p:grpSpPr>
        <p:sp>
          <p:nvSpPr>
            <p:cNvPr id="1209" name="Freeform 48">
              <a:extLst>
                <a:ext uri="{FF2B5EF4-FFF2-40B4-BE49-F238E27FC236}">
                  <a16:creationId xmlns:a16="http://schemas.microsoft.com/office/drawing/2014/main" id="{05745DF2-9840-E1E2-6C10-D49A3D904559}"/>
                </a:ext>
              </a:extLst>
            </p:cNvPr>
            <p:cNvSpPr/>
            <p:nvPr/>
          </p:nvSpPr>
          <p:spPr>
            <a:xfrm>
              <a:off x="5941067" y="3047875"/>
              <a:ext cx="589688" cy="604351"/>
            </a:xfrm>
            <a:custGeom>
              <a:avLst/>
              <a:gdLst>
                <a:gd name="connsiteX0" fmla="*/ 564189 w 589688"/>
                <a:gd name="connsiteY0" fmla="*/ 434138 h 604351"/>
                <a:gd name="connsiteX1" fmla="*/ 563551 w 589688"/>
                <a:gd name="connsiteY1" fmla="*/ 415013 h 604351"/>
                <a:gd name="connsiteX2" fmla="*/ 559089 w 589688"/>
                <a:gd name="connsiteY2" fmla="*/ 431588 h 604351"/>
                <a:gd name="connsiteX3" fmla="*/ 564189 w 589688"/>
                <a:gd name="connsiteY3" fmla="*/ 434138 h 604351"/>
                <a:gd name="connsiteX4" fmla="*/ 564189 w 589688"/>
                <a:gd name="connsiteY4" fmla="*/ 434138 h 604351"/>
                <a:gd name="connsiteX5" fmla="*/ 571201 w 589688"/>
                <a:gd name="connsiteY5" fmla="*/ 404813 h 604351"/>
                <a:gd name="connsiteX6" fmla="*/ 568651 w 589688"/>
                <a:gd name="connsiteY6" fmla="*/ 390150 h 604351"/>
                <a:gd name="connsiteX7" fmla="*/ 566739 w 589688"/>
                <a:gd name="connsiteY7" fmla="*/ 399713 h 604351"/>
                <a:gd name="connsiteX8" fmla="*/ 571201 w 589688"/>
                <a:gd name="connsiteY8" fmla="*/ 404813 h 604351"/>
                <a:gd name="connsiteX9" fmla="*/ 270301 w 589688"/>
                <a:gd name="connsiteY9" fmla="*/ 0 h 604351"/>
                <a:gd name="connsiteX10" fmla="*/ 262013 w 589688"/>
                <a:gd name="connsiteY10" fmla="*/ 1912 h 604351"/>
                <a:gd name="connsiteX11" fmla="*/ 237788 w 589688"/>
                <a:gd name="connsiteY11" fmla="*/ 7012 h 604351"/>
                <a:gd name="connsiteX12" fmla="*/ 147900 w 589688"/>
                <a:gd name="connsiteY12" fmla="*/ 25500 h 604351"/>
                <a:gd name="connsiteX13" fmla="*/ 139613 w 589688"/>
                <a:gd name="connsiteY13" fmla="*/ 27412 h 604351"/>
                <a:gd name="connsiteX14" fmla="*/ 130050 w 589688"/>
                <a:gd name="connsiteY14" fmla="*/ 28688 h 604351"/>
                <a:gd name="connsiteX15" fmla="*/ 79688 w 589688"/>
                <a:gd name="connsiteY15" fmla="*/ 38887 h 604351"/>
                <a:gd name="connsiteX16" fmla="*/ 66300 w 589688"/>
                <a:gd name="connsiteY16" fmla="*/ 41438 h 604351"/>
                <a:gd name="connsiteX17" fmla="*/ 11475 w 589688"/>
                <a:gd name="connsiteY17" fmla="*/ 52275 h 604351"/>
                <a:gd name="connsiteX18" fmla="*/ 0 w 589688"/>
                <a:gd name="connsiteY18" fmla="*/ 53550 h 604351"/>
                <a:gd name="connsiteX19" fmla="*/ 637 w 589688"/>
                <a:gd name="connsiteY19" fmla="*/ 54825 h 604351"/>
                <a:gd name="connsiteX20" fmla="*/ 86700 w 589688"/>
                <a:gd name="connsiteY20" fmla="*/ 316838 h 604351"/>
                <a:gd name="connsiteX21" fmla="*/ 135150 w 589688"/>
                <a:gd name="connsiteY21" fmla="*/ 400351 h 604351"/>
                <a:gd name="connsiteX22" fmla="*/ 123675 w 589688"/>
                <a:gd name="connsiteY22" fmla="*/ 413101 h 604351"/>
                <a:gd name="connsiteX23" fmla="*/ 116663 w 589688"/>
                <a:gd name="connsiteY23" fmla="*/ 463463 h 604351"/>
                <a:gd name="connsiteX24" fmla="*/ 130688 w 589688"/>
                <a:gd name="connsiteY24" fmla="*/ 488963 h 604351"/>
                <a:gd name="connsiteX25" fmla="*/ 131963 w 589688"/>
                <a:gd name="connsiteY25" fmla="*/ 536138 h 604351"/>
                <a:gd name="connsiteX26" fmla="*/ 149175 w 589688"/>
                <a:gd name="connsiteY26" fmla="*/ 569289 h 604351"/>
                <a:gd name="connsiteX27" fmla="*/ 149175 w 589688"/>
                <a:gd name="connsiteY27" fmla="*/ 569926 h 604351"/>
                <a:gd name="connsiteX28" fmla="*/ 148538 w 589688"/>
                <a:gd name="connsiteY28" fmla="*/ 570564 h 604351"/>
                <a:gd name="connsiteX29" fmla="*/ 170213 w 589688"/>
                <a:gd name="connsiteY29" fmla="*/ 604351 h 604351"/>
                <a:gd name="connsiteX30" fmla="*/ 473026 w 589688"/>
                <a:gd name="connsiteY30" fmla="*/ 566738 h 604351"/>
                <a:gd name="connsiteX31" fmla="*/ 482589 w 589688"/>
                <a:gd name="connsiteY31" fmla="*/ 589689 h 604351"/>
                <a:gd name="connsiteX32" fmla="*/ 492788 w 589688"/>
                <a:gd name="connsiteY32" fmla="*/ 539963 h 604351"/>
                <a:gd name="connsiteX33" fmla="*/ 510001 w 589688"/>
                <a:gd name="connsiteY33" fmla="*/ 526576 h 604351"/>
                <a:gd name="connsiteX34" fmla="*/ 554626 w 589688"/>
                <a:gd name="connsiteY34" fmla="*/ 529126 h 604351"/>
                <a:gd name="connsiteX35" fmla="*/ 554626 w 589688"/>
                <a:gd name="connsiteY35" fmla="*/ 529126 h 604351"/>
                <a:gd name="connsiteX36" fmla="*/ 550801 w 589688"/>
                <a:gd name="connsiteY36" fmla="*/ 459638 h 604351"/>
                <a:gd name="connsiteX37" fmla="*/ 559089 w 589688"/>
                <a:gd name="connsiteY37" fmla="*/ 444976 h 604351"/>
                <a:gd name="connsiteX38" fmla="*/ 554626 w 589688"/>
                <a:gd name="connsiteY38" fmla="*/ 416926 h 604351"/>
                <a:gd name="connsiteX39" fmla="*/ 564189 w 589688"/>
                <a:gd name="connsiteY39" fmla="*/ 390150 h 604351"/>
                <a:gd name="connsiteX40" fmla="*/ 577576 w 589688"/>
                <a:gd name="connsiteY40" fmla="*/ 375488 h 604351"/>
                <a:gd name="connsiteX41" fmla="*/ 567376 w 589688"/>
                <a:gd name="connsiteY41" fmla="*/ 365926 h 604351"/>
                <a:gd name="connsiteX42" fmla="*/ 589689 w 589688"/>
                <a:gd name="connsiteY42" fmla="*/ 337876 h 604351"/>
                <a:gd name="connsiteX43" fmla="*/ 589051 w 589688"/>
                <a:gd name="connsiteY43" fmla="*/ 337876 h 604351"/>
                <a:gd name="connsiteX44" fmla="*/ 550801 w 589688"/>
                <a:gd name="connsiteY44" fmla="*/ 302175 h 604351"/>
                <a:gd name="connsiteX45" fmla="*/ 497888 w 589688"/>
                <a:gd name="connsiteY45" fmla="*/ 226950 h 604351"/>
                <a:gd name="connsiteX46" fmla="*/ 468563 w 589688"/>
                <a:gd name="connsiteY46" fmla="*/ 213563 h 604351"/>
                <a:gd name="connsiteX47" fmla="*/ 344888 w 589688"/>
                <a:gd name="connsiteY47" fmla="*/ 109650 h 604351"/>
                <a:gd name="connsiteX48" fmla="*/ 314288 w 589688"/>
                <a:gd name="connsiteY48" fmla="*/ 71400 h 604351"/>
                <a:gd name="connsiteX49" fmla="*/ 256276 w 589688"/>
                <a:gd name="connsiteY49" fmla="*/ 47175 h 604351"/>
                <a:gd name="connsiteX50" fmla="*/ 253088 w 589688"/>
                <a:gd name="connsiteY50" fmla="*/ 34425 h 604351"/>
                <a:gd name="connsiteX51" fmla="*/ 270301 w 589688"/>
                <a:gd name="connsiteY51" fmla="*/ 0 h 604351"/>
                <a:gd name="connsiteX52" fmla="*/ 270301 w 589688"/>
                <a:gd name="connsiteY52" fmla="*/ 0 h 604351"/>
                <a:gd name="connsiteX53" fmla="*/ 270301 w 589688"/>
                <a:gd name="connsiteY53" fmla="*/ 0 h 60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89688" h="604351">
                  <a:moveTo>
                    <a:pt x="564189" y="434138"/>
                  </a:moveTo>
                  <a:lnTo>
                    <a:pt x="563551" y="415013"/>
                  </a:lnTo>
                  <a:lnTo>
                    <a:pt x="559089" y="431588"/>
                  </a:lnTo>
                  <a:lnTo>
                    <a:pt x="564189" y="434138"/>
                  </a:lnTo>
                  <a:lnTo>
                    <a:pt x="564189" y="434138"/>
                  </a:lnTo>
                  <a:close/>
                  <a:moveTo>
                    <a:pt x="571201" y="404813"/>
                  </a:moveTo>
                  <a:lnTo>
                    <a:pt x="568651" y="390150"/>
                  </a:lnTo>
                  <a:lnTo>
                    <a:pt x="566739" y="399713"/>
                  </a:lnTo>
                  <a:lnTo>
                    <a:pt x="571201" y="404813"/>
                  </a:lnTo>
                  <a:close/>
                  <a:moveTo>
                    <a:pt x="270301" y="0"/>
                  </a:moveTo>
                  <a:lnTo>
                    <a:pt x="262013" y="1912"/>
                  </a:lnTo>
                  <a:lnTo>
                    <a:pt x="237788" y="7012"/>
                  </a:lnTo>
                  <a:lnTo>
                    <a:pt x="147900" y="25500"/>
                  </a:lnTo>
                  <a:lnTo>
                    <a:pt x="139613" y="27412"/>
                  </a:lnTo>
                  <a:lnTo>
                    <a:pt x="130050" y="28688"/>
                  </a:lnTo>
                  <a:lnTo>
                    <a:pt x="79688" y="38887"/>
                  </a:lnTo>
                  <a:lnTo>
                    <a:pt x="66300" y="41438"/>
                  </a:lnTo>
                  <a:lnTo>
                    <a:pt x="11475" y="52275"/>
                  </a:lnTo>
                  <a:lnTo>
                    <a:pt x="0" y="53550"/>
                  </a:lnTo>
                  <a:lnTo>
                    <a:pt x="637" y="54825"/>
                  </a:lnTo>
                  <a:lnTo>
                    <a:pt x="86700" y="316838"/>
                  </a:lnTo>
                  <a:lnTo>
                    <a:pt x="135150" y="400351"/>
                  </a:lnTo>
                  <a:lnTo>
                    <a:pt x="123675" y="413101"/>
                  </a:lnTo>
                  <a:lnTo>
                    <a:pt x="116663" y="463463"/>
                  </a:lnTo>
                  <a:lnTo>
                    <a:pt x="130688" y="488963"/>
                  </a:lnTo>
                  <a:lnTo>
                    <a:pt x="131963" y="536138"/>
                  </a:lnTo>
                  <a:lnTo>
                    <a:pt x="149175" y="569289"/>
                  </a:lnTo>
                  <a:lnTo>
                    <a:pt x="149175" y="569926"/>
                  </a:lnTo>
                  <a:lnTo>
                    <a:pt x="148538" y="570564"/>
                  </a:lnTo>
                  <a:lnTo>
                    <a:pt x="170213" y="604351"/>
                  </a:lnTo>
                  <a:lnTo>
                    <a:pt x="473026" y="566738"/>
                  </a:lnTo>
                  <a:lnTo>
                    <a:pt x="482589" y="589689"/>
                  </a:lnTo>
                  <a:lnTo>
                    <a:pt x="492788" y="539963"/>
                  </a:lnTo>
                  <a:lnTo>
                    <a:pt x="510001" y="526576"/>
                  </a:lnTo>
                  <a:lnTo>
                    <a:pt x="554626" y="529126"/>
                  </a:lnTo>
                  <a:lnTo>
                    <a:pt x="554626" y="529126"/>
                  </a:lnTo>
                  <a:lnTo>
                    <a:pt x="550801" y="459638"/>
                  </a:lnTo>
                  <a:lnTo>
                    <a:pt x="559089" y="444976"/>
                  </a:lnTo>
                  <a:lnTo>
                    <a:pt x="554626" y="416926"/>
                  </a:lnTo>
                  <a:lnTo>
                    <a:pt x="564189" y="390150"/>
                  </a:lnTo>
                  <a:lnTo>
                    <a:pt x="577576" y="375488"/>
                  </a:lnTo>
                  <a:lnTo>
                    <a:pt x="567376" y="365926"/>
                  </a:lnTo>
                  <a:lnTo>
                    <a:pt x="589689" y="337876"/>
                  </a:lnTo>
                  <a:lnTo>
                    <a:pt x="589051" y="337876"/>
                  </a:lnTo>
                  <a:lnTo>
                    <a:pt x="550801" y="302175"/>
                  </a:lnTo>
                  <a:lnTo>
                    <a:pt x="497888" y="226950"/>
                  </a:lnTo>
                  <a:lnTo>
                    <a:pt x="468563" y="213563"/>
                  </a:lnTo>
                  <a:lnTo>
                    <a:pt x="344888" y="109650"/>
                  </a:lnTo>
                  <a:lnTo>
                    <a:pt x="314288" y="71400"/>
                  </a:lnTo>
                  <a:lnTo>
                    <a:pt x="256276" y="47175"/>
                  </a:lnTo>
                  <a:lnTo>
                    <a:pt x="253088" y="34425"/>
                  </a:lnTo>
                  <a:lnTo>
                    <a:pt x="270301" y="0"/>
                  </a:lnTo>
                  <a:lnTo>
                    <a:pt x="270301" y="0"/>
                  </a:lnTo>
                  <a:lnTo>
                    <a:pt x="270301" y="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094" name="Freeform 28">
              <a:extLst>
                <a:ext uri="{FF2B5EF4-FFF2-40B4-BE49-F238E27FC236}">
                  <a16:creationId xmlns:a16="http://schemas.microsoft.com/office/drawing/2014/main" id="{7B61441E-07D7-A90E-07C9-F9AB1523E4F9}"/>
                </a:ext>
              </a:extLst>
            </p:cNvPr>
            <p:cNvSpPr/>
            <p:nvPr/>
          </p:nvSpPr>
          <p:spPr>
            <a:xfrm>
              <a:off x="2290735" y="2052098"/>
              <a:ext cx="672563" cy="1042314"/>
            </a:xfrm>
            <a:custGeom>
              <a:avLst/>
              <a:gdLst>
                <a:gd name="connsiteX0" fmla="*/ 568014 w 672563"/>
                <a:gd name="connsiteY0" fmla="*/ 766276 h 1042314"/>
                <a:gd name="connsiteX1" fmla="*/ 634951 w 672563"/>
                <a:gd name="connsiteY1" fmla="*/ 350626 h 1042314"/>
                <a:gd name="connsiteX2" fmla="*/ 668739 w 672563"/>
                <a:gd name="connsiteY2" fmla="*/ 142800 h 1042314"/>
                <a:gd name="connsiteX3" fmla="*/ 672564 w 672563"/>
                <a:gd name="connsiteY3" fmla="*/ 122400 h 1042314"/>
                <a:gd name="connsiteX4" fmla="*/ 654076 w 672563"/>
                <a:gd name="connsiteY4" fmla="*/ 119213 h 1042314"/>
                <a:gd name="connsiteX5" fmla="*/ 581401 w 672563"/>
                <a:gd name="connsiteY5" fmla="*/ 105825 h 1042314"/>
                <a:gd name="connsiteX6" fmla="*/ 399713 w 672563"/>
                <a:gd name="connsiteY6" fmla="*/ 70125 h 1042314"/>
                <a:gd name="connsiteX7" fmla="*/ 381863 w 672563"/>
                <a:gd name="connsiteY7" fmla="*/ 66300 h 1042314"/>
                <a:gd name="connsiteX8" fmla="*/ 364013 w 672563"/>
                <a:gd name="connsiteY8" fmla="*/ 62475 h 1042314"/>
                <a:gd name="connsiteX9" fmla="*/ 273488 w 672563"/>
                <a:gd name="connsiteY9" fmla="*/ 42712 h 1042314"/>
                <a:gd name="connsiteX10" fmla="*/ 110925 w 672563"/>
                <a:gd name="connsiteY10" fmla="*/ 4462 h 1042314"/>
                <a:gd name="connsiteX11" fmla="*/ 93075 w 672563"/>
                <a:gd name="connsiteY11" fmla="*/ 0 h 1042314"/>
                <a:gd name="connsiteX12" fmla="*/ 87338 w 672563"/>
                <a:gd name="connsiteY12" fmla="*/ 24225 h 1042314"/>
                <a:gd name="connsiteX13" fmla="*/ 0 w 672563"/>
                <a:gd name="connsiteY13" fmla="*/ 394613 h 1042314"/>
                <a:gd name="connsiteX14" fmla="*/ 75863 w 672563"/>
                <a:gd name="connsiteY14" fmla="*/ 503626 h 1042314"/>
                <a:gd name="connsiteX15" fmla="*/ 153638 w 672563"/>
                <a:gd name="connsiteY15" fmla="*/ 612001 h 1042314"/>
                <a:gd name="connsiteX16" fmla="*/ 292613 w 672563"/>
                <a:gd name="connsiteY16" fmla="*/ 810902 h 1042314"/>
                <a:gd name="connsiteX17" fmla="*/ 392063 w 672563"/>
                <a:gd name="connsiteY17" fmla="*/ 951152 h 1042314"/>
                <a:gd name="connsiteX18" fmla="*/ 443701 w 672563"/>
                <a:gd name="connsiteY18" fmla="*/ 1020002 h 1042314"/>
                <a:gd name="connsiteX19" fmla="*/ 460276 w 672563"/>
                <a:gd name="connsiteY19" fmla="*/ 1042315 h 1042314"/>
                <a:gd name="connsiteX20" fmla="*/ 460276 w 672563"/>
                <a:gd name="connsiteY20" fmla="*/ 1041040 h 1042314"/>
                <a:gd name="connsiteX21" fmla="*/ 471113 w 672563"/>
                <a:gd name="connsiteY21" fmla="*/ 1019364 h 1042314"/>
                <a:gd name="connsiteX22" fmla="*/ 471751 w 672563"/>
                <a:gd name="connsiteY22" fmla="*/ 917364 h 1042314"/>
                <a:gd name="connsiteX23" fmla="*/ 500439 w 672563"/>
                <a:gd name="connsiteY23" fmla="*/ 893777 h 1042314"/>
                <a:gd name="connsiteX24" fmla="*/ 522751 w 672563"/>
                <a:gd name="connsiteY24" fmla="*/ 913539 h 1042314"/>
                <a:gd name="connsiteX25" fmla="*/ 537414 w 672563"/>
                <a:gd name="connsiteY25" fmla="*/ 914177 h 1042314"/>
                <a:gd name="connsiteX26" fmla="*/ 566101 w 672563"/>
                <a:gd name="connsiteY26" fmla="*/ 789864 h 1042314"/>
                <a:gd name="connsiteX27" fmla="*/ 566101 w 672563"/>
                <a:gd name="connsiteY27" fmla="*/ 788589 h 1042314"/>
                <a:gd name="connsiteX28" fmla="*/ 568014 w 672563"/>
                <a:gd name="connsiteY28" fmla="*/ 766276 h 1042314"/>
                <a:gd name="connsiteX29" fmla="*/ 568014 w 672563"/>
                <a:gd name="connsiteY29" fmla="*/ 766276 h 104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2563" h="1042314">
                  <a:moveTo>
                    <a:pt x="568014" y="766276"/>
                  </a:moveTo>
                  <a:lnTo>
                    <a:pt x="634951" y="350626"/>
                  </a:lnTo>
                  <a:lnTo>
                    <a:pt x="668739" y="142800"/>
                  </a:lnTo>
                  <a:lnTo>
                    <a:pt x="672564" y="122400"/>
                  </a:lnTo>
                  <a:lnTo>
                    <a:pt x="654076" y="119213"/>
                  </a:lnTo>
                  <a:lnTo>
                    <a:pt x="581401" y="105825"/>
                  </a:lnTo>
                  <a:lnTo>
                    <a:pt x="399713" y="70125"/>
                  </a:lnTo>
                  <a:lnTo>
                    <a:pt x="381863" y="66300"/>
                  </a:lnTo>
                  <a:lnTo>
                    <a:pt x="364013" y="62475"/>
                  </a:lnTo>
                  <a:lnTo>
                    <a:pt x="273488" y="42712"/>
                  </a:lnTo>
                  <a:lnTo>
                    <a:pt x="110925" y="4462"/>
                  </a:lnTo>
                  <a:lnTo>
                    <a:pt x="93075" y="0"/>
                  </a:lnTo>
                  <a:lnTo>
                    <a:pt x="87338" y="24225"/>
                  </a:lnTo>
                  <a:lnTo>
                    <a:pt x="0" y="394613"/>
                  </a:lnTo>
                  <a:lnTo>
                    <a:pt x="75863" y="503626"/>
                  </a:lnTo>
                  <a:lnTo>
                    <a:pt x="153638" y="612001"/>
                  </a:lnTo>
                  <a:lnTo>
                    <a:pt x="292613" y="810902"/>
                  </a:lnTo>
                  <a:lnTo>
                    <a:pt x="392063" y="951152"/>
                  </a:lnTo>
                  <a:lnTo>
                    <a:pt x="443701" y="1020002"/>
                  </a:lnTo>
                  <a:lnTo>
                    <a:pt x="460276" y="1042315"/>
                  </a:lnTo>
                  <a:lnTo>
                    <a:pt x="460276" y="1041040"/>
                  </a:lnTo>
                  <a:lnTo>
                    <a:pt x="471113" y="1019364"/>
                  </a:lnTo>
                  <a:lnTo>
                    <a:pt x="471751" y="917364"/>
                  </a:lnTo>
                  <a:lnTo>
                    <a:pt x="500439" y="893777"/>
                  </a:lnTo>
                  <a:lnTo>
                    <a:pt x="522751" y="913539"/>
                  </a:lnTo>
                  <a:lnTo>
                    <a:pt x="537414" y="914177"/>
                  </a:lnTo>
                  <a:lnTo>
                    <a:pt x="566101" y="789864"/>
                  </a:lnTo>
                  <a:lnTo>
                    <a:pt x="566101" y="788589"/>
                  </a:lnTo>
                  <a:lnTo>
                    <a:pt x="568014" y="766276"/>
                  </a:lnTo>
                  <a:lnTo>
                    <a:pt x="568014" y="766276"/>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0" name="Freeform 18">
              <a:extLst>
                <a:ext uri="{FF2B5EF4-FFF2-40B4-BE49-F238E27FC236}">
                  <a16:creationId xmlns:a16="http://schemas.microsoft.com/office/drawing/2014/main" id="{5D937206-9E50-3D5D-2F9A-046CCC0284C9}"/>
                </a:ext>
              </a:extLst>
            </p:cNvPr>
            <p:cNvSpPr/>
            <p:nvPr/>
          </p:nvSpPr>
          <p:spPr>
            <a:xfrm>
              <a:off x="6942581" y="1666410"/>
              <a:ext cx="355088" cy="208462"/>
            </a:xfrm>
            <a:custGeom>
              <a:avLst/>
              <a:gdLst>
                <a:gd name="connsiteX0" fmla="*/ 293251 w 355088"/>
                <a:gd name="connsiteY0" fmla="*/ 207825 h 208462"/>
                <a:gd name="connsiteX1" fmla="*/ 291338 w 355088"/>
                <a:gd name="connsiteY1" fmla="*/ 206550 h 208462"/>
                <a:gd name="connsiteX2" fmla="*/ 291338 w 355088"/>
                <a:gd name="connsiteY2" fmla="*/ 208463 h 208462"/>
                <a:gd name="connsiteX3" fmla="*/ 293251 w 355088"/>
                <a:gd name="connsiteY3" fmla="*/ 207825 h 208462"/>
                <a:gd name="connsiteX4" fmla="*/ 293251 w 355088"/>
                <a:gd name="connsiteY4" fmla="*/ 207825 h 208462"/>
                <a:gd name="connsiteX5" fmla="*/ 274126 w 355088"/>
                <a:gd name="connsiteY5" fmla="*/ 189975 h 208462"/>
                <a:gd name="connsiteX6" fmla="*/ 278588 w 355088"/>
                <a:gd name="connsiteY6" fmla="*/ 188063 h 208462"/>
                <a:gd name="connsiteX7" fmla="*/ 278588 w 355088"/>
                <a:gd name="connsiteY7" fmla="*/ 185513 h 208462"/>
                <a:gd name="connsiteX8" fmla="*/ 274126 w 355088"/>
                <a:gd name="connsiteY8" fmla="*/ 189975 h 208462"/>
                <a:gd name="connsiteX9" fmla="*/ 274126 w 355088"/>
                <a:gd name="connsiteY9" fmla="*/ 189975 h 208462"/>
                <a:gd name="connsiteX10" fmla="*/ 353813 w 355088"/>
                <a:gd name="connsiteY10" fmla="*/ 140250 h 208462"/>
                <a:gd name="connsiteX11" fmla="*/ 353176 w 355088"/>
                <a:gd name="connsiteY11" fmla="*/ 130688 h 208462"/>
                <a:gd name="connsiteX12" fmla="*/ 351901 w 355088"/>
                <a:gd name="connsiteY12" fmla="*/ 125588 h 208462"/>
                <a:gd name="connsiteX13" fmla="*/ 353813 w 355088"/>
                <a:gd name="connsiteY13" fmla="*/ 140250 h 208462"/>
                <a:gd name="connsiteX14" fmla="*/ 73313 w 355088"/>
                <a:gd name="connsiteY14" fmla="*/ 73950 h 208462"/>
                <a:gd name="connsiteX15" fmla="*/ 68850 w 355088"/>
                <a:gd name="connsiteY15" fmla="*/ 75863 h 208462"/>
                <a:gd name="connsiteX16" fmla="*/ 32513 w 355088"/>
                <a:gd name="connsiteY16" fmla="*/ 87338 h 208462"/>
                <a:gd name="connsiteX17" fmla="*/ 19763 w 355088"/>
                <a:gd name="connsiteY17" fmla="*/ 91800 h 208462"/>
                <a:gd name="connsiteX18" fmla="*/ 5100 w 355088"/>
                <a:gd name="connsiteY18" fmla="*/ 96263 h 208462"/>
                <a:gd name="connsiteX19" fmla="*/ 0 w 355088"/>
                <a:gd name="connsiteY19" fmla="*/ 98175 h 208462"/>
                <a:gd name="connsiteX20" fmla="*/ 0 w 355088"/>
                <a:gd name="connsiteY20" fmla="*/ 100088 h 208462"/>
                <a:gd name="connsiteX21" fmla="*/ 1913 w 355088"/>
                <a:gd name="connsiteY21" fmla="*/ 133238 h 208462"/>
                <a:gd name="connsiteX22" fmla="*/ 3825 w 355088"/>
                <a:gd name="connsiteY22" fmla="*/ 164475 h 208462"/>
                <a:gd name="connsiteX23" fmla="*/ 5738 w 355088"/>
                <a:gd name="connsiteY23" fmla="*/ 193163 h 208462"/>
                <a:gd name="connsiteX24" fmla="*/ 8925 w 355088"/>
                <a:gd name="connsiteY24" fmla="*/ 195075 h 208462"/>
                <a:gd name="connsiteX25" fmla="*/ 20400 w 355088"/>
                <a:gd name="connsiteY25" fmla="*/ 191888 h 208462"/>
                <a:gd name="connsiteX26" fmla="*/ 72675 w 355088"/>
                <a:gd name="connsiteY26" fmla="*/ 176588 h 208462"/>
                <a:gd name="connsiteX27" fmla="*/ 73950 w 355088"/>
                <a:gd name="connsiteY27" fmla="*/ 179775 h 208462"/>
                <a:gd name="connsiteX28" fmla="*/ 166388 w 355088"/>
                <a:gd name="connsiteY28" fmla="*/ 144713 h 208462"/>
                <a:gd name="connsiteX29" fmla="*/ 167025 w 355088"/>
                <a:gd name="connsiteY29" fmla="*/ 145988 h 208462"/>
                <a:gd name="connsiteX30" fmla="*/ 175313 w 355088"/>
                <a:gd name="connsiteY30" fmla="*/ 142800 h 208462"/>
                <a:gd name="connsiteX31" fmla="*/ 205275 w 355088"/>
                <a:gd name="connsiteY31" fmla="*/ 131325 h 208462"/>
                <a:gd name="connsiteX32" fmla="*/ 233963 w 355088"/>
                <a:gd name="connsiteY32" fmla="*/ 165113 h 208462"/>
                <a:gd name="connsiteX33" fmla="*/ 233963 w 355088"/>
                <a:gd name="connsiteY33" fmla="*/ 165113 h 208462"/>
                <a:gd name="connsiteX34" fmla="*/ 237788 w 355088"/>
                <a:gd name="connsiteY34" fmla="*/ 161925 h 208462"/>
                <a:gd name="connsiteX35" fmla="*/ 239701 w 355088"/>
                <a:gd name="connsiteY35" fmla="*/ 151725 h 208462"/>
                <a:gd name="connsiteX36" fmla="*/ 239063 w 355088"/>
                <a:gd name="connsiteY36" fmla="*/ 167025 h 208462"/>
                <a:gd name="connsiteX37" fmla="*/ 239063 w 355088"/>
                <a:gd name="connsiteY37" fmla="*/ 167025 h 208462"/>
                <a:gd name="connsiteX38" fmla="*/ 245438 w 355088"/>
                <a:gd name="connsiteY38" fmla="*/ 167025 h 208462"/>
                <a:gd name="connsiteX39" fmla="*/ 247351 w 355088"/>
                <a:gd name="connsiteY39" fmla="*/ 174675 h 208462"/>
                <a:gd name="connsiteX40" fmla="*/ 253088 w 355088"/>
                <a:gd name="connsiteY40" fmla="*/ 186150 h 208462"/>
                <a:gd name="connsiteX41" fmla="*/ 253088 w 355088"/>
                <a:gd name="connsiteY41" fmla="*/ 186150 h 208462"/>
                <a:gd name="connsiteX42" fmla="*/ 283688 w 355088"/>
                <a:gd name="connsiteY42" fmla="*/ 149813 h 208462"/>
                <a:gd name="connsiteX43" fmla="*/ 308551 w 355088"/>
                <a:gd name="connsiteY43" fmla="*/ 158100 h 208462"/>
                <a:gd name="connsiteX44" fmla="*/ 314288 w 355088"/>
                <a:gd name="connsiteY44" fmla="*/ 145350 h 208462"/>
                <a:gd name="connsiteX45" fmla="*/ 355088 w 355088"/>
                <a:gd name="connsiteY45" fmla="*/ 123675 h 208462"/>
                <a:gd name="connsiteX46" fmla="*/ 337876 w 355088"/>
                <a:gd name="connsiteY46" fmla="*/ 89888 h 208462"/>
                <a:gd name="connsiteX47" fmla="*/ 342338 w 355088"/>
                <a:gd name="connsiteY47" fmla="*/ 111563 h 208462"/>
                <a:gd name="connsiteX48" fmla="*/ 321301 w 355088"/>
                <a:gd name="connsiteY48" fmla="*/ 127500 h 208462"/>
                <a:gd name="connsiteX49" fmla="*/ 297713 w 355088"/>
                <a:gd name="connsiteY49" fmla="*/ 129413 h 208462"/>
                <a:gd name="connsiteX50" fmla="*/ 249901 w 355088"/>
                <a:gd name="connsiteY50" fmla="*/ 78413 h 208462"/>
                <a:gd name="connsiteX51" fmla="*/ 228863 w 355088"/>
                <a:gd name="connsiteY51" fmla="*/ 45900 h 208462"/>
                <a:gd name="connsiteX52" fmla="*/ 249901 w 355088"/>
                <a:gd name="connsiteY52" fmla="*/ 23587 h 208462"/>
                <a:gd name="connsiteX53" fmla="*/ 228226 w 355088"/>
                <a:gd name="connsiteY53" fmla="*/ 22313 h 208462"/>
                <a:gd name="connsiteX54" fmla="*/ 218663 w 355088"/>
                <a:gd name="connsiteY54" fmla="*/ 1275 h 208462"/>
                <a:gd name="connsiteX55" fmla="*/ 218026 w 355088"/>
                <a:gd name="connsiteY55" fmla="*/ 0 h 208462"/>
                <a:gd name="connsiteX56" fmla="*/ 181688 w 355088"/>
                <a:gd name="connsiteY56" fmla="*/ 39525 h 208462"/>
                <a:gd name="connsiteX57" fmla="*/ 100726 w 355088"/>
                <a:gd name="connsiteY57" fmla="*/ 66938 h 208462"/>
                <a:gd name="connsiteX58" fmla="*/ 73313 w 355088"/>
                <a:gd name="connsiteY58" fmla="*/ 73950 h 208462"/>
                <a:gd name="connsiteX59" fmla="*/ 73313 w 355088"/>
                <a:gd name="connsiteY59" fmla="*/ 73950 h 2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5088" h="208462">
                  <a:moveTo>
                    <a:pt x="293251" y="207825"/>
                  </a:moveTo>
                  <a:lnTo>
                    <a:pt x="291338" y="206550"/>
                  </a:lnTo>
                  <a:lnTo>
                    <a:pt x="291338" y="208463"/>
                  </a:lnTo>
                  <a:lnTo>
                    <a:pt x="293251" y="207825"/>
                  </a:lnTo>
                  <a:lnTo>
                    <a:pt x="293251" y="207825"/>
                  </a:lnTo>
                  <a:close/>
                  <a:moveTo>
                    <a:pt x="274126" y="189975"/>
                  </a:moveTo>
                  <a:lnTo>
                    <a:pt x="278588" y="188063"/>
                  </a:lnTo>
                  <a:lnTo>
                    <a:pt x="278588" y="185513"/>
                  </a:lnTo>
                  <a:lnTo>
                    <a:pt x="274126" y="189975"/>
                  </a:lnTo>
                  <a:lnTo>
                    <a:pt x="274126" y="189975"/>
                  </a:lnTo>
                  <a:close/>
                  <a:moveTo>
                    <a:pt x="353813" y="140250"/>
                  </a:moveTo>
                  <a:lnTo>
                    <a:pt x="353176" y="130688"/>
                  </a:lnTo>
                  <a:lnTo>
                    <a:pt x="351901" y="125588"/>
                  </a:lnTo>
                  <a:lnTo>
                    <a:pt x="353813" y="140250"/>
                  </a:lnTo>
                  <a:close/>
                  <a:moveTo>
                    <a:pt x="73313" y="73950"/>
                  </a:moveTo>
                  <a:lnTo>
                    <a:pt x="68850" y="75863"/>
                  </a:lnTo>
                  <a:lnTo>
                    <a:pt x="32513" y="87338"/>
                  </a:lnTo>
                  <a:lnTo>
                    <a:pt x="19763" y="91800"/>
                  </a:lnTo>
                  <a:lnTo>
                    <a:pt x="5100" y="96263"/>
                  </a:lnTo>
                  <a:lnTo>
                    <a:pt x="0" y="98175"/>
                  </a:lnTo>
                  <a:lnTo>
                    <a:pt x="0" y="100088"/>
                  </a:lnTo>
                  <a:lnTo>
                    <a:pt x="1913" y="133238"/>
                  </a:lnTo>
                  <a:lnTo>
                    <a:pt x="3825" y="164475"/>
                  </a:lnTo>
                  <a:lnTo>
                    <a:pt x="5738" y="193163"/>
                  </a:lnTo>
                  <a:lnTo>
                    <a:pt x="8925" y="195075"/>
                  </a:lnTo>
                  <a:lnTo>
                    <a:pt x="20400" y="191888"/>
                  </a:lnTo>
                  <a:lnTo>
                    <a:pt x="72675" y="176588"/>
                  </a:lnTo>
                  <a:lnTo>
                    <a:pt x="73950" y="179775"/>
                  </a:lnTo>
                  <a:lnTo>
                    <a:pt x="166388" y="144713"/>
                  </a:lnTo>
                  <a:lnTo>
                    <a:pt x="167025" y="145988"/>
                  </a:lnTo>
                  <a:lnTo>
                    <a:pt x="175313" y="142800"/>
                  </a:lnTo>
                  <a:lnTo>
                    <a:pt x="205275" y="131325"/>
                  </a:lnTo>
                  <a:lnTo>
                    <a:pt x="233963" y="165113"/>
                  </a:lnTo>
                  <a:lnTo>
                    <a:pt x="233963" y="165113"/>
                  </a:lnTo>
                  <a:lnTo>
                    <a:pt x="237788" y="161925"/>
                  </a:lnTo>
                  <a:lnTo>
                    <a:pt x="239701" y="151725"/>
                  </a:lnTo>
                  <a:lnTo>
                    <a:pt x="239063" y="167025"/>
                  </a:lnTo>
                  <a:lnTo>
                    <a:pt x="239063" y="167025"/>
                  </a:lnTo>
                  <a:lnTo>
                    <a:pt x="245438" y="167025"/>
                  </a:lnTo>
                  <a:lnTo>
                    <a:pt x="247351" y="174675"/>
                  </a:lnTo>
                  <a:lnTo>
                    <a:pt x="253088" y="186150"/>
                  </a:lnTo>
                  <a:lnTo>
                    <a:pt x="253088" y="186150"/>
                  </a:lnTo>
                  <a:lnTo>
                    <a:pt x="283688" y="149813"/>
                  </a:lnTo>
                  <a:lnTo>
                    <a:pt x="308551" y="158100"/>
                  </a:lnTo>
                  <a:lnTo>
                    <a:pt x="314288" y="145350"/>
                  </a:lnTo>
                  <a:lnTo>
                    <a:pt x="355088" y="123675"/>
                  </a:lnTo>
                  <a:lnTo>
                    <a:pt x="337876" y="89888"/>
                  </a:lnTo>
                  <a:lnTo>
                    <a:pt x="342338" y="111563"/>
                  </a:lnTo>
                  <a:lnTo>
                    <a:pt x="321301" y="127500"/>
                  </a:lnTo>
                  <a:lnTo>
                    <a:pt x="297713" y="129413"/>
                  </a:lnTo>
                  <a:lnTo>
                    <a:pt x="249901" y="78413"/>
                  </a:lnTo>
                  <a:lnTo>
                    <a:pt x="228863" y="45900"/>
                  </a:lnTo>
                  <a:lnTo>
                    <a:pt x="249901" y="23587"/>
                  </a:lnTo>
                  <a:lnTo>
                    <a:pt x="228226" y="22313"/>
                  </a:lnTo>
                  <a:lnTo>
                    <a:pt x="218663" y="1275"/>
                  </a:lnTo>
                  <a:lnTo>
                    <a:pt x="218026" y="0"/>
                  </a:lnTo>
                  <a:lnTo>
                    <a:pt x="181688" y="39525"/>
                  </a:lnTo>
                  <a:lnTo>
                    <a:pt x="100726" y="66938"/>
                  </a:lnTo>
                  <a:lnTo>
                    <a:pt x="73313" y="73950"/>
                  </a:lnTo>
                  <a:lnTo>
                    <a:pt x="73313" y="739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1" name="Freeform 19">
              <a:extLst>
                <a:ext uri="{FF2B5EF4-FFF2-40B4-BE49-F238E27FC236}">
                  <a16:creationId xmlns:a16="http://schemas.microsoft.com/office/drawing/2014/main" id="{C8863998-CAF7-A2AB-D844-67172616B776}"/>
                </a:ext>
              </a:extLst>
            </p:cNvPr>
            <p:cNvSpPr/>
            <p:nvPr/>
          </p:nvSpPr>
          <p:spPr>
            <a:xfrm>
              <a:off x="4603589" y="1289009"/>
              <a:ext cx="687863" cy="796876"/>
            </a:xfrm>
            <a:custGeom>
              <a:avLst/>
              <a:gdLst>
                <a:gd name="connsiteX0" fmla="*/ 0 w 687863"/>
                <a:gd name="connsiteY0" fmla="*/ 60563 h 796876"/>
                <a:gd name="connsiteX1" fmla="*/ 12750 w 687863"/>
                <a:gd name="connsiteY1" fmla="*/ 106463 h 796876"/>
                <a:gd name="connsiteX2" fmla="*/ 40163 w 687863"/>
                <a:gd name="connsiteY2" fmla="*/ 270301 h 796876"/>
                <a:gd name="connsiteX3" fmla="*/ 52913 w 687863"/>
                <a:gd name="connsiteY3" fmla="*/ 335963 h 796876"/>
                <a:gd name="connsiteX4" fmla="*/ 56737 w 687863"/>
                <a:gd name="connsiteY4" fmla="*/ 393338 h 796876"/>
                <a:gd name="connsiteX5" fmla="*/ 71400 w 687863"/>
                <a:gd name="connsiteY5" fmla="*/ 427763 h 796876"/>
                <a:gd name="connsiteX6" fmla="*/ 74588 w 687863"/>
                <a:gd name="connsiteY6" fmla="*/ 457726 h 796876"/>
                <a:gd name="connsiteX7" fmla="*/ 77138 w 687863"/>
                <a:gd name="connsiteY7" fmla="*/ 467926 h 796876"/>
                <a:gd name="connsiteX8" fmla="*/ 76500 w 687863"/>
                <a:gd name="connsiteY8" fmla="*/ 469839 h 796876"/>
                <a:gd name="connsiteX9" fmla="*/ 51000 w 687863"/>
                <a:gd name="connsiteY9" fmla="*/ 511913 h 796876"/>
                <a:gd name="connsiteX10" fmla="*/ 67575 w 687863"/>
                <a:gd name="connsiteY10" fmla="*/ 540601 h 796876"/>
                <a:gd name="connsiteX11" fmla="*/ 100088 w 687863"/>
                <a:gd name="connsiteY11" fmla="*/ 766914 h 796876"/>
                <a:gd name="connsiteX12" fmla="*/ 101362 w 687863"/>
                <a:gd name="connsiteY12" fmla="*/ 796877 h 796876"/>
                <a:gd name="connsiteX13" fmla="*/ 133875 w 687863"/>
                <a:gd name="connsiteY13" fmla="*/ 794964 h 796876"/>
                <a:gd name="connsiteX14" fmla="*/ 260100 w 687863"/>
                <a:gd name="connsiteY14" fmla="*/ 787952 h 796876"/>
                <a:gd name="connsiteX15" fmla="*/ 576301 w 687863"/>
                <a:gd name="connsiteY15" fmla="*/ 761177 h 796876"/>
                <a:gd name="connsiteX16" fmla="*/ 608176 w 687863"/>
                <a:gd name="connsiteY16" fmla="*/ 757989 h 796876"/>
                <a:gd name="connsiteX17" fmla="*/ 608176 w 687863"/>
                <a:gd name="connsiteY17" fmla="*/ 754801 h 796876"/>
                <a:gd name="connsiteX18" fmla="*/ 598613 w 687863"/>
                <a:gd name="connsiteY18" fmla="*/ 705076 h 796876"/>
                <a:gd name="connsiteX19" fmla="*/ 559726 w 687863"/>
                <a:gd name="connsiteY19" fmla="*/ 685314 h 796876"/>
                <a:gd name="connsiteX20" fmla="*/ 528488 w 687863"/>
                <a:gd name="connsiteY20" fmla="*/ 652801 h 796876"/>
                <a:gd name="connsiteX21" fmla="*/ 479401 w 687863"/>
                <a:gd name="connsiteY21" fmla="*/ 622839 h 796876"/>
                <a:gd name="connsiteX22" fmla="*/ 464101 w 687863"/>
                <a:gd name="connsiteY22" fmla="*/ 621564 h 796876"/>
                <a:gd name="connsiteX23" fmla="*/ 440513 w 687863"/>
                <a:gd name="connsiteY23" fmla="*/ 604989 h 796876"/>
                <a:gd name="connsiteX24" fmla="*/ 446888 w 687863"/>
                <a:gd name="connsiteY24" fmla="*/ 516376 h 796876"/>
                <a:gd name="connsiteX25" fmla="*/ 424576 w 687863"/>
                <a:gd name="connsiteY25" fmla="*/ 495976 h 796876"/>
                <a:gd name="connsiteX26" fmla="*/ 432226 w 687863"/>
                <a:gd name="connsiteY26" fmla="*/ 460276 h 796876"/>
                <a:gd name="connsiteX27" fmla="*/ 473026 w 687863"/>
                <a:gd name="connsiteY27" fmla="*/ 423301 h 796876"/>
                <a:gd name="connsiteX28" fmla="*/ 466013 w 687863"/>
                <a:gd name="connsiteY28" fmla="*/ 346801 h 796876"/>
                <a:gd name="connsiteX29" fmla="*/ 480676 w 687863"/>
                <a:gd name="connsiteY29" fmla="*/ 330226 h 796876"/>
                <a:gd name="connsiteX30" fmla="*/ 480676 w 687863"/>
                <a:gd name="connsiteY30" fmla="*/ 330226 h 796876"/>
                <a:gd name="connsiteX31" fmla="*/ 531039 w 687863"/>
                <a:gd name="connsiteY31" fmla="*/ 277313 h 796876"/>
                <a:gd name="connsiteX32" fmla="*/ 587776 w 687863"/>
                <a:gd name="connsiteY32" fmla="*/ 204000 h 796876"/>
                <a:gd name="connsiteX33" fmla="*/ 609451 w 687863"/>
                <a:gd name="connsiteY33" fmla="*/ 188700 h 796876"/>
                <a:gd name="connsiteX34" fmla="*/ 647701 w 687863"/>
                <a:gd name="connsiteY34" fmla="*/ 170213 h 796876"/>
                <a:gd name="connsiteX35" fmla="*/ 687864 w 687863"/>
                <a:gd name="connsiteY35" fmla="*/ 139613 h 796876"/>
                <a:gd name="connsiteX36" fmla="*/ 660451 w 687863"/>
                <a:gd name="connsiteY36" fmla="*/ 144713 h 796876"/>
                <a:gd name="connsiteX37" fmla="*/ 644514 w 687863"/>
                <a:gd name="connsiteY37" fmla="*/ 132600 h 796876"/>
                <a:gd name="connsiteX38" fmla="*/ 582676 w 687863"/>
                <a:gd name="connsiteY38" fmla="*/ 140888 h 796876"/>
                <a:gd name="connsiteX39" fmla="*/ 572476 w 687863"/>
                <a:gd name="connsiteY39" fmla="*/ 129413 h 796876"/>
                <a:gd name="connsiteX40" fmla="*/ 517651 w 687863"/>
                <a:gd name="connsiteY40" fmla="*/ 151725 h 796876"/>
                <a:gd name="connsiteX41" fmla="*/ 473026 w 687863"/>
                <a:gd name="connsiteY41" fmla="*/ 133238 h 796876"/>
                <a:gd name="connsiteX42" fmla="*/ 460913 w 687863"/>
                <a:gd name="connsiteY42" fmla="*/ 118575 h 796876"/>
                <a:gd name="connsiteX43" fmla="*/ 425851 w 687863"/>
                <a:gd name="connsiteY43" fmla="*/ 121125 h 796876"/>
                <a:gd name="connsiteX44" fmla="*/ 402263 w 687863"/>
                <a:gd name="connsiteY44" fmla="*/ 109013 h 796876"/>
                <a:gd name="connsiteX45" fmla="*/ 409913 w 687863"/>
                <a:gd name="connsiteY45" fmla="*/ 99450 h 796876"/>
                <a:gd name="connsiteX46" fmla="*/ 379313 w 687863"/>
                <a:gd name="connsiteY46" fmla="*/ 89250 h 796876"/>
                <a:gd name="connsiteX47" fmla="*/ 351901 w 687863"/>
                <a:gd name="connsiteY47" fmla="*/ 89250 h 796876"/>
                <a:gd name="connsiteX48" fmla="*/ 309188 w 687863"/>
                <a:gd name="connsiteY48" fmla="*/ 107738 h 796876"/>
                <a:gd name="connsiteX49" fmla="*/ 300901 w 687863"/>
                <a:gd name="connsiteY49" fmla="*/ 94988 h 796876"/>
                <a:gd name="connsiteX50" fmla="*/ 233325 w 687863"/>
                <a:gd name="connsiteY50" fmla="*/ 82875 h 796876"/>
                <a:gd name="connsiteX51" fmla="*/ 210375 w 687863"/>
                <a:gd name="connsiteY51" fmla="*/ 25500 h 796876"/>
                <a:gd name="connsiteX52" fmla="*/ 207825 w 687863"/>
                <a:gd name="connsiteY52" fmla="*/ 8287 h 796876"/>
                <a:gd name="connsiteX53" fmla="*/ 177863 w 687863"/>
                <a:gd name="connsiteY53" fmla="*/ 0 h 796876"/>
                <a:gd name="connsiteX54" fmla="*/ 180413 w 687863"/>
                <a:gd name="connsiteY54" fmla="*/ 49725 h 796876"/>
                <a:gd name="connsiteX55" fmla="*/ 102638 w 687863"/>
                <a:gd name="connsiteY55" fmla="*/ 55463 h 796876"/>
                <a:gd name="connsiteX56" fmla="*/ 5100 w 687863"/>
                <a:gd name="connsiteY56" fmla="*/ 59288 h 796876"/>
                <a:gd name="connsiteX57" fmla="*/ 0 w 687863"/>
                <a:gd name="connsiteY57" fmla="*/ 59288 h 796876"/>
                <a:gd name="connsiteX58" fmla="*/ 0 w 687863"/>
                <a:gd name="connsiteY58" fmla="*/ 60563 h 79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87863" h="796876">
                  <a:moveTo>
                    <a:pt x="0" y="60563"/>
                  </a:moveTo>
                  <a:lnTo>
                    <a:pt x="12750" y="106463"/>
                  </a:lnTo>
                  <a:lnTo>
                    <a:pt x="40163" y="270301"/>
                  </a:lnTo>
                  <a:lnTo>
                    <a:pt x="52913" y="335963"/>
                  </a:lnTo>
                  <a:lnTo>
                    <a:pt x="56737" y="393338"/>
                  </a:lnTo>
                  <a:lnTo>
                    <a:pt x="71400" y="427763"/>
                  </a:lnTo>
                  <a:lnTo>
                    <a:pt x="74588" y="457726"/>
                  </a:lnTo>
                  <a:lnTo>
                    <a:pt x="77138" y="467926"/>
                  </a:lnTo>
                  <a:lnTo>
                    <a:pt x="76500" y="469839"/>
                  </a:lnTo>
                  <a:lnTo>
                    <a:pt x="51000" y="511913"/>
                  </a:lnTo>
                  <a:lnTo>
                    <a:pt x="67575" y="540601"/>
                  </a:lnTo>
                  <a:lnTo>
                    <a:pt x="100088" y="766914"/>
                  </a:lnTo>
                  <a:lnTo>
                    <a:pt x="101362" y="796877"/>
                  </a:lnTo>
                  <a:lnTo>
                    <a:pt x="133875" y="794964"/>
                  </a:lnTo>
                  <a:lnTo>
                    <a:pt x="260100" y="787952"/>
                  </a:lnTo>
                  <a:lnTo>
                    <a:pt x="576301" y="761177"/>
                  </a:lnTo>
                  <a:lnTo>
                    <a:pt x="608176" y="757989"/>
                  </a:lnTo>
                  <a:lnTo>
                    <a:pt x="608176" y="754801"/>
                  </a:lnTo>
                  <a:lnTo>
                    <a:pt x="598613" y="705076"/>
                  </a:lnTo>
                  <a:lnTo>
                    <a:pt x="559726" y="685314"/>
                  </a:lnTo>
                  <a:lnTo>
                    <a:pt x="528488" y="652801"/>
                  </a:lnTo>
                  <a:lnTo>
                    <a:pt x="479401" y="622839"/>
                  </a:lnTo>
                  <a:lnTo>
                    <a:pt x="464101" y="621564"/>
                  </a:lnTo>
                  <a:lnTo>
                    <a:pt x="440513" y="604989"/>
                  </a:lnTo>
                  <a:lnTo>
                    <a:pt x="446888" y="516376"/>
                  </a:lnTo>
                  <a:lnTo>
                    <a:pt x="424576" y="495976"/>
                  </a:lnTo>
                  <a:lnTo>
                    <a:pt x="432226" y="460276"/>
                  </a:lnTo>
                  <a:lnTo>
                    <a:pt x="473026" y="423301"/>
                  </a:lnTo>
                  <a:lnTo>
                    <a:pt x="466013" y="346801"/>
                  </a:lnTo>
                  <a:lnTo>
                    <a:pt x="480676" y="330226"/>
                  </a:lnTo>
                  <a:lnTo>
                    <a:pt x="480676" y="330226"/>
                  </a:lnTo>
                  <a:lnTo>
                    <a:pt x="531039" y="277313"/>
                  </a:lnTo>
                  <a:lnTo>
                    <a:pt x="587776" y="204000"/>
                  </a:lnTo>
                  <a:lnTo>
                    <a:pt x="609451" y="188700"/>
                  </a:lnTo>
                  <a:lnTo>
                    <a:pt x="647701" y="170213"/>
                  </a:lnTo>
                  <a:lnTo>
                    <a:pt x="687864" y="139613"/>
                  </a:lnTo>
                  <a:lnTo>
                    <a:pt x="660451" y="144713"/>
                  </a:lnTo>
                  <a:lnTo>
                    <a:pt x="644514" y="132600"/>
                  </a:lnTo>
                  <a:lnTo>
                    <a:pt x="582676" y="140888"/>
                  </a:lnTo>
                  <a:lnTo>
                    <a:pt x="572476" y="129413"/>
                  </a:lnTo>
                  <a:lnTo>
                    <a:pt x="517651" y="151725"/>
                  </a:lnTo>
                  <a:lnTo>
                    <a:pt x="473026" y="133238"/>
                  </a:lnTo>
                  <a:lnTo>
                    <a:pt x="460913" y="118575"/>
                  </a:lnTo>
                  <a:lnTo>
                    <a:pt x="425851" y="121125"/>
                  </a:lnTo>
                  <a:lnTo>
                    <a:pt x="402263" y="109013"/>
                  </a:lnTo>
                  <a:lnTo>
                    <a:pt x="409913" y="99450"/>
                  </a:lnTo>
                  <a:lnTo>
                    <a:pt x="379313" y="89250"/>
                  </a:lnTo>
                  <a:lnTo>
                    <a:pt x="351901" y="89250"/>
                  </a:lnTo>
                  <a:lnTo>
                    <a:pt x="309188" y="107738"/>
                  </a:lnTo>
                  <a:lnTo>
                    <a:pt x="300901" y="94988"/>
                  </a:lnTo>
                  <a:lnTo>
                    <a:pt x="233325" y="82875"/>
                  </a:lnTo>
                  <a:lnTo>
                    <a:pt x="210375" y="25500"/>
                  </a:lnTo>
                  <a:lnTo>
                    <a:pt x="207825" y="8287"/>
                  </a:lnTo>
                  <a:lnTo>
                    <a:pt x="177863" y="0"/>
                  </a:lnTo>
                  <a:lnTo>
                    <a:pt x="180413" y="49725"/>
                  </a:lnTo>
                  <a:lnTo>
                    <a:pt x="102638" y="55463"/>
                  </a:lnTo>
                  <a:lnTo>
                    <a:pt x="5100" y="59288"/>
                  </a:lnTo>
                  <a:lnTo>
                    <a:pt x="0" y="59288"/>
                  </a:lnTo>
                  <a:lnTo>
                    <a:pt x="0" y="60563"/>
                  </a:lnTo>
                  <a:close/>
                </a:path>
              </a:pathLst>
            </a:custGeom>
            <a:solidFill>
              <a:schemeClr val="bg1">
                <a:lumMod val="85000"/>
              </a:schemeClr>
            </a:solidFill>
            <a:ln w="6372" cap="flat">
              <a:solidFill>
                <a:schemeClr val="bg1">
                  <a:lumMod val="95000"/>
                </a:schemeClr>
              </a:solidFill>
              <a:prstDash val="solid"/>
              <a:miter/>
            </a:ln>
          </p:spPr>
          <p:txBody>
            <a:bodyPr rtlCol="0" anchor="ctr"/>
            <a:lstStyle/>
            <a:p>
              <a:endParaRPr lang="en-KR" sz="1350"/>
            </a:p>
          </p:txBody>
        </p:sp>
        <p:sp>
          <p:nvSpPr>
            <p:cNvPr id="12" name="Freeform 20">
              <a:extLst>
                <a:ext uri="{FF2B5EF4-FFF2-40B4-BE49-F238E27FC236}">
                  <a16:creationId xmlns:a16="http://schemas.microsoft.com/office/drawing/2014/main" id="{01467F84-AC8E-DEBB-C53F-5FD3E7562C1D}"/>
                </a:ext>
              </a:extLst>
            </p:cNvPr>
            <p:cNvSpPr/>
            <p:nvPr/>
          </p:nvSpPr>
          <p:spPr>
            <a:xfrm>
              <a:off x="2925686" y="1211234"/>
              <a:ext cx="1075464" cy="673201"/>
            </a:xfrm>
            <a:custGeom>
              <a:avLst/>
              <a:gdLst>
                <a:gd name="connsiteX0" fmla="*/ 1063990 w 1075464"/>
                <a:gd name="connsiteY0" fmla="*/ 132600 h 673201"/>
                <a:gd name="connsiteX1" fmla="*/ 851702 w 1075464"/>
                <a:gd name="connsiteY1" fmla="*/ 118575 h 673201"/>
                <a:gd name="connsiteX2" fmla="*/ 696789 w 1075464"/>
                <a:gd name="connsiteY2" fmla="*/ 103913 h 673201"/>
                <a:gd name="connsiteX3" fmla="*/ 542514 w 1075464"/>
                <a:gd name="connsiteY3" fmla="*/ 86063 h 673201"/>
                <a:gd name="connsiteX4" fmla="*/ 446251 w 1075464"/>
                <a:gd name="connsiteY4" fmla="*/ 73313 h 673201"/>
                <a:gd name="connsiteX5" fmla="*/ 293251 w 1075464"/>
                <a:gd name="connsiteY5" fmla="*/ 49725 h 673201"/>
                <a:gd name="connsiteX6" fmla="*/ 216750 w 1075464"/>
                <a:gd name="connsiteY6" fmla="*/ 36975 h 673201"/>
                <a:gd name="connsiteX7" fmla="*/ 45900 w 1075464"/>
                <a:gd name="connsiteY7" fmla="*/ 3825 h 673201"/>
                <a:gd name="connsiteX8" fmla="*/ 28050 w 1075464"/>
                <a:gd name="connsiteY8" fmla="*/ 0 h 673201"/>
                <a:gd name="connsiteX9" fmla="*/ 0 w 1075464"/>
                <a:gd name="connsiteY9" fmla="*/ 130050 h 673201"/>
                <a:gd name="connsiteX10" fmla="*/ 12112 w 1075464"/>
                <a:gd name="connsiteY10" fmla="*/ 153638 h 673201"/>
                <a:gd name="connsiteX11" fmla="*/ 22313 w 1075464"/>
                <a:gd name="connsiteY11" fmla="*/ 189975 h 673201"/>
                <a:gd name="connsiteX12" fmla="*/ 16575 w 1075464"/>
                <a:gd name="connsiteY12" fmla="*/ 195075 h 673201"/>
                <a:gd name="connsiteX13" fmla="*/ 28688 w 1075464"/>
                <a:gd name="connsiteY13" fmla="*/ 228225 h 673201"/>
                <a:gd name="connsiteX14" fmla="*/ 45263 w 1075464"/>
                <a:gd name="connsiteY14" fmla="*/ 242250 h 673201"/>
                <a:gd name="connsiteX15" fmla="*/ 93075 w 1075464"/>
                <a:gd name="connsiteY15" fmla="*/ 321938 h 673201"/>
                <a:gd name="connsiteX16" fmla="*/ 97538 w 1075464"/>
                <a:gd name="connsiteY16" fmla="*/ 335326 h 673201"/>
                <a:gd name="connsiteX17" fmla="*/ 116663 w 1075464"/>
                <a:gd name="connsiteY17" fmla="*/ 334051 h 673201"/>
                <a:gd name="connsiteX18" fmla="*/ 94350 w 1075464"/>
                <a:gd name="connsiteY18" fmla="*/ 439238 h 673201"/>
                <a:gd name="connsiteX19" fmla="*/ 84788 w 1075464"/>
                <a:gd name="connsiteY19" fmla="*/ 441788 h 673201"/>
                <a:gd name="connsiteX20" fmla="*/ 72675 w 1075464"/>
                <a:gd name="connsiteY20" fmla="*/ 476851 h 673201"/>
                <a:gd name="connsiteX21" fmla="*/ 136425 w 1075464"/>
                <a:gd name="connsiteY21" fmla="*/ 481313 h 673201"/>
                <a:gd name="connsiteX22" fmla="*/ 141525 w 1075464"/>
                <a:gd name="connsiteY22" fmla="*/ 511276 h 673201"/>
                <a:gd name="connsiteX23" fmla="*/ 177225 w 1075464"/>
                <a:gd name="connsiteY23" fmla="*/ 599251 h 673201"/>
                <a:gd name="connsiteX24" fmla="*/ 183600 w 1075464"/>
                <a:gd name="connsiteY24" fmla="*/ 604351 h 673201"/>
                <a:gd name="connsiteX25" fmla="*/ 208463 w 1075464"/>
                <a:gd name="connsiteY25" fmla="*/ 655989 h 673201"/>
                <a:gd name="connsiteX26" fmla="*/ 214838 w 1075464"/>
                <a:gd name="connsiteY26" fmla="*/ 650889 h 673201"/>
                <a:gd name="connsiteX27" fmla="*/ 268388 w 1075464"/>
                <a:gd name="connsiteY27" fmla="*/ 650251 h 673201"/>
                <a:gd name="connsiteX28" fmla="*/ 335963 w 1075464"/>
                <a:gd name="connsiteY28" fmla="*/ 657264 h 673201"/>
                <a:gd name="connsiteX29" fmla="*/ 352538 w 1075464"/>
                <a:gd name="connsiteY29" fmla="*/ 635589 h 673201"/>
                <a:gd name="connsiteX30" fmla="*/ 372301 w 1075464"/>
                <a:gd name="connsiteY30" fmla="*/ 671289 h 673201"/>
                <a:gd name="connsiteX31" fmla="*/ 376126 w 1075464"/>
                <a:gd name="connsiteY31" fmla="*/ 673201 h 673201"/>
                <a:gd name="connsiteX32" fmla="*/ 376763 w 1075464"/>
                <a:gd name="connsiteY32" fmla="*/ 669376 h 673201"/>
                <a:gd name="connsiteX33" fmla="*/ 386326 w 1075464"/>
                <a:gd name="connsiteY33" fmla="*/ 606264 h 673201"/>
                <a:gd name="connsiteX34" fmla="*/ 606264 w 1075464"/>
                <a:gd name="connsiteY34" fmla="*/ 633676 h 673201"/>
                <a:gd name="connsiteX35" fmla="*/ 781577 w 1075464"/>
                <a:gd name="connsiteY35" fmla="*/ 650251 h 673201"/>
                <a:gd name="connsiteX36" fmla="*/ 874014 w 1075464"/>
                <a:gd name="connsiteY36" fmla="*/ 657901 h 673201"/>
                <a:gd name="connsiteX37" fmla="*/ 1038490 w 1075464"/>
                <a:gd name="connsiteY37" fmla="*/ 668101 h 673201"/>
                <a:gd name="connsiteX38" fmla="*/ 1046777 w 1075464"/>
                <a:gd name="connsiteY38" fmla="*/ 668739 h 673201"/>
                <a:gd name="connsiteX39" fmla="*/ 1048690 w 1075464"/>
                <a:gd name="connsiteY39" fmla="*/ 668739 h 673201"/>
                <a:gd name="connsiteX40" fmla="*/ 1049327 w 1075464"/>
                <a:gd name="connsiteY40" fmla="*/ 659176 h 673201"/>
                <a:gd name="connsiteX41" fmla="*/ 1051240 w 1075464"/>
                <a:gd name="connsiteY41" fmla="*/ 614551 h 673201"/>
                <a:gd name="connsiteX42" fmla="*/ 1053790 w 1075464"/>
                <a:gd name="connsiteY42" fmla="*/ 556539 h 673201"/>
                <a:gd name="connsiteX43" fmla="*/ 1054427 w 1075464"/>
                <a:gd name="connsiteY43" fmla="*/ 541876 h 673201"/>
                <a:gd name="connsiteX44" fmla="*/ 1055702 w 1075464"/>
                <a:gd name="connsiteY44" fmla="*/ 516376 h 673201"/>
                <a:gd name="connsiteX45" fmla="*/ 1066540 w 1075464"/>
                <a:gd name="connsiteY45" fmla="*/ 314288 h 673201"/>
                <a:gd name="connsiteX46" fmla="*/ 1074827 w 1075464"/>
                <a:gd name="connsiteY46" fmla="*/ 157463 h 673201"/>
                <a:gd name="connsiteX47" fmla="*/ 1075465 w 1075464"/>
                <a:gd name="connsiteY47" fmla="*/ 131963 h 673201"/>
                <a:gd name="connsiteX48" fmla="*/ 1063990 w 1075464"/>
                <a:gd name="connsiteY48" fmla="*/ 132600 h 673201"/>
                <a:gd name="connsiteX49" fmla="*/ 1063990 w 1075464"/>
                <a:gd name="connsiteY49" fmla="*/ 132600 h 6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75464" h="673201">
                  <a:moveTo>
                    <a:pt x="1063990" y="132600"/>
                  </a:moveTo>
                  <a:lnTo>
                    <a:pt x="851702" y="118575"/>
                  </a:lnTo>
                  <a:lnTo>
                    <a:pt x="696789" y="103913"/>
                  </a:lnTo>
                  <a:lnTo>
                    <a:pt x="542514" y="86063"/>
                  </a:lnTo>
                  <a:lnTo>
                    <a:pt x="446251" y="73313"/>
                  </a:lnTo>
                  <a:lnTo>
                    <a:pt x="293251" y="49725"/>
                  </a:lnTo>
                  <a:lnTo>
                    <a:pt x="216750" y="36975"/>
                  </a:lnTo>
                  <a:lnTo>
                    <a:pt x="45900" y="3825"/>
                  </a:lnTo>
                  <a:lnTo>
                    <a:pt x="28050" y="0"/>
                  </a:lnTo>
                  <a:lnTo>
                    <a:pt x="0" y="130050"/>
                  </a:lnTo>
                  <a:lnTo>
                    <a:pt x="12112" y="153638"/>
                  </a:lnTo>
                  <a:lnTo>
                    <a:pt x="22313" y="189975"/>
                  </a:lnTo>
                  <a:lnTo>
                    <a:pt x="16575" y="195075"/>
                  </a:lnTo>
                  <a:lnTo>
                    <a:pt x="28688" y="228225"/>
                  </a:lnTo>
                  <a:lnTo>
                    <a:pt x="45263" y="242250"/>
                  </a:lnTo>
                  <a:lnTo>
                    <a:pt x="93075" y="321938"/>
                  </a:lnTo>
                  <a:lnTo>
                    <a:pt x="97538" y="335326"/>
                  </a:lnTo>
                  <a:lnTo>
                    <a:pt x="116663" y="334051"/>
                  </a:lnTo>
                  <a:lnTo>
                    <a:pt x="94350" y="439238"/>
                  </a:lnTo>
                  <a:lnTo>
                    <a:pt x="84788" y="441788"/>
                  </a:lnTo>
                  <a:lnTo>
                    <a:pt x="72675" y="476851"/>
                  </a:lnTo>
                  <a:lnTo>
                    <a:pt x="136425" y="481313"/>
                  </a:lnTo>
                  <a:lnTo>
                    <a:pt x="141525" y="511276"/>
                  </a:lnTo>
                  <a:lnTo>
                    <a:pt x="177225" y="599251"/>
                  </a:lnTo>
                  <a:lnTo>
                    <a:pt x="183600" y="604351"/>
                  </a:lnTo>
                  <a:lnTo>
                    <a:pt x="208463" y="655989"/>
                  </a:lnTo>
                  <a:lnTo>
                    <a:pt x="214838" y="650889"/>
                  </a:lnTo>
                  <a:lnTo>
                    <a:pt x="268388" y="650251"/>
                  </a:lnTo>
                  <a:lnTo>
                    <a:pt x="335963" y="657264"/>
                  </a:lnTo>
                  <a:lnTo>
                    <a:pt x="352538" y="635589"/>
                  </a:lnTo>
                  <a:lnTo>
                    <a:pt x="372301" y="671289"/>
                  </a:lnTo>
                  <a:lnTo>
                    <a:pt x="376126" y="673201"/>
                  </a:lnTo>
                  <a:lnTo>
                    <a:pt x="376763" y="669376"/>
                  </a:lnTo>
                  <a:lnTo>
                    <a:pt x="386326" y="606264"/>
                  </a:lnTo>
                  <a:lnTo>
                    <a:pt x="606264" y="633676"/>
                  </a:lnTo>
                  <a:lnTo>
                    <a:pt x="781577" y="650251"/>
                  </a:lnTo>
                  <a:lnTo>
                    <a:pt x="874014" y="657901"/>
                  </a:lnTo>
                  <a:lnTo>
                    <a:pt x="1038490" y="668101"/>
                  </a:lnTo>
                  <a:lnTo>
                    <a:pt x="1046777" y="668739"/>
                  </a:lnTo>
                  <a:lnTo>
                    <a:pt x="1048690" y="668739"/>
                  </a:lnTo>
                  <a:lnTo>
                    <a:pt x="1049327" y="659176"/>
                  </a:lnTo>
                  <a:lnTo>
                    <a:pt x="1051240" y="614551"/>
                  </a:lnTo>
                  <a:lnTo>
                    <a:pt x="1053790" y="556539"/>
                  </a:lnTo>
                  <a:lnTo>
                    <a:pt x="1054427" y="541876"/>
                  </a:lnTo>
                  <a:lnTo>
                    <a:pt x="1055702" y="516376"/>
                  </a:lnTo>
                  <a:lnTo>
                    <a:pt x="1066540" y="314288"/>
                  </a:lnTo>
                  <a:lnTo>
                    <a:pt x="1074827" y="157463"/>
                  </a:lnTo>
                  <a:lnTo>
                    <a:pt x="1075465" y="131963"/>
                  </a:lnTo>
                  <a:lnTo>
                    <a:pt x="1063990" y="132600"/>
                  </a:lnTo>
                  <a:lnTo>
                    <a:pt x="1063990" y="132600"/>
                  </a:lnTo>
                  <a:close/>
                </a:path>
              </a:pathLst>
            </a:custGeom>
            <a:solidFill>
              <a:schemeClr val="bg1">
                <a:lumMod val="85000"/>
              </a:schemeClr>
            </a:solidFill>
            <a:ln w="6372" cap="flat">
              <a:solidFill>
                <a:schemeClr val="bg1">
                  <a:lumMod val="95000"/>
                </a:schemeClr>
              </a:solidFill>
              <a:prstDash val="solid"/>
              <a:miter/>
            </a:ln>
          </p:spPr>
          <p:txBody>
            <a:bodyPr rtlCol="0" anchor="ctr"/>
            <a:lstStyle/>
            <a:p>
              <a:endParaRPr lang="en-KR" sz="1350"/>
            </a:p>
          </p:txBody>
        </p:sp>
        <p:sp>
          <p:nvSpPr>
            <p:cNvPr id="14" name="Freeform 21">
              <a:extLst>
                <a:ext uri="{FF2B5EF4-FFF2-40B4-BE49-F238E27FC236}">
                  <a16:creationId xmlns:a16="http://schemas.microsoft.com/office/drawing/2014/main" id="{67F3C3AA-FF85-5CB1-E136-DD3E0C287A05}"/>
                </a:ext>
              </a:extLst>
            </p:cNvPr>
            <p:cNvSpPr/>
            <p:nvPr/>
          </p:nvSpPr>
          <p:spPr>
            <a:xfrm>
              <a:off x="3979475" y="1344472"/>
              <a:ext cx="699338" cy="418838"/>
            </a:xfrm>
            <a:custGeom>
              <a:avLst/>
              <a:gdLst>
                <a:gd name="connsiteX0" fmla="*/ 610726 w 699338"/>
                <a:gd name="connsiteY0" fmla="*/ 5100 h 418838"/>
                <a:gd name="connsiteX1" fmla="*/ 416926 w 699338"/>
                <a:gd name="connsiteY1" fmla="*/ 8925 h 418838"/>
                <a:gd name="connsiteX2" fmla="*/ 281138 w 699338"/>
                <a:gd name="connsiteY2" fmla="*/ 8287 h 418838"/>
                <a:gd name="connsiteX3" fmla="*/ 164475 w 699338"/>
                <a:gd name="connsiteY3" fmla="*/ 5737 h 418838"/>
                <a:gd name="connsiteX4" fmla="*/ 28050 w 699338"/>
                <a:gd name="connsiteY4" fmla="*/ 637 h 418838"/>
                <a:gd name="connsiteX5" fmla="*/ 21038 w 699338"/>
                <a:gd name="connsiteY5" fmla="*/ 0 h 418838"/>
                <a:gd name="connsiteX6" fmla="*/ 20400 w 699338"/>
                <a:gd name="connsiteY6" fmla="*/ 25500 h 418838"/>
                <a:gd name="connsiteX7" fmla="*/ 12113 w 699338"/>
                <a:gd name="connsiteY7" fmla="*/ 182325 h 418838"/>
                <a:gd name="connsiteX8" fmla="*/ 1275 w 699338"/>
                <a:gd name="connsiteY8" fmla="*/ 384413 h 418838"/>
                <a:gd name="connsiteX9" fmla="*/ 0 w 699338"/>
                <a:gd name="connsiteY9" fmla="*/ 409913 h 418838"/>
                <a:gd name="connsiteX10" fmla="*/ 24863 w 699338"/>
                <a:gd name="connsiteY10" fmla="*/ 411188 h 418838"/>
                <a:gd name="connsiteX11" fmla="*/ 307913 w 699338"/>
                <a:gd name="connsiteY11" fmla="*/ 418838 h 418838"/>
                <a:gd name="connsiteX12" fmla="*/ 569289 w 699338"/>
                <a:gd name="connsiteY12" fmla="*/ 416926 h 418838"/>
                <a:gd name="connsiteX13" fmla="*/ 677664 w 699338"/>
                <a:gd name="connsiteY13" fmla="*/ 413738 h 418838"/>
                <a:gd name="connsiteX14" fmla="*/ 699339 w 699338"/>
                <a:gd name="connsiteY14" fmla="*/ 412463 h 418838"/>
                <a:gd name="connsiteX15" fmla="*/ 696789 w 699338"/>
                <a:gd name="connsiteY15" fmla="*/ 402263 h 418838"/>
                <a:gd name="connsiteX16" fmla="*/ 693601 w 699338"/>
                <a:gd name="connsiteY16" fmla="*/ 372301 h 418838"/>
                <a:gd name="connsiteX17" fmla="*/ 678939 w 699338"/>
                <a:gd name="connsiteY17" fmla="*/ 337876 h 418838"/>
                <a:gd name="connsiteX18" fmla="*/ 675114 w 699338"/>
                <a:gd name="connsiteY18" fmla="*/ 280501 h 418838"/>
                <a:gd name="connsiteX19" fmla="*/ 662364 w 699338"/>
                <a:gd name="connsiteY19" fmla="*/ 214838 h 418838"/>
                <a:gd name="connsiteX20" fmla="*/ 634952 w 699338"/>
                <a:gd name="connsiteY20" fmla="*/ 51000 h 418838"/>
                <a:gd name="connsiteX21" fmla="*/ 622202 w 699338"/>
                <a:gd name="connsiteY21" fmla="*/ 5100 h 418838"/>
                <a:gd name="connsiteX22" fmla="*/ 610726 w 699338"/>
                <a:gd name="connsiteY22" fmla="*/ 5100 h 418838"/>
                <a:gd name="connsiteX23" fmla="*/ 610726 w 699338"/>
                <a:gd name="connsiteY23" fmla="*/ 5100 h 41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338" h="418838">
                  <a:moveTo>
                    <a:pt x="610726" y="5100"/>
                  </a:moveTo>
                  <a:lnTo>
                    <a:pt x="416926" y="8925"/>
                  </a:lnTo>
                  <a:lnTo>
                    <a:pt x="281138" y="8287"/>
                  </a:lnTo>
                  <a:lnTo>
                    <a:pt x="164475" y="5737"/>
                  </a:lnTo>
                  <a:lnTo>
                    <a:pt x="28050" y="637"/>
                  </a:lnTo>
                  <a:lnTo>
                    <a:pt x="21038" y="0"/>
                  </a:lnTo>
                  <a:lnTo>
                    <a:pt x="20400" y="25500"/>
                  </a:lnTo>
                  <a:lnTo>
                    <a:pt x="12113" y="182325"/>
                  </a:lnTo>
                  <a:lnTo>
                    <a:pt x="1275" y="384413"/>
                  </a:lnTo>
                  <a:lnTo>
                    <a:pt x="0" y="409913"/>
                  </a:lnTo>
                  <a:lnTo>
                    <a:pt x="24863" y="411188"/>
                  </a:lnTo>
                  <a:lnTo>
                    <a:pt x="307913" y="418838"/>
                  </a:lnTo>
                  <a:lnTo>
                    <a:pt x="569289" y="416926"/>
                  </a:lnTo>
                  <a:lnTo>
                    <a:pt x="677664" y="413738"/>
                  </a:lnTo>
                  <a:lnTo>
                    <a:pt x="699339" y="412463"/>
                  </a:lnTo>
                  <a:lnTo>
                    <a:pt x="696789" y="402263"/>
                  </a:lnTo>
                  <a:lnTo>
                    <a:pt x="693601" y="372301"/>
                  </a:lnTo>
                  <a:lnTo>
                    <a:pt x="678939" y="337876"/>
                  </a:lnTo>
                  <a:lnTo>
                    <a:pt x="675114" y="280501"/>
                  </a:lnTo>
                  <a:lnTo>
                    <a:pt x="662364" y="214838"/>
                  </a:lnTo>
                  <a:lnTo>
                    <a:pt x="634952" y="51000"/>
                  </a:lnTo>
                  <a:lnTo>
                    <a:pt x="622202" y="5100"/>
                  </a:lnTo>
                  <a:lnTo>
                    <a:pt x="610726" y="5100"/>
                  </a:lnTo>
                  <a:lnTo>
                    <a:pt x="610726" y="510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026" name="Freeform 23">
              <a:extLst>
                <a:ext uri="{FF2B5EF4-FFF2-40B4-BE49-F238E27FC236}">
                  <a16:creationId xmlns:a16="http://schemas.microsoft.com/office/drawing/2014/main" id="{44E762FF-5F44-CFFA-5CE7-0E1AA9BCE8FA}"/>
                </a:ext>
              </a:extLst>
            </p:cNvPr>
            <p:cNvSpPr/>
            <p:nvPr/>
          </p:nvSpPr>
          <p:spPr>
            <a:xfrm>
              <a:off x="2673235" y="1193384"/>
              <a:ext cx="629213" cy="1025739"/>
            </a:xfrm>
            <a:custGeom>
              <a:avLst/>
              <a:gdLst>
                <a:gd name="connsiteX0" fmla="*/ 279863 w 629213"/>
                <a:gd name="connsiteY0" fmla="*/ 17850 h 1025739"/>
                <a:gd name="connsiteX1" fmla="*/ 223125 w 629213"/>
                <a:gd name="connsiteY1" fmla="*/ 6375 h 1025739"/>
                <a:gd name="connsiteX2" fmla="*/ 204638 w 629213"/>
                <a:gd name="connsiteY2" fmla="*/ 1913 h 1025739"/>
                <a:gd name="connsiteX3" fmla="*/ 196351 w 629213"/>
                <a:gd name="connsiteY3" fmla="*/ 0 h 1025739"/>
                <a:gd name="connsiteX4" fmla="*/ 121763 w 629213"/>
                <a:gd name="connsiteY4" fmla="*/ 335326 h 1025739"/>
                <a:gd name="connsiteX5" fmla="*/ 124950 w 629213"/>
                <a:gd name="connsiteY5" fmla="*/ 363376 h 1025739"/>
                <a:gd name="connsiteX6" fmla="*/ 122400 w 629213"/>
                <a:gd name="connsiteY6" fmla="*/ 392701 h 1025739"/>
                <a:gd name="connsiteX7" fmla="*/ 123675 w 629213"/>
                <a:gd name="connsiteY7" fmla="*/ 399076 h 1025739"/>
                <a:gd name="connsiteX8" fmla="*/ 123675 w 629213"/>
                <a:gd name="connsiteY8" fmla="*/ 399713 h 1025739"/>
                <a:gd name="connsiteX9" fmla="*/ 124313 w 629213"/>
                <a:gd name="connsiteY9" fmla="*/ 411826 h 1025739"/>
                <a:gd name="connsiteX10" fmla="*/ 145988 w 629213"/>
                <a:gd name="connsiteY10" fmla="*/ 435413 h 1025739"/>
                <a:gd name="connsiteX11" fmla="*/ 114113 w 629213"/>
                <a:gd name="connsiteY11" fmla="*/ 514464 h 1025739"/>
                <a:gd name="connsiteX12" fmla="*/ 47813 w 629213"/>
                <a:gd name="connsiteY12" fmla="*/ 601164 h 1025739"/>
                <a:gd name="connsiteX13" fmla="*/ 45900 w 629213"/>
                <a:gd name="connsiteY13" fmla="*/ 617101 h 1025739"/>
                <a:gd name="connsiteX14" fmla="*/ 63113 w 629213"/>
                <a:gd name="connsiteY14" fmla="*/ 657901 h 1025739"/>
                <a:gd name="connsiteX15" fmla="*/ 2550 w 629213"/>
                <a:gd name="connsiteY15" fmla="*/ 910989 h 1025739"/>
                <a:gd name="connsiteX16" fmla="*/ 0 w 629213"/>
                <a:gd name="connsiteY16" fmla="*/ 924377 h 1025739"/>
                <a:gd name="connsiteX17" fmla="*/ 17850 w 629213"/>
                <a:gd name="connsiteY17" fmla="*/ 928202 h 1025739"/>
                <a:gd name="connsiteX18" fmla="*/ 199538 w 629213"/>
                <a:gd name="connsiteY18" fmla="*/ 963902 h 1025739"/>
                <a:gd name="connsiteX19" fmla="*/ 272213 w 629213"/>
                <a:gd name="connsiteY19" fmla="*/ 977289 h 1025739"/>
                <a:gd name="connsiteX20" fmla="*/ 290701 w 629213"/>
                <a:gd name="connsiteY20" fmla="*/ 980477 h 1025739"/>
                <a:gd name="connsiteX21" fmla="*/ 308551 w 629213"/>
                <a:gd name="connsiteY21" fmla="*/ 983664 h 1025739"/>
                <a:gd name="connsiteX22" fmla="*/ 400988 w 629213"/>
                <a:gd name="connsiteY22" fmla="*/ 998327 h 1025739"/>
                <a:gd name="connsiteX23" fmla="*/ 566739 w 629213"/>
                <a:gd name="connsiteY23" fmla="*/ 1023190 h 1025739"/>
                <a:gd name="connsiteX24" fmla="*/ 585226 w 629213"/>
                <a:gd name="connsiteY24" fmla="*/ 1025740 h 1025739"/>
                <a:gd name="connsiteX25" fmla="*/ 587776 w 629213"/>
                <a:gd name="connsiteY25" fmla="*/ 1004702 h 1025739"/>
                <a:gd name="connsiteX26" fmla="*/ 593514 w 629213"/>
                <a:gd name="connsiteY26" fmla="*/ 963264 h 1025739"/>
                <a:gd name="connsiteX27" fmla="*/ 615189 w 629213"/>
                <a:gd name="connsiteY27" fmla="*/ 796239 h 1025739"/>
                <a:gd name="connsiteX28" fmla="*/ 626664 w 629213"/>
                <a:gd name="connsiteY28" fmla="*/ 713364 h 1025739"/>
                <a:gd name="connsiteX29" fmla="*/ 629214 w 629213"/>
                <a:gd name="connsiteY29" fmla="*/ 692326 h 1025739"/>
                <a:gd name="connsiteX30" fmla="*/ 625389 w 629213"/>
                <a:gd name="connsiteY30" fmla="*/ 690414 h 1025739"/>
                <a:gd name="connsiteX31" fmla="*/ 605626 w 629213"/>
                <a:gd name="connsiteY31" fmla="*/ 654714 h 1025739"/>
                <a:gd name="connsiteX32" fmla="*/ 589051 w 629213"/>
                <a:gd name="connsiteY32" fmla="*/ 676389 h 1025739"/>
                <a:gd name="connsiteX33" fmla="*/ 521476 w 629213"/>
                <a:gd name="connsiteY33" fmla="*/ 669376 h 1025739"/>
                <a:gd name="connsiteX34" fmla="*/ 467926 w 629213"/>
                <a:gd name="connsiteY34" fmla="*/ 670014 h 1025739"/>
                <a:gd name="connsiteX35" fmla="*/ 461551 w 629213"/>
                <a:gd name="connsiteY35" fmla="*/ 675114 h 1025739"/>
                <a:gd name="connsiteX36" fmla="*/ 436688 w 629213"/>
                <a:gd name="connsiteY36" fmla="*/ 623476 h 1025739"/>
                <a:gd name="connsiteX37" fmla="*/ 430313 w 629213"/>
                <a:gd name="connsiteY37" fmla="*/ 618376 h 1025739"/>
                <a:gd name="connsiteX38" fmla="*/ 394613 w 629213"/>
                <a:gd name="connsiteY38" fmla="*/ 530401 h 1025739"/>
                <a:gd name="connsiteX39" fmla="*/ 389513 w 629213"/>
                <a:gd name="connsiteY39" fmla="*/ 500439 h 1025739"/>
                <a:gd name="connsiteX40" fmla="*/ 325763 w 629213"/>
                <a:gd name="connsiteY40" fmla="*/ 495976 h 1025739"/>
                <a:gd name="connsiteX41" fmla="*/ 337876 w 629213"/>
                <a:gd name="connsiteY41" fmla="*/ 460913 h 1025739"/>
                <a:gd name="connsiteX42" fmla="*/ 347438 w 629213"/>
                <a:gd name="connsiteY42" fmla="*/ 458363 h 1025739"/>
                <a:gd name="connsiteX43" fmla="*/ 369751 w 629213"/>
                <a:gd name="connsiteY43" fmla="*/ 353176 h 1025739"/>
                <a:gd name="connsiteX44" fmla="*/ 350626 w 629213"/>
                <a:gd name="connsiteY44" fmla="*/ 354451 h 1025739"/>
                <a:gd name="connsiteX45" fmla="*/ 346163 w 629213"/>
                <a:gd name="connsiteY45" fmla="*/ 341063 h 1025739"/>
                <a:gd name="connsiteX46" fmla="*/ 298351 w 629213"/>
                <a:gd name="connsiteY46" fmla="*/ 261376 h 1025739"/>
                <a:gd name="connsiteX47" fmla="*/ 281776 w 629213"/>
                <a:gd name="connsiteY47" fmla="*/ 247350 h 1025739"/>
                <a:gd name="connsiteX48" fmla="*/ 269663 w 629213"/>
                <a:gd name="connsiteY48" fmla="*/ 214200 h 1025739"/>
                <a:gd name="connsiteX49" fmla="*/ 275401 w 629213"/>
                <a:gd name="connsiteY49" fmla="*/ 209100 h 1025739"/>
                <a:gd name="connsiteX50" fmla="*/ 265201 w 629213"/>
                <a:gd name="connsiteY50" fmla="*/ 172763 h 1025739"/>
                <a:gd name="connsiteX51" fmla="*/ 253088 w 629213"/>
                <a:gd name="connsiteY51" fmla="*/ 149175 h 1025739"/>
                <a:gd name="connsiteX52" fmla="*/ 279863 w 629213"/>
                <a:gd name="connsiteY52" fmla="*/ 17850 h 1025739"/>
                <a:gd name="connsiteX53" fmla="*/ 279863 w 629213"/>
                <a:gd name="connsiteY53" fmla="*/ 17850 h 1025739"/>
                <a:gd name="connsiteX54" fmla="*/ 279863 w 629213"/>
                <a:gd name="connsiteY54" fmla="*/ 17850 h 10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29213" h="1025739">
                  <a:moveTo>
                    <a:pt x="279863" y="17850"/>
                  </a:moveTo>
                  <a:lnTo>
                    <a:pt x="223125" y="6375"/>
                  </a:lnTo>
                  <a:lnTo>
                    <a:pt x="204638" y="1913"/>
                  </a:lnTo>
                  <a:lnTo>
                    <a:pt x="196351" y="0"/>
                  </a:lnTo>
                  <a:lnTo>
                    <a:pt x="121763" y="335326"/>
                  </a:lnTo>
                  <a:lnTo>
                    <a:pt x="124950" y="363376"/>
                  </a:lnTo>
                  <a:lnTo>
                    <a:pt x="122400" y="392701"/>
                  </a:lnTo>
                  <a:lnTo>
                    <a:pt x="123675" y="399076"/>
                  </a:lnTo>
                  <a:lnTo>
                    <a:pt x="123675" y="399713"/>
                  </a:lnTo>
                  <a:lnTo>
                    <a:pt x="124313" y="411826"/>
                  </a:lnTo>
                  <a:lnTo>
                    <a:pt x="145988" y="435413"/>
                  </a:lnTo>
                  <a:lnTo>
                    <a:pt x="114113" y="514464"/>
                  </a:lnTo>
                  <a:lnTo>
                    <a:pt x="47813" y="601164"/>
                  </a:lnTo>
                  <a:lnTo>
                    <a:pt x="45900" y="617101"/>
                  </a:lnTo>
                  <a:lnTo>
                    <a:pt x="63113" y="657901"/>
                  </a:lnTo>
                  <a:lnTo>
                    <a:pt x="2550" y="910989"/>
                  </a:lnTo>
                  <a:lnTo>
                    <a:pt x="0" y="924377"/>
                  </a:lnTo>
                  <a:lnTo>
                    <a:pt x="17850" y="928202"/>
                  </a:lnTo>
                  <a:lnTo>
                    <a:pt x="199538" y="963902"/>
                  </a:lnTo>
                  <a:lnTo>
                    <a:pt x="272213" y="977289"/>
                  </a:lnTo>
                  <a:lnTo>
                    <a:pt x="290701" y="980477"/>
                  </a:lnTo>
                  <a:lnTo>
                    <a:pt x="308551" y="983664"/>
                  </a:lnTo>
                  <a:lnTo>
                    <a:pt x="400988" y="998327"/>
                  </a:lnTo>
                  <a:lnTo>
                    <a:pt x="566739" y="1023190"/>
                  </a:lnTo>
                  <a:lnTo>
                    <a:pt x="585226" y="1025740"/>
                  </a:lnTo>
                  <a:lnTo>
                    <a:pt x="587776" y="1004702"/>
                  </a:lnTo>
                  <a:lnTo>
                    <a:pt x="593514" y="963264"/>
                  </a:lnTo>
                  <a:lnTo>
                    <a:pt x="615189" y="796239"/>
                  </a:lnTo>
                  <a:lnTo>
                    <a:pt x="626664" y="713364"/>
                  </a:lnTo>
                  <a:lnTo>
                    <a:pt x="629214" y="692326"/>
                  </a:lnTo>
                  <a:lnTo>
                    <a:pt x="625389" y="690414"/>
                  </a:lnTo>
                  <a:lnTo>
                    <a:pt x="605626" y="654714"/>
                  </a:lnTo>
                  <a:lnTo>
                    <a:pt x="589051" y="676389"/>
                  </a:lnTo>
                  <a:lnTo>
                    <a:pt x="521476" y="669376"/>
                  </a:lnTo>
                  <a:lnTo>
                    <a:pt x="467926" y="670014"/>
                  </a:lnTo>
                  <a:lnTo>
                    <a:pt x="461551" y="675114"/>
                  </a:lnTo>
                  <a:lnTo>
                    <a:pt x="436688" y="623476"/>
                  </a:lnTo>
                  <a:lnTo>
                    <a:pt x="430313" y="618376"/>
                  </a:lnTo>
                  <a:lnTo>
                    <a:pt x="394613" y="530401"/>
                  </a:lnTo>
                  <a:lnTo>
                    <a:pt x="389513" y="500439"/>
                  </a:lnTo>
                  <a:lnTo>
                    <a:pt x="325763" y="495976"/>
                  </a:lnTo>
                  <a:lnTo>
                    <a:pt x="337876" y="460913"/>
                  </a:lnTo>
                  <a:lnTo>
                    <a:pt x="347438" y="458363"/>
                  </a:lnTo>
                  <a:lnTo>
                    <a:pt x="369751" y="353176"/>
                  </a:lnTo>
                  <a:lnTo>
                    <a:pt x="350626" y="354451"/>
                  </a:lnTo>
                  <a:lnTo>
                    <a:pt x="346163" y="341063"/>
                  </a:lnTo>
                  <a:lnTo>
                    <a:pt x="298351" y="261376"/>
                  </a:lnTo>
                  <a:lnTo>
                    <a:pt x="281776" y="247350"/>
                  </a:lnTo>
                  <a:lnTo>
                    <a:pt x="269663" y="214200"/>
                  </a:lnTo>
                  <a:lnTo>
                    <a:pt x="275401" y="209100"/>
                  </a:lnTo>
                  <a:lnTo>
                    <a:pt x="265201" y="172763"/>
                  </a:lnTo>
                  <a:lnTo>
                    <a:pt x="253088" y="149175"/>
                  </a:lnTo>
                  <a:lnTo>
                    <a:pt x="279863" y="17850"/>
                  </a:lnTo>
                  <a:lnTo>
                    <a:pt x="279863" y="17850"/>
                  </a:lnTo>
                  <a:lnTo>
                    <a:pt x="279863" y="178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035" name="Freeform 24">
              <a:extLst>
                <a:ext uri="{FF2B5EF4-FFF2-40B4-BE49-F238E27FC236}">
                  <a16:creationId xmlns:a16="http://schemas.microsoft.com/office/drawing/2014/main" id="{E773E8DE-970C-E4D9-4FA0-15252A5736E9}"/>
                </a:ext>
              </a:extLst>
            </p:cNvPr>
            <p:cNvSpPr/>
            <p:nvPr/>
          </p:nvSpPr>
          <p:spPr>
            <a:xfrm>
              <a:off x="2166422" y="1069709"/>
              <a:ext cx="703801" cy="521475"/>
            </a:xfrm>
            <a:custGeom>
              <a:avLst/>
              <a:gdLst>
                <a:gd name="connsiteX0" fmla="*/ 12750 w 703801"/>
                <a:gd name="connsiteY0" fmla="*/ 301538 h 521475"/>
                <a:gd name="connsiteX1" fmla="*/ 13388 w 703801"/>
                <a:gd name="connsiteY1" fmla="*/ 290063 h 521475"/>
                <a:gd name="connsiteX2" fmla="*/ 12113 w 703801"/>
                <a:gd name="connsiteY2" fmla="*/ 290701 h 521475"/>
                <a:gd name="connsiteX3" fmla="*/ 12750 w 703801"/>
                <a:gd name="connsiteY3" fmla="*/ 301538 h 521475"/>
                <a:gd name="connsiteX4" fmla="*/ 12750 w 703801"/>
                <a:gd name="connsiteY4" fmla="*/ 301538 h 521475"/>
                <a:gd name="connsiteX5" fmla="*/ 149175 w 703801"/>
                <a:gd name="connsiteY5" fmla="*/ 242888 h 521475"/>
                <a:gd name="connsiteX6" fmla="*/ 153000 w 703801"/>
                <a:gd name="connsiteY6" fmla="*/ 236513 h 521475"/>
                <a:gd name="connsiteX7" fmla="*/ 148538 w 703801"/>
                <a:gd name="connsiteY7" fmla="*/ 235875 h 521475"/>
                <a:gd name="connsiteX8" fmla="*/ 149175 w 703801"/>
                <a:gd name="connsiteY8" fmla="*/ 242888 h 521475"/>
                <a:gd name="connsiteX9" fmla="*/ 149175 w 703801"/>
                <a:gd name="connsiteY9" fmla="*/ 242888 h 521475"/>
                <a:gd name="connsiteX10" fmla="*/ 137700 w 703801"/>
                <a:gd name="connsiteY10" fmla="*/ 231413 h 521475"/>
                <a:gd name="connsiteX11" fmla="*/ 141525 w 703801"/>
                <a:gd name="connsiteY11" fmla="*/ 218663 h 521475"/>
                <a:gd name="connsiteX12" fmla="*/ 137700 w 703801"/>
                <a:gd name="connsiteY12" fmla="*/ 217388 h 521475"/>
                <a:gd name="connsiteX13" fmla="*/ 137700 w 703801"/>
                <a:gd name="connsiteY13" fmla="*/ 231413 h 521475"/>
                <a:gd name="connsiteX14" fmla="*/ 183600 w 703801"/>
                <a:gd name="connsiteY14" fmla="*/ 212925 h 521475"/>
                <a:gd name="connsiteX15" fmla="*/ 182963 w 703801"/>
                <a:gd name="connsiteY15" fmla="*/ 200175 h 521475"/>
                <a:gd name="connsiteX16" fmla="*/ 171488 w 703801"/>
                <a:gd name="connsiteY16" fmla="*/ 216750 h 521475"/>
                <a:gd name="connsiteX17" fmla="*/ 183600 w 703801"/>
                <a:gd name="connsiteY17" fmla="*/ 212925 h 521475"/>
                <a:gd name="connsiteX18" fmla="*/ 183600 w 703801"/>
                <a:gd name="connsiteY18" fmla="*/ 212925 h 521475"/>
                <a:gd name="connsiteX19" fmla="*/ 185513 w 703801"/>
                <a:gd name="connsiteY19" fmla="*/ 185513 h 521475"/>
                <a:gd name="connsiteX20" fmla="*/ 187425 w 703801"/>
                <a:gd name="connsiteY20" fmla="*/ 172763 h 521475"/>
                <a:gd name="connsiteX21" fmla="*/ 186150 w 703801"/>
                <a:gd name="connsiteY21" fmla="*/ 169575 h 521475"/>
                <a:gd name="connsiteX22" fmla="*/ 185513 w 703801"/>
                <a:gd name="connsiteY22" fmla="*/ 185513 h 521475"/>
                <a:gd name="connsiteX23" fmla="*/ 185513 w 703801"/>
                <a:gd name="connsiteY23" fmla="*/ 185513 h 521475"/>
                <a:gd name="connsiteX24" fmla="*/ 187425 w 703801"/>
                <a:gd name="connsiteY24" fmla="*/ 123038 h 521475"/>
                <a:gd name="connsiteX25" fmla="*/ 186788 w 703801"/>
                <a:gd name="connsiteY25" fmla="*/ 116025 h 521475"/>
                <a:gd name="connsiteX26" fmla="*/ 184238 w 703801"/>
                <a:gd name="connsiteY26" fmla="*/ 115388 h 521475"/>
                <a:gd name="connsiteX27" fmla="*/ 187425 w 703801"/>
                <a:gd name="connsiteY27" fmla="*/ 123038 h 521475"/>
                <a:gd name="connsiteX28" fmla="*/ 187425 w 703801"/>
                <a:gd name="connsiteY28" fmla="*/ 123038 h 521475"/>
                <a:gd name="connsiteX29" fmla="*/ 207825 w 703801"/>
                <a:gd name="connsiteY29" fmla="*/ 80325 h 521475"/>
                <a:gd name="connsiteX30" fmla="*/ 202088 w 703801"/>
                <a:gd name="connsiteY30" fmla="*/ 79688 h 521475"/>
                <a:gd name="connsiteX31" fmla="*/ 190613 w 703801"/>
                <a:gd name="connsiteY31" fmla="*/ 97538 h 521475"/>
                <a:gd name="connsiteX32" fmla="*/ 207825 w 703801"/>
                <a:gd name="connsiteY32" fmla="*/ 80325 h 521475"/>
                <a:gd name="connsiteX33" fmla="*/ 191888 w 703801"/>
                <a:gd name="connsiteY33" fmla="*/ 62475 h 521475"/>
                <a:gd name="connsiteX34" fmla="*/ 195075 w 703801"/>
                <a:gd name="connsiteY34" fmla="*/ 59925 h 521475"/>
                <a:gd name="connsiteX35" fmla="*/ 195713 w 703801"/>
                <a:gd name="connsiteY35" fmla="*/ 58013 h 521475"/>
                <a:gd name="connsiteX36" fmla="*/ 191888 w 703801"/>
                <a:gd name="connsiteY36" fmla="*/ 62475 h 521475"/>
                <a:gd name="connsiteX37" fmla="*/ 191888 w 703801"/>
                <a:gd name="connsiteY37" fmla="*/ 62475 h 521475"/>
                <a:gd name="connsiteX38" fmla="*/ 188700 w 703801"/>
                <a:gd name="connsiteY38" fmla="*/ 64388 h 521475"/>
                <a:gd name="connsiteX39" fmla="*/ 186788 w 703801"/>
                <a:gd name="connsiteY39" fmla="*/ 51638 h 521475"/>
                <a:gd name="connsiteX40" fmla="*/ 181050 w 703801"/>
                <a:gd name="connsiteY40" fmla="*/ 63113 h 521475"/>
                <a:gd name="connsiteX41" fmla="*/ 188700 w 703801"/>
                <a:gd name="connsiteY41" fmla="*/ 64388 h 521475"/>
                <a:gd name="connsiteX42" fmla="*/ 188700 w 703801"/>
                <a:gd name="connsiteY42" fmla="*/ 64388 h 521475"/>
                <a:gd name="connsiteX43" fmla="*/ 185513 w 703801"/>
                <a:gd name="connsiteY43" fmla="*/ 46538 h 521475"/>
                <a:gd name="connsiteX44" fmla="*/ 179775 w 703801"/>
                <a:gd name="connsiteY44" fmla="*/ 43988 h 521475"/>
                <a:gd name="connsiteX45" fmla="*/ 184238 w 703801"/>
                <a:gd name="connsiteY45" fmla="*/ 50363 h 521475"/>
                <a:gd name="connsiteX46" fmla="*/ 185513 w 703801"/>
                <a:gd name="connsiteY46" fmla="*/ 46538 h 521475"/>
                <a:gd name="connsiteX47" fmla="*/ 185513 w 703801"/>
                <a:gd name="connsiteY47" fmla="*/ 46538 h 521475"/>
                <a:gd name="connsiteX48" fmla="*/ 205275 w 703801"/>
                <a:gd name="connsiteY48" fmla="*/ 58013 h 521475"/>
                <a:gd name="connsiteX49" fmla="*/ 205275 w 703801"/>
                <a:gd name="connsiteY49" fmla="*/ 49725 h 521475"/>
                <a:gd name="connsiteX50" fmla="*/ 203363 w 703801"/>
                <a:gd name="connsiteY50" fmla="*/ 52913 h 521475"/>
                <a:gd name="connsiteX51" fmla="*/ 205275 w 703801"/>
                <a:gd name="connsiteY51" fmla="*/ 58013 h 521475"/>
                <a:gd name="connsiteX52" fmla="*/ 210375 w 703801"/>
                <a:gd name="connsiteY52" fmla="*/ 49088 h 521475"/>
                <a:gd name="connsiteX53" fmla="*/ 207825 w 703801"/>
                <a:gd name="connsiteY53" fmla="*/ 47175 h 521475"/>
                <a:gd name="connsiteX54" fmla="*/ 207188 w 703801"/>
                <a:gd name="connsiteY54" fmla="*/ 47175 h 521475"/>
                <a:gd name="connsiteX55" fmla="*/ 210375 w 703801"/>
                <a:gd name="connsiteY55" fmla="*/ 49088 h 521475"/>
                <a:gd name="connsiteX56" fmla="*/ 210375 w 703801"/>
                <a:gd name="connsiteY56" fmla="*/ 49088 h 521475"/>
                <a:gd name="connsiteX57" fmla="*/ 174038 w 703801"/>
                <a:gd name="connsiteY57" fmla="*/ 35700 h 521475"/>
                <a:gd name="connsiteX58" fmla="*/ 170850 w 703801"/>
                <a:gd name="connsiteY58" fmla="*/ 33150 h 521475"/>
                <a:gd name="connsiteX59" fmla="*/ 169575 w 703801"/>
                <a:gd name="connsiteY59" fmla="*/ 32513 h 521475"/>
                <a:gd name="connsiteX60" fmla="*/ 174038 w 703801"/>
                <a:gd name="connsiteY60" fmla="*/ 35700 h 521475"/>
                <a:gd name="connsiteX61" fmla="*/ 197625 w 703801"/>
                <a:gd name="connsiteY61" fmla="*/ 32513 h 521475"/>
                <a:gd name="connsiteX62" fmla="*/ 180413 w 703801"/>
                <a:gd name="connsiteY62" fmla="*/ 36975 h 521475"/>
                <a:gd name="connsiteX63" fmla="*/ 184875 w 703801"/>
                <a:gd name="connsiteY63" fmla="*/ 38250 h 521475"/>
                <a:gd name="connsiteX64" fmla="*/ 197625 w 703801"/>
                <a:gd name="connsiteY64" fmla="*/ 32513 h 521475"/>
                <a:gd name="connsiteX65" fmla="*/ 183600 w 703801"/>
                <a:gd name="connsiteY65" fmla="*/ 31238 h 521475"/>
                <a:gd name="connsiteX66" fmla="*/ 180413 w 703801"/>
                <a:gd name="connsiteY66" fmla="*/ 27412 h 521475"/>
                <a:gd name="connsiteX67" fmla="*/ 179775 w 703801"/>
                <a:gd name="connsiteY67" fmla="*/ 28050 h 521475"/>
                <a:gd name="connsiteX68" fmla="*/ 183600 w 703801"/>
                <a:gd name="connsiteY68" fmla="*/ 31238 h 521475"/>
                <a:gd name="connsiteX69" fmla="*/ 183600 w 703801"/>
                <a:gd name="connsiteY69" fmla="*/ 31238 h 521475"/>
                <a:gd name="connsiteX70" fmla="*/ 196988 w 703801"/>
                <a:gd name="connsiteY70" fmla="*/ 23588 h 521475"/>
                <a:gd name="connsiteX71" fmla="*/ 194438 w 703801"/>
                <a:gd name="connsiteY71" fmla="*/ 23588 h 521475"/>
                <a:gd name="connsiteX72" fmla="*/ 197625 w 703801"/>
                <a:gd name="connsiteY72" fmla="*/ 24863 h 521475"/>
                <a:gd name="connsiteX73" fmla="*/ 196988 w 703801"/>
                <a:gd name="connsiteY73" fmla="*/ 23588 h 521475"/>
                <a:gd name="connsiteX74" fmla="*/ 196988 w 703801"/>
                <a:gd name="connsiteY74" fmla="*/ 23588 h 521475"/>
                <a:gd name="connsiteX75" fmla="*/ 71400 w 703801"/>
                <a:gd name="connsiteY75" fmla="*/ 353176 h 521475"/>
                <a:gd name="connsiteX76" fmla="*/ 94350 w 703801"/>
                <a:gd name="connsiteY76" fmla="*/ 378038 h 521475"/>
                <a:gd name="connsiteX77" fmla="*/ 90525 w 703801"/>
                <a:gd name="connsiteY77" fmla="*/ 426488 h 521475"/>
                <a:gd name="connsiteX78" fmla="*/ 94988 w 703801"/>
                <a:gd name="connsiteY78" fmla="*/ 438601 h 521475"/>
                <a:gd name="connsiteX79" fmla="*/ 129413 w 703801"/>
                <a:gd name="connsiteY79" fmla="*/ 457088 h 521475"/>
                <a:gd name="connsiteX80" fmla="*/ 227588 w 703801"/>
                <a:gd name="connsiteY80" fmla="*/ 466651 h 521475"/>
                <a:gd name="connsiteX81" fmla="*/ 231413 w 703801"/>
                <a:gd name="connsiteY81" fmla="*/ 478126 h 521475"/>
                <a:gd name="connsiteX82" fmla="*/ 277951 w 703801"/>
                <a:gd name="connsiteY82" fmla="*/ 478764 h 521475"/>
                <a:gd name="connsiteX83" fmla="*/ 321938 w 703801"/>
                <a:gd name="connsiteY83" fmla="*/ 484501 h 521475"/>
                <a:gd name="connsiteX84" fmla="*/ 393338 w 703801"/>
                <a:gd name="connsiteY84" fmla="*/ 476851 h 521475"/>
                <a:gd name="connsiteX85" fmla="*/ 428401 w 703801"/>
                <a:gd name="connsiteY85" fmla="*/ 482588 h 521475"/>
                <a:gd name="connsiteX86" fmla="*/ 438601 w 703801"/>
                <a:gd name="connsiteY86" fmla="*/ 478126 h 521475"/>
                <a:gd name="connsiteX87" fmla="*/ 619014 w 703801"/>
                <a:gd name="connsiteY87" fmla="*/ 518926 h 521475"/>
                <a:gd name="connsiteX88" fmla="*/ 631126 w 703801"/>
                <a:gd name="connsiteY88" fmla="*/ 521476 h 521475"/>
                <a:gd name="connsiteX89" fmla="*/ 629851 w 703801"/>
                <a:gd name="connsiteY89" fmla="*/ 515101 h 521475"/>
                <a:gd name="connsiteX90" fmla="*/ 632401 w 703801"/>
                <a:gd name="connsiteY90" fmla="*/ 485776 h 521475"/>
                <a:gd name="connsiteX91" fmla="*/ 629214 w 703801"/>
                <a:gd name="connsiteY91" fmla="*/ 457726 h 521475"/>
                <a:gd name="connsiteX92" fmla="*/ 703801 w 703801"/>
                <a:gd name="connsiteY92" fmla="*/ 122400 h 521475"/>
                <a:gd name="connsiteX93" fmla="*/ 692964 w 703801"/>
                <a:gd name="connsiteY93" fmla="*/ 120488 h 521475"/>
                <a:gd name="connsiteX94" fmla="*/ 542514 w 703801"/>
                <a:gd name="connsiteY94" fmla="*/ 85425 h 521475"/>
                <a:gd name="connsiteX95" fmla="*/ 411188 w 703801"/>
                <a:gd name="connsiteY95" fmla="*/ 52275 h 521475"/>
                <a:gd name="connsiteX96" fmla="*/ 262651 w 703801"/>
                <a:gd name="connsiteY96" fmla="*/ 11475 h 521475"/>
                <a:gd name="connsiteX97" fmla="*/ 218026 w 703801"/>
                <a:gd name="connsiteY97" fmla="*/ 0 h 521475"/>
                <a:gd name="connsiteX98" fmla="*/ 228863 w 703801"/>
                <a:gd name="connsiteY98" fmla="*/ 55463 h 521475"/>
                <a:gd name="connsiteX99" fmla="*/ 218663 w 703801"/>
                <a:gd name="connsiteY99" fmla="*/ 73313 h 521475"/>
                <a:gd name="connsiteX100" fmla="*/ 201450 w 703801"/>
                <a:gd name="connsiteY100" fmla="*/ 63750 h 521475"/>
                <a:gd name="connsiteX101" fmla="*/ 218026 w 703801"/>
                <a:gd name="connsiteY101" fmla="*/ 140888 h 521475"/>
                <a:gd name="connsiteX102" fmla="*/ 200175 w 703801"/>
                <a:gd name="connsiteY102" fmla="*/ 166388 h 521475"/>
                <a:gd name="connsiteX103" fmla="*/ 191888 w 703801"/>
                <a:gd name="connsiteY103" fmla="*/ 189975 h 521475"/>
                <a:gd name="connsiteX104" fmla="*/ 191888 w 703801"/>
                <a:gd name="connsiteY104" fmla="*/ 214200 h 521475"/>
                <a:gd name="connsiteX105" fmla="*/ 154275 w 703801"/>
                <a:gd name="connsiteY105" fmla="*/ 240975 h 521475"/>
                <a:gd name="connsiteX106" fmla="*/ 138338 w 703801"/>
                <a:gd name="connsiteY106" fmla="*/ 230138 h 521475"/>
                <a:gd name="connsiteX107" fmla="*/ 123038 w 703801"/>
                <a:gd name="connsiteY107" fmla="*/ 237788 h 521475"/>
                <a:gd name="connsiteX108" fmla="*/ 151725 w 703801"/>
                <a:gd name="connsiteY108" fmla="*/ 201450 h 521475"/>
                <a:gd name="connsiteX109" fmla="*/ 144713 w 703801"/>
                <a:gd name="connsiteY109" fmla="*/ 226313 h 521475"/>
                <a:gd name="connsiteX110" fmla="*/ 160650 w 703801"/>
                <a:gd name="connsiteY110" fmla="*/ 209100 h 521475"/>
                <a:gd name="connsiteX111" fmla="*/ 173400 w 703801"/>
                <a:gd name="connsiteY111" fmla="*/ 211650 h 521475"/>
                <a:gd name="connsiteX112" fmla="*/ 169575 w 703801"/>
                <a:gd name="connsiteY112" fmla="*/ 181050 h 521475"/>
                <a:gd name="connsiteX113" fmla="*/ 177863 w 703801"/>
                <a:gd name="connsiteY113" fmla="*/ 182325 h 521475"/>
                <a:gd name="connsiteX114" fmla="*/ 195075 w 703801"/>
                <a:gd name="connsiteY114" fmla="*/ 144075 h 521475"/>
                <a:gd name="connsiteX115" fmla="*/ 189338 w 703801"/>
                <a:gd name="connsiteY115" fmla="*/ 138338 h 521475"/>
                <a:gd name="connsiteX116" fmla="*/ 167025 w 703801"/>
                <a:gd name="connsiteY116" fmla="*/ 167663 h 521475"/>
                <a:gd name="connsiteX117" fmla="*/ 152363 w 703801"/>
                <a:gd name="connsiteY117" fmla="*/ 168300 h 521475"/>
                <a:gd name="connsiteX118" fmla="*/ 168300 w 703801"/>
                <a:gd name="connsiteY118" fmla="*/ 150450 h 521475"/>
                <a:gd name="connsiteX119" fmla="*/ 186150 w 703801"/>
                <a:gd name="connsiteY119" fmla="*/ 145988 h 521475"/>
                <a:gd name="connsiteX120" fmla="*/ 179775 w 703801"/>
                <a:gd name="connsiteY120" fmla="*/ 112838 h 521475"/>
                <a:gd name="connsiteX121" fmla="*/ 161925 w 703801"/>
                <a:gd name="connsiteY121" fmla="*/ 108375 h 521475"/>
                <a:gd name="connsiteX122" fmla="*/ 152363 w 703801"/>
                <a:gd name="connsiteY122" fmla="*/ 93075 h 521475"/>
                <a:gd name="connsiteX123" fmla="*/ 140888 w 703801"/>
                <a:gd name="connsiteY123" fmla="*/ 98813 h 521475"/>
                <a:gd name="connsiteX124" fmla="*/ 82238 w 703801"/>
                <a:gd name="connsiteY124" fmla="*/ 73313 h 521475"/>
                <a:gd name="connsiteX125" fmla="*/ 29963 w 703801"/>
                <a:gd name="connsiteY125" fmla="*/ 33150 h 521475"/>
                <a:gd name="connsiteX126" fmla="*/ 15938 w 703801"/>
                <a:gd name="connsiteY126" fmla="*/ 72038 h 521475"/>
                <a:gd name="connsiteX127" fmla="*/ 14663 w 703801"/>
                <a:gd name="connsiteY127" fmla="*/ 88613 h 521475"/>
                <a:gd name="connsiteX128" fmla="*/ 26138 w 703801"/>
                <a:gd name="connsiteY128" fmla="*/ 118575 h 521475"/>
                <a:gd name="connsiteX129" fmla="*/ 19125 w 703801"/>
                <a:gd name="connsiteY129" fmla="*/ 215475 h 521475"/>
                <a:gd name="connsiteX130" fmla="*/ 14025 w 703801"/>
                <a:gd name="connsiteY130" fmla="*/ 230138 h 521475"/>
                <a:gd name="connsiteX131" fmla="*/ 43350 w 703801"/>
                <a:gd name="connsiteY131" fmla="*/ 232688 h 521475"/>
                <a:gd name="connsiteX132" fmla="*/ 14025 w 703801"/>
                <a:gd name="connsiteY132" fmla="*/ 253088 h 521475"/>
                <a:gd name="connsiteX133" fmla="*/ 29325 w 703801"/>
                <a:gd name="connsiteY133" fmla="*/ 260738 h 521475"/>
                <a:gd name="connsiteX134" fmla="*/ 17213 w 703801"/>
                <a:gd name="connsiteY134" fmla="*/ 301538 h 521475"/>
                <a:gd name="connsiteX135" fmla="*/ 11475 w 703801"/>
                <a:gd name="connsiteY135" fmla="*/ 269025 h 521475"/>
                <a:gd name="connsiteX136" fmla="*/ 0 w 703801"/>
                <a:gd name="connsiteY136" fmla="*/ 306001 h 521475"/>
                <a:gd name="connsiteX137" fmla="*/ 14663 w 703801"/>
                <a:gd name="connsiteY137" fmla="*/ 323851 h 521475"/>
                <a:gd name="connsiteX138" fmla="*/ 30600 w 703801"/>
                <a:gd name="connsiteY138" fmla="*/ 322576 h 521475"/>
                <a:gd name="connsiteX139" fmla="*/ 49725 w 703801"/>
                <a:gd name="connsiteY139" fmla="*/ 334051 h 521475"/>
                <a:gd name="connsiteX140" fmla="*/ 59925 w 703801"/>
                <a:gd name="connsiteY140" fmla="*/ 352538 h 521475"/>
                <a:gd name="connsiteX141" fmla="*/ 71400 w 703801"/>
                <a:gd name="connsiteY141" fmla="*/ 353176 h 521475"/>
                <a:gd name="connsiteX142" fmla="*/ 71400 w 703801"/>
                <a:gd name="connsiteY142" fmla="*/ 353176 h 521475"/>
                <a:gd name="connsiteX143" fmla="*/ 71400 w 703801"/>
                <a:gd name="connsiteY143" fmla="*/ 353176 h 5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703801" h="521475">
                  <a:moveTo>
                    <a:pt x="12750" y="301538"/>
                  </a:moveTo>
                  <a:lnTo>
                    <a:pt x="13388" y="290063"/>
                  </a:lnTo>
                  <a:lnTo>
                    <a:pt x="12113" y="290701"/>
                  </a:lnTo>
                  <a:lnTo>
                    <a:pt x="12750" y="301538"/>
                  </a:lnTo>
                  <a:lnTo>
                    <a:pt x="12750" y="301538"/>
                  </a:lnTo>
                  <a:close/>
                  <a:moveTo>
                    <a:pt x="149175" y="242888"/>
                  </a:moveTo>
                  <a:lnTo>
                    <a:pt x="153000" y="236513"/>
                  </a:lnTo>
                  <a:lnTo>
                    <a:pt x="148538" y="235875"/>
                  </a:lnTo>
                  <a:lnTo>
                    <a:pt x="149175" y="242888"/>
                  </a:lnTo>
                  <a:lnTo>
                    <a:pt x="149175" y="242888"/>
                  </a:lnTo>
                  <a:close/>
                  <a:moveTo>
                    <a:pt x="137700" y="231413"/>
                  </a:moveTo>
                  <a:lnTo>
                    <a:pt x="141525" y="218663"/>
                  </a:lnTo>
                  <a:lnTo>
                    <a:pt x="137700" y="217388"/>
                  </a:lnTo>
                  <a:lnTo>
                    <a:pt x="137700" y="231413"/>
                  </a:lnTo>
                  <a:close/>
                  <a:moveTo>
                    <a:pt x="183600" y="212925"/>
                  </a:moveTo>
                  <a:lnTo>
                    <a:pt x="182963" y="200175"/>
                  </a:lnTo>
                  <a:lnTo>
                    <a:pt x="171488" y="216750"/>
                  </a:lnTo>
                  <a:lnTo>
                    <a:pt x="183600" y="212925"/>
                  </a:lnTo>
                  <a:lnTo>
                    <a:pt x="183600" y="212925"/>
                  </a:lnTo>
                  <a:close/>
                  <a:moveTo>
                    <a:pt x="185513" y="185513"/>
                  </a:moveTo>
                  <a:lnTo>
                    <a:pt x="187425" y="172763"/>
                  </a:lnTo>
                  <a:lnTo>
                    <a:pt x="186150" y="169575"/>
                  </a:lnTo>
                  <a:lnTo>
                    <a:pt x="185513" y="185513"/>
                  </a:lnTo>
                  <a:lnTo>
                    <a:pt x="185513" y="185513"/>
                  </a:lnTo>
                  <a:close/>
                  <a:moveTo>
                    <a:pt x="187425" y="123038"/>
                  </a:moveTo>
                  <a:lnTo>
                    <a:pt x="186788" y="116025"/>
                  </a:lnTo>
                  <a:lnTo>
                    <a:pt x="184238" y="115388"/>
                  </a:lnTo>
                  <a:lnTo>
                    <a:pt x="187425" y="123038"/>
                  </a:lnTo>
                  <a:lnTo>
                    <a:pt x="187425" y="123038"/>
                  </a:lnTo>
                  <a:close/>
                  <a:moveTo>
                    <a:pt x="207825" y="80325"/>
                  </a:moveTo>
                  <a:lnTo>
                    <a:pt x="202088" y="79688"/>
                  </a:lnTo>
                  <a:lnTo>
                    <a:pt x="190613" y="97538"/>
                  </a:lnTo>
                  <a:lnTo>
                    <a:pt x="207825" y="80325"/>
                  </a:lnTo>
                  <a:close/>
                  <a:moveTo>
                    <a:pt x="191888" y="62475"/>
                  </a:moveTo>
                  <a:lnTo>
                    <a:pt x="195075" y="59925"/>
                  </a:lnTo>
                  <a:lnTo>
                    <a:pt x="195713" y="58013"/>
                  </a:lnTo>
                  <a:lnTo>
                    <a:pt x="191888" y="62475"/>
                  </a:lnTo>
                  <a:lnTo>
                    <a:pt x="191888" y="62475"/>
                  </a:lnTo>
                  <a:close/>
                  <a:moveTo>
                    <a:pt x="188700" y="64388"/>
                  </a:moveTo>
                  <a:lnTo>
                    <a:pt x="186788" y="51638"/>
                  </a:lnTo>
                  <a:lnTo>
                    <a:pt x="181050" y="63113"/>
                  </a:lnTo>
                  <a:lnTo>
                    <a:pt x="188700" y="64388"/>
                  </a:lnTo>
                  <a:lnTo>
                    <a:pt x="188700" y="64388"/>
                  </a:lnTo>
                  <a:close/>
                  <a:moveTo>
                    <a:pt x="185513" y="46538"/>
                  </a:moveTo>
                  <a:lnTo>
                    <a:pt x="179775" y="43988"/>
                  </a:lnTo>
                  <a:lnTo>
                    <a:pt x="184238" y="50363"/>
                  </a:lnTo>
                  <a:lnTo>
                    <a:pt x="185513" y="46538"/>
                  </a:lnTo>
                  <a:lnTo>
                    <a:pt x="185513" y="46538"/>
                  </a:lnTo>
                  <a:close/>
                  <a:moveTo>
                    <a:pt x="205275" y="58013"/>
                  </a:moveTo>
                  <a:lnTo>
                    <a:pt x="205275" y="49725"/>
                  </a:lnTo>
                  <a:lnTo>
                    <a:pt x="203363" y="52913"/>
                  </a:lnTo>
                  <a:lnTo>
                    <a:pt x="205275" y="58013"/>
                  </a:lnTo>
                  <a:close/>
                  <a:moveTo>
                    <a:pt x="210375" y="49088"/>
                  </a:moveTo>
                  <a:lnTo>
                    <a:pt x="207825" y="47175"/>
                  </a:lnTo>
                  <a:lnTo>
                    <a:pt x="207188" y="47175"/>
                  </a:lnTo>
                  <a:lnTo>
                    <a:pt x="210375" y="49088"/>
                  </a:lnTo>
                  <a:lnTo>
                    <a:pt x="210375" y="49088"/>
                  </a:lnTo>
                  <a:close/>
                  <a:moveTo>
                    <a:pt x="174038" y="35700"/>
                  </a:moveTo>
                  <a:lnTo>
                    <a:pt x="170850" y="33150"/>
                  </a:lnTo>
                  <a:lnTo>
                    <a:pt x="169575" y="32513"/>
                  </a:lnTo>
                  <a:lnTo>
                    <a:pt x="174038" y="35700"/>
                  </a:lnTo>
                  <a:close/>
                  <a:moveTo>
                    <a:pt x="197625" y="32513"/>
                  </a:moveTo>
                  <a:lnTo>
                    <a:pt x="180413" y="36975"/>
                  </a:lnTo>
                  <a:lnTo>
                    <a:pt x="184875" y="38250"/>
                  </a:lnTo>
                  <a:lnTo>
                    <a:pt x="197625" y="32513"/>
                  </a:lnTo>
                  <a:close/>
                  <a:moveTo>
                    <a:pt x="183600" y="31238"/>
                  </a:moveTo>
                  <a:lnTo>
                    <a:pt x="180413" y="27412"/>
                  </a:lnTo>
                  <a:lnTo>
                    <a:pt x="179775" y="28050"/>
                  </a:lnTo>
                  <a:lnTo>
                    <a:pt x="183600" y="31238"/>
                  </a:lnTo>
                  <a:lnTo>
                    <a:pt x="183600" y="31238"/>
                  </a:lnTo>
                  <a:close/>
                  <a:moveTo>
                    <a:pt x="196988" y="23588"/>
                  </a:moveTo>
                  <a:lnTo>
                    <a:pt x="194438" y="23588"/>
                  </a:lnTo>
                  <a:lnTo>
                    <a:pt x="197625" y="24863"/>
                  </a:lnTo>
                  <a:lnTo>
                    <a:pt x="196988" y="23588"/>
                  </a:lnTo>
                  <a:lnTo>
                    <a:pt x="196988" y="23588"/>
                  </a:lnTo>
                  <a:close/>
                  <a:moveTo>
                    <a:pt x="71400" y="353176"/>
                  </a:moveTo>
                  <a:lnTo>
                    <a:pt x="94350" y="378038"/>
                  </a:lnTo>
                  <a:lnTo>
                    <a:pt x="90525" y="426488"/>
                  </a:lnTo>
                  <a:lnTo>
                    <a:pt x="94988" y="438601"/>
                  </a:lnTo>
                  <a:lnTo>
                    <a:pt x="129413" y="457088"/>
                  </a:lnTo>
                  <a:lnTo>
                    <a:pt x="227588" y="466651"/>
                  </a:lnTo>
                  <a:lnTo>
                    <a:pt x="231413" y="478126"/>
                  </a:lnTo>
                  <a:lnTo>
                    <a:pt x="277951" y="478764"/>
                  </a:lnTo>
                  <a:lnTo>
                    <a:pt x="321938" y="484501"/>
                  </a:lnTo>
                  <a:lnTo>
                    <a:pt x="393338" y="476851"/>
                  </a:lnTo>
                  <a:lnTo>
                    <a:pt x="428401" y="482588"/>
                  </a:lnTo>
                  <a:lnTo>
                    <a:pt x="438601" y="478126"/>
                  </a:lnTo>
                  <a:lnTo>
                    <a:pt x="619014" y="518926"/>
                  </a:lnTo>
                  <a:lnTo>
                    <a:pt x="631126" y="521476"/>
                  </a:lnTo>
                  <a:lnTo>
                    <a:pt x="629851" y="515101"/>
                  </a:lnTo>
                  <a:lnTo>
                    <a:pt x="632401" y="485776"/>
                  </a:lnTo>
                  <a:lnTo>
                    <a:pt x="629214" y="457726"/>
                  </a:lnTo>
                  <a:lnTo>
                    <a:pt x="703801" y="122400"/>
                  </a:lnTo>
                  <a:lnTo>
                    <a:pt x="692964" y="120488"/>
                  </a:lnTo>
                  <a:lnTo>
                    <a:pt x="542514" y="85425"/>
                  </a:lnTo>
                  <a:lnTo>
                    <a:pt x="411188" y="52275"/>
                  </a:lnTo>
                  <a:lnTo>
                    <a:pt x="262651" y="11475"/>
                  </a:lnTo>
                  <a:lnTo>
                    <a:pt x="218026" y="0"/>
                  </a:lnTo>
                  <a:lnTo>
                    <a:pt x="228863" y="55463"/>
                  </a:lnTo>
                  <a:lnTo>
                    <a:pt x="218663" y="73313"/>
                  </a:lnTo>
                  <a:lnTo>
                    <a:pt x="201450" y="63750"/>
                  </a:lnTo>
                  <a:lnTo>
                    <a:pt x="218026" y="140888"/>
                  </a:lnTo>
                  <a:lnTo>
                    <a:pt x="200175" y="166388"/>
                  </a:lnTo>
                  <a:lnTo>
                    <a:pt x="191888" y="189975"/>
                  </a:lnTo>
                  <a:lnTo>
                    <a:pt x="191888" y="214200"/>
                  </a:lnTo>
                  <a:lnTo>
                    <a:pt x="154275" y="240975"/>
                  </a:lnTo>
                  <a:lnTo>
                    <a:pt x="138338" y="230138"/>
                  </a:lnTo>
                  <a:lnTo>
                    <a:pt x="123038" y="237788"/>
                  </a:lnTo>
                  <a:lnTo>
                    <a:pt x="151725" y="201450"/>
                  </a:lnTo>
                  <a:lnTo>
                    <a:pt x="144713" y="226313"/>
                  </a:lnTo>
                  <a:lnTo>
                    <a:pt x="160650" y="209100"/>
                  </a:lnTo>
                  <a:lnTo>
                    <a:pt x="173400" y="211650"/>
                  </a:lnTo>
                  <a:lnTo>
                    <a:pt x="169575" y="181050"/>
                  </a:lnTo>
                  <a:lnTo>
                    <a:pt x="177863" y="182325"/>
                  </a:lnTo>
                  <a:lnTo>
                    <a:pt x="195075" y="144075"/>
                  </a:lnTo>
                  <a:lnTo>
                    <a:pt x="189338" y="138338"/>
                  </a:lnTo>
                  <a:lnTo>
                    <a:pt x="167025" y="167663"/>
                  </a:lnTo>
                  <a:lnTo>
                    <a:pt x="152363" y="168300"/>
                  </a:lnTo>
                  <a:lnTo>
                    <a:pt x="168300" y="150450"/>
                  </a:lnTo>
                  <a:lnTo>
                    <a:pt x="186150" y="145988"/>
                  </a:lnTo>
                  <a:lnTo>
                    <a:pt x="179775" y="112838"/>
                  </a:lnTo>
                  <a:lnTo>
                    <a:pt x="161925" y="108375"/>
                  </a:lnTo>
                  <a:lnTo>
                    <a:pt x="152363" y="93075"/>
                  </a:lnTo>
                  <a:lnTo>
                    <a:pt x="140888" y="98813"/>
                  </a:lnTo>
                  <a:lnTo>
                    <a:pt x="82238" y="73313"/>
                  </a:lnTo>
                  <a:lnTo>
                    <a:pt x="29963" y="33150"/>
                  </a:lnTo>
                  <a:lnTo>
                    <a:pt x="15938" y="72038"/>
                  </a:lnTo>
                  <a:lnTo>
                    <a:pt x="14663" y="88613"/>
                  </a:lnTo>
                  <a:lnTo>
                    <a:pt x="26138" y="118575"/>
                  </a:lnTo>
                  <a:lnTo>
                    <a:pt x="19125" y="215475"/>
                  </a:lnTo>
                  <a:lnTo>
                    <a:pt x="14025" y="230138"/>
                  </a:lnTo>
                  <a:lnTo>
                    <a:pt x="43350" y="232688"/>
                  </a:lnTo>
                  <a:lnTo>
                    <a:pt x="14025" y="253088"/>
                  </a:lnTo>
                  <a:lnTo>
                    <a:pt x="29325" y="260738"/>
                  </a:lnTo>
                  <a:lnTo>
                    <a:pt x="17213" y="301538"/>
                  </a:lnTo>
                  <a:lnTo>
                    <a:pt x="11475" y="269025"/>
                  </a:lnTo>
                  <a:lnTo>
                    <a:pt x="0" y="306001"/>
                  </a:lnTo>
                  <a:lnTo>
                    <a:pt x="14663" y="323851"/>
                  </a:lnTo>
                  <a:lnTo>
                    <a:pt x="30600" y="322576"/>
                  </a:lnTo>
                  <a:lnTo>
                    <a:pt x="49725" y="334051"/>
                  </a:lnTo>
                  <a:lnTo>
                    <a:pt x="59925" y="352538"/>
                  </a:lnTo>
                  <a:lnTo>
                    <a:pt x="71400" y="353176"/>
                  </a:lnTo>
                  <a:lnTo>
                    <a:pt x="71400" y="353176"/>
                  </a:lnTo>
                  <a:lnTo>
                    <a:pt x="71400" y="353176"/>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036" name="Freeform 25">
              <a:extLst>
                <a:ext uri="{FF2B5EF4-FFF2-40B4-BE49-F238E27FC236}">
                  <a16:creationId xmlns:a16="http://schemas.microsoft.com/office/drawing/2014/main" id="{BD4721BC-3BA4-0837-819C-51D493BBC170}"/>
                </a:ext>
              </a:extLst>
            </p:cNvPr>
            <p:cNvSpPr/>
            <p:nvPr/>
          </p:nvSpPr>
          <p:spPr>
            <a:xfrm>
              <a:off x="2678336" y="2838137"/>
              <a:ext cx="708901" cy="831301"/>
            </a:xfrm>
            <a:custGeom>
              <a:avLst/>
              <a:gdLst>
                <a:gd name="connsiteX0" fmla="*/ 692326 w 708901"/>
                <a:gd name="connsiteY0" fmla="*/ 73313 h 831301"/>
                <a:gd name="connsiteX1" fmla="*/ 476213 w 708901"/>
                <a:gd name="connsiteY1" fmla="*/ 45900 h 831301"/>
                <a:gd name="connsiteX2" fmla="*/ 359551 w 708901"/>
                <a:gd name="connsiteY2" fmla="*/ 29325 h 831301"/>
                <a:gd name="connsiteX3" fmla="*/ 193800 w 708901"/>
                <a:gd name="connsiteY3" fmla="*/ 2550 h 831301"/>
                <a:gd name="connsiteX4" fmla="*/ 177225 w 708901"/>
                <a:gd name="connsiteY4" fmla="*/ 0 h 831301"/>
                <a:gd name="connsiteX5" fmla="*/ 177225 w 708901"/>
                <a:gd name="connsiteY5" fmla="*/ 1275 h 831301"/>
                <a:gd name="connsiteX6" fmla="*/ 148538 w 708901"/>
                <a:gd name="connsiteY6" fmla="*/ 125588 h 831301"/>
                <a:gd name="connsiteX7" fmla="*/ 133875 w 708901"/>
                <a:gd name="connsiteY7" fmla="*/ 124950 h 831301"/>
                <a:gd name="connsiteX8" fmla="*/ 111563 w 708901"/>
                <a:gd name="connsiteY8" fmla="*/ 105188 h 831301"/>
                <a:gd name="connsiteX9" fmla="*/ 82875 w 708901"/>
                <a:gd name="connsiteY9" fmla="*/ 128775 h 831301"/>
                <a:gd name="connsiteX10" fmla="*/ 82238 w 708901"/>
                <a:gd name="connsiteY10" fmla="*/ 230776 h 831301"/>
                <a:gd name="connsiteX11" fmla="*/ 71400 w 708901"/>
                <a:gd name="connsiteY11" fmla="*/ 252450 h 831301"/>
                <a:gd name="connsiteX12" fmla="*/ 71400 w 708901"/>
                <a:gd name="connsiteY12" fmla="*/ 254363 h 831301"/>
                <a:gd name="connsiteX13" fmla="*/ 71400 w 708901"/>
                <a:gd name="connsiteY13" fmla="*/ 255001 h 831301"/>
                <a:gd name="connsiteX14" fmla="*/ 70125 w 708901"/>
                <a:gd name="connsiteY14" fmla="*/ 270938 h 831301"/>
                <a:gd name="connsiteX15" fmla="*/ 92438 w 708901"/>
                <a:gd name="connsiteY15" fmla="*/ 330863 h 831301"/>
                <a:gd name="connsiteX16" fmla="*/ 112200 w 708901"/>
                <a:gd name="connsiteY16" fmla="*/ 358276 h 831301"/>
                <a:gd name="connsiteX17" fmla="*/ 76500 w 708901"/>
                <a:gd name="connsiteY17" fmla="*/ 379313 h 831301"/>
                <a:gd name="connsiteX18" fmla="*/ 62475 w 708901"/>
                <a:gd name="connsiteY18" fmla="*/ 406088 h 831301"/>
                <a:gd name="connsiteX19" fmla="*/ 39525 w 708901"/>
                <a:gd name="connsiteY19" fmla="*/ 462188 h 831301"/>
                <a:gd name="connsiteX20" fmla="*/ 28050 w 708901"/>
                <a:gd name="connsiteY20" fmla="*/ 464739 h 831301"/>
                <a:gd name="connsiteX21" fmla="*/ 27412 w 708901"/>
                <a:gd name="connsiteY21" fmla="*/ 511913 h 831301"/>
                <a:gd name="connsiteX22" fmla="*/ 47175 w 708901"/>
                <a:gd name="connsiteY22" fmla="*/ 526576 h 831301"/>
                <a:gd name="connsiteX23" fmla="*/ 36337 w 708901"/>
                <a:gd name="connsiteY23" fmla="*/ 555263 h 831301"/>
                <a:gd name="connsiteX24" fmla="*/ 13387 w 708901"/>
                <a:gd name="connsiteY24" fmla="*/ 556539 h 831301"/>
                <a:gd name="connsiteX25" fmla="*/ 13387 w 708901"/>
                <a:gd name="connsiteY25" fmla="*/ 556539 h 831301"/>
                <a:gd name="connsiteX26" fmla="*/ 0 w 708901"/>
                <a:gd name="connsiteY26" fmla="*/ 581401 h 831301"/>
                <a:gd name="connsiteX27" fmla="*/ 46538 w 708901"/>
                <a:gd name="connsiteY27" fmla="*/ 610726 h 831301"/>
                <a:gd name="connsiteX28" fmla="*/ 133875 w 708901"/>
                <a:gd name="connsiteY28" fmla="*/ 659814 h 831301"/>
                <a:gd name="connsiteX29" fmla="*/ 404176 w 708901"/>
                <a:gd name="connsiteY29" fmla="*/ 802614 h 831301"/>
                <a:gd name="connsiteX30" fmla="*/ 633039 w 708901"/>
                <a:gd name="connsiteY30" fmla="*/ 831302 h 831301"/>
                <a:gd name="connsiteX31" fmla="*/ 635589 w 708901"/>
                <a:gd name="connsiteY31" fmla="*/ 831302 h 831301"/>
                <a:gd name="connsiteX32" fmla="*/ 653439 w 708901"/>
                <a:gd name="connsiteY32" fmla="*/ 641964 h 831301"/>
                <a:gd name="connsiteX33" fmla="*/ 657901 w 708901"/>
                <a:gd name="connsiteY33" fmla="*/ 594789 h 831301"/>
                <a:gd name="connsiteX34" fmla="*/ 706351 w 708901"/>
                <a:gd name="connsiteY34" fmla="*/ 97538 h 831301"/>
                <a:gd name="connsiteX35" fmla="*/ 708901 w 708901"/>
                <a:gd name="connsiteY35" fmla="*/ 74588 h 831301"/>
                <a:gd name="connsiteX36" fmla="*/ 692326 w 708901"/>
                <a:gd name="connsiteY36" fmla="*/ 73313 h 831301"/>
                <a:gd name="connsiteX37" fmla="*/ 692326 w 708901"/>
                <a:gd name="connsiteY37" fmla="*/ 73313 h 83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8901" h="831301">
                  <a:moveTo>
                    <a:pt x="692326" y="73313"/>
                  </a:moveTo>
                  <a:lnTo>
                    <a:pt x="476213" y="45900"/>
                  </a:lnTo>
                  <a:lnTo>
                    <a:pt x="359551" y="29325"/>
                  </a:lnTo>
                  <a:lnTo>
                    <a:pt x="193800" y="2550"/>
                  </a:lnTo>
                  <a:lnTo>
                    <a:pt x="177225" y="0"/>
                  </a:lnTo>
                  <a:lnTo>
                    <a:pt x="177225" y="1275"/>
                  </a:lnTo>
                  <a:lnTo>
                    <a:pt x="148538" y="125588"/>
                  </a:lnTo>
                  <a:lnTo>
                    <a:pt x="133875" y="124950"/>
                  </a:lnTo>
                  <a:lnTo>
                    <a:pt x="111563" y="105188"/>
                  </a:lnTo>
                  <a:lnTo>
                    <a:pt x="82875" y="128775"/>
                  </a:lnTo>
                  <a:lnTo>
                    <a:pt x="82238" y="230776"/>
                  </a:lnTo>
                  <a:lnTo>
                    <a:pt x="71400" y="252450"/>
                  </a:lnTo>
                  <a:lnTo>
                    <a:pt x="71400" y="254363"/>
                  </a:lnTo>
                  <a:lnTo>
                    <a:pt x="71400" y="255001"/>
                  </a:lnTo>
                  <a:lnTo>
                    <a:pt x="70125" y="270938"/>
                  </a:lnTo>
                  <a:lnTo>
                    <a:pt x="92438" y="330863"/>
                  </a:lnTo>
                  <a:lnTo>
                    <a:pt x="112200" y="358276"/>
                  </a:lnTo>
                  <a:lnTo>
                    <a:pt x="76500" y="379313"/>
                  </a:lnTo>
                  <a:lnTo>
                    <a:pt x="62475" y="406088"/>
                  </a:lnTo>
                  <a:lnTo>
                    <a:pt x="39525" y="462188"/>
                  </a:lnTo>
                  <a:lnTo>
                    <a:pt x="28050" y="464739"/>
                  </a:lnTo>
                  <a:lnTo>
                    <a:pt x="27412" y="511913"/>
                  </a:lnTo>
                  <a:lnTo>
                    <a:pt x="47175" y="526576"/>
                  </a:lnTo>
                  <a:lnTo>
                    <a:pt x="36337" y="555263"/>
                  </a:lnTo>
                  <a:lnTo>
                    <a:pt x="13387" y="556539"/>
                  </a:lnTo>
                  <a:lnTo>
                    <a:pt x="13387" y="556539"/>
                  </a:lnTo>
                  <a:lnTo>
                    <a:pt x="0" y="581401"/>
                  </a:lnTo>
                  <a:lnTo>
                    <a:pt x="46538" y="610726"/>
                  </a:lnTo>
                  <a:lnTo>
                    <a:pt x="133875" y="659814"/>
                  </a:lnTo>
                  <a:lnTo>
                    <a:pt x="404176" y="802614"/>
                  </a:lnTo>
                  <a:lnTo>
                    <a:pt x="633039" y="831302"/>
                  </a:lnTo>
                  <a:lnTo>
                    <a:pt x="635589" y="831302"/>
                  </a:lnTo>
                  <a:lnTo>
                    <a:pt x="653439" y="641964"/>
                  </a:lnTo>
                  <a:lnTo>
                    <a:pt x="657901" y="594789"/>
                  </a:lnTo>
                  <a:lnTo>
                    <a:pt x="706351" y="97538"/>
                  </a:lnTo>
                  <a:lnTo>
                    <a:pt x="708901" y="74588"/>
                  </a:lnTo>
                  <a:lnTo>
                    <a:pt x="692326" y="73313"/>
                  </a:lnTo>
                  <a:lnTo>
                    <a:pt x="692326" y="73313"/>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042" name="Freeform 26">
              <a:extLst>
                <a:ext uri="{FF2B5EF4-FFF2-40B4-BE49-F238E27FC236}">
                  <a16:creationId xmlns:a16="http://schemas.microsoft.com/office/drawing/2014/main" id="{FC478278-E26D-E137-C6D1-93A4C3694AC2}"/>
                </a:ext>
              </a:extLst>
            </p:cNvPr>
            <p:cNvSpPr/>
            <p:nvPr/>
          </p:nvSpPr>
          <p:spPr>
            <a:xfrm>
              <a:off x="1902496" y="1937348"/>
              <a:ext cx="890589" cy="1456690"/>
            </a:xfrm>
            <a:custGeom>
              <a:avLst/>
              <a:gdLst>
                <a:gd name="connsiteX0" fmla="*/ 368476 w 890589"/>
                <a:gd name="connsiteY0" fmla="*/ 1331103 h 1456690"/>
                <a:gd name="connsiteX1" fmla="*/ 371026 w 890589"/>
                <a:gd name="connsiteY1" fmla="*/ 1345128 h 1456690"/>
                <a:gd name="connsiteX2" fmla="*/ 371026 w 890589"/>
                <a:gd name="connsiteY2" fmla="*/ 1347678 h 1456690"/>
                <a:gd name="connsiteX3" fmla="*/ 368476 w 890589"/>
                <a:gd name="connsiteY3" fmla="*/ 1331103 h 1456690"/>
                <a:gd name="connsiteX4" fmla="*/ 368476 w 890589"/>
                <a:gd name="connsiteY4" fmla="*/ 1331103 h 1456690"/>
                <a:gd name="connsiteX5" fmla="*/ 273488 w 890589"/>
                <a:gd name="connsiteY5" fmla="*/ 1275640 h 1456690"/>
                <a:gd name="connsiteX6" fmla="*/ 277951 w 890589"/>
                <a:gd name="connsiteY6" fmla="*/ 1285840 h 1456690"/>
                <a:gd name="connsiteX7" fmla="*/ 280501 w 890589"/>
                <a:gd name="connsiteY7" fmla="*/ 1285202 h 1456690"/>
                <a:gd name="connsiteX8" fmla="*/ 273488 w 890589"/>
                <a:gd name="connsiteY8" fmla="*/ 1275640 h 1456690"/>
                <a:gd name="connsiteX9" fmla="*/ 273488 w 890589"/>
                <a:gd name="connsiteY9" fmla="*/ 1275640 h 1456690"/>
                <a:gd name="connsiteX10" fmla="*/ 386326 w 890589"/>
                <a:gd name="connsiteY10" fmla="*/ 1273728 h 1456690"/>
                <a:gd name="connsiteX11" fmla="*/ 388238 w 890589"/>
                <a:gd name="connsiteY11" fmla="*/ 1290302 h 1456690"/>
                <a:gd name="connsiteX12" fmla="*/ 399713 w 890589"/>
                <a:gd name="connsiteY12" fmla="*/ 1298590 h 1456690"/>
                <a:gd name="connsiteX13" fmla="*/ 386326 w 890589"/>
                <a:gd name="connsiteY13" fmla="*/ 1273728 h 1456690"/>
                <a:gd name="connsiteX14" fmla="*/ 308551 w 890589"/>
                <a:gd name="connsiteY14" fmla="*/ 1182565 h 1456690"/>
                <a:gd name="connsiteX15" fmla="*/ 301538 w 890589"/>
                <a:gd name="connsiteY15" fmla="*/ 1180652 h 1456690"/>
                <a:gd name="connsiteX16" fmla="*/ 307276 w 890589"/>
                <a:gd name="connsiteY16" fmla="*/ 1183202 h 1456690"/>
                <a:gd name="connsiteX17" fmla="*/ 308551 w 890589"/>
                <a:gd name="connsiteY17" fmla="*/ 1182565 h 1456690"/>
                <a:gd name="connsiteX18" fmla="*/ 308551 w 890589"/>
                <a:gd name="connsiteY18" fmla="*/ 1182565 h 1456690"/>
                <a:gd name="connsiteX19" fmla="*/ 237150 w 890589"/>
                <a:gd name="connsiteY19" fmla="*/ 1162802 h 1456690"/>
                <a:gd name="connsiteX20" fmla="*/ 219938 w 890589"/>
                <a:gd name="connsiteY20" fmla="*/ 1173640 h 1456690"/>
                <a:gd name="connsiteX21" fmla="*/ 224400 w 890589"/>
                <a:gd name="connsiteY21" fmla="*/ 1178102 h 1456690"/>
                <a:gd name="connsiteX22" fmla="*/ 237150 w 890589"/>
                <a:gd name="connsiteY22" fmla="*/ 1162802 h 1456690"/>
                <a:gd name="connsiteX23" fmla="*/ 204000 w 890589"/>
                <a:gd name="connsiteY23" fmla="*/ 1151327 h 1456690"/>
                <a:gd name="connsiteX24" fmla="*/ 202725 w 890589"/>
                <a:gd name="connsiteY24" fmla="*/ 1156427 h 1456690"/>
                <a:gd name="connsiteX25" fmla="*/ 208463 w 890589"/>
                <a:gd name="connsiteY25" fmla="*/ 1157702 h 1456690"/>
                <a:gd name="connsiteX26" fmla="*/ 204000 w 890589"/>
                <a:gd name="connsiteY26" fmla="*/ 1151327 h 1456690"/>
                <a:gd name="connsiteX27" fmla="*/ 204000 w 890589"/>
                <a:gd name="connsiteY27" fmla="*/ 1151327 h 1456690"/>
                <a:gd name="connsiteX28" fmla="*/ 260738 w 890589"/>
                <a:gd name="connsiteY28" fmla="*/ 1163440 h 1456690"/>
                <a:gd name="connsiteX29" fmla="*/ 289426 w 890589"/>
                <a:gd name="connsiteY29" fmla="*/ 1179377 h 1456690"/>
                <a:gd name="connsiteX30" fmla="*/ 294526 w 890589"/>
                <a:gd name="connsiteY30" fmla="*/ 1174915 h 1456690"/>
                <a:gd name="connsiteX31" fmla="*/ 260738 w 890589"/>
                <a:gd name="connsiteY31" fmla="*/ 1163440 h 1456690"/>
                <a:gd name="connsiteX32" fmla="*/ 41438 w 890589"/>
                <a:gd name="connsiteY32" fmla="*/ 597976 h 1456690"/>
                <a:gd name="connsiteX33" fmla="*/ 41438 w 890589"/>
                <a:gd name="connsiteY33" fmla="*/ 597976 h 1456690"/>
                <a:gd name="connsiteX34" fmla="*/ 41438 w 890589"/>
                <a:gd name="connsiteY34" fmla="*/ 597976 h 1456690"/>
                <a:gd name="connsiteX35" fmla="*/ 41438 w 890589"/>
                <a:gd name="connsiteY35" fmla="*/ 597976 h 1456690"/>
                <a:gd name="connsiteX36" fmla="*/ 110288 w 890589"/>
                <a:gd name="connsiteY36" fmla="*/ 601164 h 1456690"/>
                <a:gd name="connsiteX37" fmla="*/ 109650 w 890589"/>
                <a:gd name="connsiteY37" fmla="*/ 599251 h 1456690"/>
                <a:gd name="connsiteX38" fmla="*/ 110288 w 890589"/>
                <a:gd name="connsiteY38" fmla="*/ 601164 h 1456690"/>
                <a:gd name="connsiteX39" fmla="*/ 110288 w 890589"/>
                <a:gd name="connsiteY39" fmla="*/ 601164 h 1456690"/>
                <a:gd name="connsiteX40" fmla="*/ 110288 w 890589"/>
                <a:gd name="connsiteY40" fmla="*/ 601164 h 1456690"/>
                <a:gd name="connsiteX41" fmla="*/ 480676 w 890589"/>
                <a:gd name="connsiteY41" fmla="*/ 113475 h 1456690"/>
                <a:gd name="connsiteX42" fmla="*/ 455813 w 890589"/>
                <a:gd name="connsiteY42" fmla="*/ 107100 h 1456690"/>
                <a:gd name="connsiteX43" fmla="*/ 181050 w 890589"/>
                <a:gd name="connsiteY43" fmla="*/ 31238 h 1456690"/>
                <a:gd name="connsiteX44" fmla="*/ 79050 w 890589"/>
                <a:gd name="connsiteY44" fmla="*/ 0 h 1456690"/>
                <a:gd name="connsiteX45" fmla="*/ 79050 w 890589"/>
                <a:gd name="connsiteY45" fmla="*/ 2550 h 1456690"/>
                <a:gd name="connsiteX46" fmla="*/ 73313 w 890589"/>
                <a:gd name="connsiteY46" fmla="*/ 66300 h 1456690"/>
                <a:gd name="connsiteX47" fmla="*/ 45900 w 890589"/>
                <a:gd name="connsiteY47" fmla="*/ 141525 h 1456690"/>
                <a:gd name="connsiteX48" fmla="*/ 638 w 890589"/>
                <a:gd name="connsiteY48" fmla="*/ 196988 h 1456690"/>
                <a:gd name="connsiteX49" fmla="*/ 0 w 890589"/>
                <a:gd name="connsiteY49" fmla="*/ 225038 h 1456690"/>
                <a:gd name="connsiteX50" fmla="*/ 21675 w 890589"/>
                <a:gd name="connsiteY50" fmla="*/ 263926 h 1456690"/>
                <a:gd name="connsiteX51" fmla="*/ 33150 w 890589"/>
                <a:gd name="connsiteY51" fmla="*/ 315563 h 1456690"/>
                <a:gd name="connsiteX52" fmla="*/ 17850 w 890589"/>
                <a:gd name="connsiteY52" fmla="*/ 357001 h 1456690"/>
                <a:gd name="connsiteX53" fmla="*/ 20400 w 890589"/>
                <a:gd name="connsiteY53" fmla="*/ 398438 h 1456690"/>
                <a:gd name="connsiteX54" fmla="*/ 12750 w 890589"/>
                <a:gd name="connsiteY54" fmla="*/ 415651 h 1456690"/>
                <a:gd name="connsiteX55" fmla="*/ 39525 w 890589"/>
                <a:gd name="connsiteY55" fmla="*/ 472388 h 1456690"/>
                <a:gd name="connsiteX56" fmla="*/ 56100 w 890589"/>
                <a:gd name="connsiteY56" fmla="*/ 494064 h 1456690"/>
                <a:gd name="connsiteX57" fmla="*/ 54825 w 890589"/>
                <a:gd name="connsiteY57" fmla="*/ 556539 h 1456690"/>
                <a:gd name="connsiteX58" fmla="*/ 94350 w 890589"/>
                <a:gd name="connsiteY58" fmla="*/ 594151 h 1456690"/>
                <a:gd name="connsiteX59" fmla="*/ 117300 w 890589"/>
                <a:gd name="connsiteY59" fmla="*/ 555901 h 1456690"/>
                <a:gd name="connsiteX60" fmla="*/ 142163 w 890589"/>
                <a:gd name="connsiteY60" fmla="*/ 575664 h 1456690"/>
                <a:gd name="connsiteX61" fmla="*/ 152363 w 890589"/>
                <a:gd name="connsiteY61" fmla="*/ 566101 h 1456690"/>
                <a:gd name="connsiteX62" fmla="*/ 117938 w 890589"/>
                <a:gd name="connsiteY62" fmla="*/ 572476 h 1456690"/>
                <a:gd name="connsiteX63" fmla="*/ 117300 w 890589"/>
                <a:gd name="connsiteY63" fmla="*/ 605626 h 1456690"/>
                <a:gd name="connsiteX64" fmla="*/ 124313 w 890589"/>
                <a:gd name="connsiteY64" fmla="*/ 646426 h 1456690"/>
                <a:gd name="connsiteX65" fmla="*/ 103913 w 890589"/>
                <a:gd name="connsiteY65" fmla="*/ 629214 h 1456690"/>
                <a:gd name="connsiteX66" fmla="*/ 92438 w 890589"/>
                <a:gd name="connsiteY66" fmla="*/ 604351 h 1456690"/>
                <a:gd name="connsiteX67" fmla="*/ 89250 w 890589"/>
                <a:gd name="connsiteY67" fmla="*/ 638776 h 1456690"/>
                <a:gd name="connsiteX68" fmla="*/ 98813 w 890589"/>
                <a:gd name="connsiteY68" fmla="*/ 707626 h 1456690"/>
                <a:gd name="connsiteX69" fmla="*/ 134513 w 890589"/>
                <a:gd name="connsiteY69" fmla="*/ 752252 h 1456690"/>
                <a:gd name="connsiteX70" fmla="*/ 110925 w 890589"/>
                <a:gd name="connsiteY70" fmla="*/ 783489 h 1456690"/>
                <a:gd name="connsiteX71" fmla="*/ 114750 w 890589"/>
                <a:gd name="connsiteY71" fmla="*/ 822377 h 1456690"/>
                <a:gd name="connsiteX72" fmla="*/ 140250 w 890589"/>
                <a:gd name="connsiteY72" fmla="*/ 861902 h 1456690"/>
                <a:gd name="connsiteX73" fmla="*/ 185513 w 890589"/>
                <a:gd name="connsiteY73" fmla="*/ 984939 h 1456690"/>
                <a:gd name="connsiteX74" fmla="*/ 199538 w 890589"/>
                <a:gd name="connsiteY74" fmla="*/ 992590 h 1456690"/>
                <a:gd name="connsiteX75" fmla="*/ 195075 w 890589"/>
                <a:gd name="connsiteY75" fmla="*/ 1078015 h 1456690"/>
                <a:gd name="connsiteX76" fmla="*/ 202088 w 890589"/>
                <a:gd name="connsiteY76" fmla="*/ 1088852 h 1456690"/>
                <a:gd name="connsiteX77" fmla="*/ 298988 w 890589"/>
                <a:gd name="connsiteY77" fmla="*/ 1123277 h 1456690"/>
                <a:gd name="connsiteX78" fmla="*/ 328951 w 890589"/>
                <a:gd name="connsiteY78" fmla="*/ 1155152 h 1456690"/>
                <a:gd name="connsiteX79" fmla="*/ 339788 w 890589"/>
                <a:gd name="connsiteY79" fmla="*/ 1175552 h 1456690"/>
                <a:gd name="connsiteX80" fmla="*/ 368476 w 890589"/>
                <a:gd name="connsiteY80" fmla="*/ 1191490 h 1456690"/>
                <a:gd name="connsiteX81" fmla="*/ 399713 w 890589"/>
                <a:gd name="connsiteY81" fmla="*/ 1197227 h 1456690"/>
                <a:gd name="connsiteX82" fmla="*/ 412463 w 890589"/>
                <a:gd name="connsiteY82" fmla="*/ 1232290 h 1456690"/>
                <a:gd name="connsiteX83" fmla="*/ 437963 w 890589"/>
                <a:gd name="connsiteY83" fmla="*/ 1244403 h 1456690"/>
                <a:gd name="connsiteX84" fmla="*/ 476213 w 890589"/>
                <a:gd name="connsiteY84" fmla="*/ 1290302 h 1456690"/>
                <a:gd name="connsiteX85" fmla="*/ 511914 w 890589"/>
                <a:gd name="connsiteY85" fmla="*/ 1349590 h 1456690"/>
                <a:gd name="connsiteX86" fmla="*/ 509363 w 890589"/>
                <a:gd name="connsiteY86" fmla="*/ 1404415 h 1456690"/>
                <a:gd name="connsiteX87" fmla="*/ 529126 w 890589"/>
                <a:gd name="connsiteY87" fmla="*/ 1431190 h 1456690"/>
                <a:gd name="connsiteX88" fmla="*/ 791777 w 890589"/>
                <a:gd name="connsiteY88" fmla="*/ 1456690 h 1456690"/>
                <a:gd name="connsiteX89" fmla="*/ 791777 w 890589"/>
                <a:gd name="connsiteY89" fmla="*/ 1456690 h 1456690"/>
                <a:gd name="connsiteX90" fmla="*/ 814727 w 890589"/>
                <a:gd name="connsiteY90" fmla="*/ 1455415 h 1456690"/>
                <a:gd name="connsiteX91" fmla="*/ 825564 w 890589"/>
                <a:gd name="connsiteY91" fmla="*/ 1426728 h 1456690"/>
                <a:gd name="connsiteX92" fmla="*/ 805802 w 890589"/>
                <a:gd name="connsiteY92" fmla="*/ 1412065 h 1456690"/>
                <a:gd name="connsiteX93" fmla="*/ 806439 w 890589"/>
                <a:gd name="connsiteY93" fmla="*/ 1364890 h 1456690"/>
                <a:gd name="connsiteX94" fmla="*/ 817914 w 890589"/>
                <a:gd name="connsiteY94" fmla="*/ 1362340 h 1456690"/>
                <a:gd name="connsiteX95" fmla="*/ 840864 w 890589"/>
                <a:gd name="connsiteY95" fmla="*/ 1306240 h 1456690"/>
                <a:gd name="connsiteX96" fmla="*/ 854889 w 890589"/>
                <a:gd name="connsiteY96" fmla="*/ 1279465 h 1456690"/>
                <a:gd name="connsiteX97" fmla="*/ 890589 w 890589"/>
                <a:gd name="connsiteY97" fmla="*/ 1258427 h 1456690"/>
                <a:gd name="connsiteX98" fmla="*/ 870827 w 890589"/>
                <a:gd name="connsiteY98" fmla="*/ 1231015 h 1456690"/>
                <a:gd name="connsiteX99" fmla="*/ 848514 w 890589"/>
                <a:gd name="connsiteY99" fmla="*/ 1171090 h 1456690"/>
                <a:gd name="connsiteX100" fmla="*/ 849789 w 890589"/>
                <a:gd name="connsiteY100" fmla="*/ 1155152 h 1456690"/>
                <a:gd name="connsiteX101" fmla="*/ 849789 w 890589"/>
                <a:gd name="connsiteY101" fmla="*/ 1154515 h 1456690"/>
                <a:gd name="connsiteX102" fmla="*/ 833214 w 890589"/>
                <a:gd name="connsiteY102" fmla="*/ 1132202 h 1456690"/>
                <a:gd name="connsiteX103" fmla="*/ 781577 w 890589"/>
                <a:gd name="connsiteY103" fmla="*/ 1063352 h 1456690"/>
                <a:gd name="connsiteX104" fmla="*/ 682126 w 890589"/>
                <a:gd name="connsiteY104" fmla="*/ 923102 h 1456690"/>
                <a:gd name="connsiteX105" fmla="*/ 541876 w 890589"/>
                <a:gd name="connsiteY105" fmla="*/ 725476 h 1456690"/>
                <a:gd name="connsiteX106" fmla="*/ 464101 w 890589"/>
                <a:gd name="connsiteY106" fmla="*/ 617739 h 1456690"/>
                <a:gd name="connsiteX107" fmla="*/ 388238 w 890589"/>
                <a:gd name="connsiteY107" fmla="*/ 508726 h 1456690"/>
                <a:gd name="connsiteX108" fmla="*/ 475576 w 890589"/>
                <a:gd name="connsiteY108" fmla="*/ 138338 h 1456690"/>
                <a:gd name="connsiteX109" fmla="*/ 480676 w 890589"/>
                <a:gd name="connsiteY109" fmla="*/ 113475 h 1456690"/>
                <a:gd name="connsiteX110" fmla="*/ 480676 w 890589"/>
                <a:gd name="connsiteY110" fmla="*/ 113475 h 14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90589" h="1456690">
                  <a:moveTo>
                    <a:pt x="368476" y="1331103"/>
                  </a:moveTo>
                  <a:lnTo>
                    <a:pt x="371026" y="1345128"/>
                  </a:lnTo>
                  <a:lnTo>
                    <a:pt x="371026" y="1347678"/>
                  </a:lnTo>
                  <a:lnTo>
                    <a:pt x="368476" y="1331103"/>
                  </a:lnTo>
                  <a:lnTo>
                    <a:pt x="368476" y="1331103"/>
                  </a:lnTo>
                  <a:close/>
                  <a:moveTo>
                    <a:pt x="273488" y="1275640"/>
                  </a:moveTo>
                  <a:lnTo>
                    <a:pt x="277951" y="1285840"/>
                  </a:lnTo>
                  <a:lnTo>
                    <a:pt x="280501" y="1285202"/>
                  </a:lnTo>
                  <a:lnTo>
                    <a:pt x="273488" y="1275640"/>
                  </a:lnTo>
                  <a:lnTo>
                    <a:pt x="273488" y="1275640"/>
                  </a:lnTo>
                  <a:close/>
                  <a:moveTo>
                    <a:pt x="386326" y="1273728"/>
                  </a:moveTo>
                  <a:lnTo>
                    <a:pt x="388238" y="1290302"/>
                  </a:lnTo>
                  <a:lnTo>
                    <a:pt x="399713" y="1298590"/>
                  </a:lnTo>
                  <a:lnTo>
                    <a:pt x="386326" y="1273728"/>
                  </a:lnTo>
                  <a:close/>
                  <a:moveTo>
                    <a:pt x="308551" y="1182565"/>
                  </a:moveTo>
                  <a:lnTo>
                    <a:pt x="301538" y="1180652"/>
                  </a:lnTo>
                  <a:lnTo>
                    <a:pt x="307276" y="1183202"/>
                  </a:lnTo>
                  <a:lnTo>
                    <a:pt x="308551" y="1182565"/>
                  </a:lnTo>
                  <a:lnTo>
                    <a:pt x="308551" y="1182565"/>
                  </a:lnTo>
                  <a:close/>
                  <a:moveTo>
                    <a:pt x="237150" y="1162802"/>
                  </a:moveTo>
                  <a:lnTo>
                    <a:pt x="219938" y="1173640"/>
                  </a:lnTo>
                  <a:lnTo>
                    <a:pt x="224400" y="1178102"/>
                  </a:lnTo>
                  <a:lnTo>
                    <a:pt x="237150" y="1162802"/>
                  </a:lnTo>
                  <a:close/>
                  <a:moveTo>
                    <a:pt x="204000" y="1151327"/>
                  </a:moveTo>
                  <a:lnTo>
                    <a:pt x="202725" y="1156427"/>
                  </a:lnTo>
                  <a:lnTo>
                    <a:pt x="208463" y="1157702"/>
                  </a:lnTo>
                  <a:lnTo>
                    <a:pt x="204000" y="1151327"/>
                  </a:lnTo>
                  <a:lnTo>
                    <a:pt x="204000" y="1151327"/>
                  </a:lnTo>
                  <a:close/>
                  <a:moveTo>
                    <a:pt x="260738" y="1163440"/>
                  </a:moveTo>
                  <a:lnTo>
                    <a:pt x="289426" y="1179377"/>
                  </a:lnTo>
                  <a:lnTo>
                    <a:pt x="294526" y="1174915"/>
                  </a:lnTo>
                  <a:lnTo>
                    <a:pt x="260738" y="1163440"/>
                  </a:lnTo>
                  <a:close/>
                  <a:moveTo>
                    <a:pt x="41438" y="597976"/>
                  </a:moveTo>
                  <a:lnTo>
                    <a:pt x="41438" y="597976"/>
                  </a:lnTo>
                  <a:lnTo>
                    <a:pt x="41438" y="597976"/>
                  </a:lnTo>
                  <a:lnTo>
                    <a:pt x="41438" y="597976"/>
                  </a:lnTo>
                  <a:close/>
                  <a:moveTo>
                    <a:pt x="110288" y="601164"/>
                  </a:moveTo>
                  <a:lnTo>
                    <a:pt x="109650" y="599251"/>
                  </a:lnTo>
                  <a:lnTo>
                    <a:pt x="110288" y="601164"/>
                  </a:lnTo>
                  <a:lnTo>
                    <a:pt x="110288" y="601164"/>
                  </a:lnTo>
                  <a:lnTo>
                    <a:pt x="110288" y="601164"/>
                  </a:lnTo>
                  <a:close/>
                  <a:moveTo>
                    <a:pt x="480676" y="113475"/>
                  </a:moveTo>
                  <a:lnTo>
                    <a:pt x="455813" y="107100"/>
                  </a:lnTo>
                  <a:lnTo>
                    <a:pt x="181050" y="31238"/>
                  </a:lnTo>
                  <a:lnTo>
                    <a:pt x="79050" y="0"/>
                  </a:lnTo>
                  <a:lnTo>
                    <a:pt x="79050" y="2550"/>
                  </a:lnTo>
                  <a:lnTo>
                    <a:pt x="73313" y="66300"/>
                  </a:lnTo>
                  <a:lnTo>
                    <a:pt x="45900" y="141525"/>
                  </a:lnTo>
                  <a:lnTo>
                    <a:pt x="638" y="196988"/>
                  </a:lnTo>
                  <a:lnTo>
                    <a:pt x="0" y="225038"/>
                  </a:lnTo>
                  <a:lnTo>
                    <a:pt x="21675" y="263926"/>
                  </a:lnTo>
                  <a:lnTo>
                    <a:pt x="33150" y="315563"/>
                  </a:lnTo>
                  <a:lnTo>
                    <a:pt x="17850" y="357001"/>
                  </a:lnTo>
                  <a:lnTo>
                    <a:pt x="20400" y="398438"/>
                  </a:lnTo>
                  <a:lnTo>
                    <a:pt x="12750" y="415651"/>
                  </a:lnTo>
                  <a:lnTo>
                    <a:pt x="39525" y="472388"/>
                  </a:lnTo>
                  <a:lnTo>
                    <a:pt x="56100" y="494064"/>
                  </a:lnTo>
                  <a:lnTo>
                    <a:pt x="54825" y="556539"/>
                  </a:lnTo>
                  <a:lnTo>
                    <a:pt x="94350" y="594151"/>
                  </a:lnTo>
                  <a:lnTo>
                    <a:pt x="117300" y="555901"/>
                  </a:lnTo>
                  <a:lnTo>
                    <a:pt x="142163" y="575664"/>
                  </a:lnTo>
                  <a:lnTo>
                    <a:pt x="152363" y="566101"/>
                  </a:lnTo>
                  <a:lnTo>
                    <a:pt x="117938" y="572476"/>
                  </a:lnTo>
                  <a:lnTo>
                    <a:pt x="117300" y="605626"/>
                  </a:lnTo>
                  <a:lnTo>
                    <a:pt x="124313" y="646426"/>
                  </a:lnTo>
                  <a:lnTo>
                    <a:pt x="103913" y="629214"/>
                  </a:lnTo>
                  <a:lnTo>
                    <a:pt x="92438" y="604351"/>
                  </a:lnTo>
                  <a:lnTo>
                    <a:pt x="89250" y="638776"/>
                  </a:lnTo>
                  <a:lnTo>
                    <a:pt x="98813" y="707626"/>
                  </a:lnTo>
                  <a:lnTo>
                    <a:pt x="134513" y="752252"/>
                  </a:lnTo>
                  <a:lnTo>
                    <a:pt x="110925" y="783489"/>
                  </a:lnTo>
                  <a:lnTo>
                    <a:pt x="114750" y="822377"/>
                  </a:lnTo>
                  <a:lnTo>
                    <a:pt x="140250" y="861902"/>
                  </a:lnTo>
                  <a:lnTo>
                    <a:pt x="185513" y="984939"/>
                  </a:lnTo>
                  <a:lnTo>
                    <a:pt x="199538" y="992590"/>
                  </a:lnTo>
                  <a:lnTo>
                    <a:pt x="195075" y="1078015"/>
                  </a:lnTo>
                  <a:lnTo>
                    <a:pt x="202088" y="1088852"/>
                  </a:lnTo>
                  <a:lnTo>
                    <a:pt x="298988" y="1123277"/>
                  </a:lnTo>
                  <a:lnTo>
                    <a:pt x="328951" y="1155152"/>
                  </a:lnTo>
                  <a:lnTo>
                    <a:pt x="339788" y="1175552"/>
                  </a:lnTo>
                  <a:lnTo>
                    <a:pt x="368476" y="1191490"/>
                  </a:lnTo>
                  <a:lnTo>
                    <a:pt x="399713" y="1197227"/>
                  </a:lnTo>
                  <a:lnTo>
                    <a:pt x="412463" y="1232290"/>
                  </a:lnTo>
                  <a:lnTo>
                    <a:pt x="437963" y="1244403"/>
                  </a:lnTo>
                  <a:lnTo>
                    <a:pt x="476213" y="1290302"/>
                  </a:lnTo>
                  <a:lnTo>
                    <a:pt x="511914" y="1349590"/>
                  </a:lnTo>
                  <a:lnTo>
                    <a:pt x="509363" y="1404415"/>
                  </a:lnTo>
                  <a:lnTo>
                    <a:pt x="529126" y="1431190"/>
                  </a:lnTo>
                  <a:lnTo>
                    <a:pt x="791777" y="1456690"/>
                  </a:lnTo>
                  <a:lnTo>
                    <a:pt x="791777" y="1456690"/>
                  </a:lnTo>
                  <a:lnTo>
                    <a:pt x="814727" y="1455415"/>
                  </a:lnTo>
                  <a:lnTo>
                    <a:pt x="825564" y="1426728"/>
                  </a:lnTo>
                  <a:lnTo>
                    <a:pt x="805802" y="1412065"/>
                  </a:lnTo>
                  <a:lnTo>
                    <a:pt x="806439" y="1364890"/>
                  </a:lnTo>
                  <a:lnTo>
                    <a:pt x="817914" y="1362340"/>
                  </a:lnTo>
                  <a:lnTo>
                    <a:pt x="840864" y="1306240"/>
                  </a:lnTo>
                  <a:lnTo>
                    <a:pt x="854889" y="1279465"/>
                  </a:lnTo>
                  <a:lnTo>
                    <a:pt x="890589" y="1258427"/>
                  </a:lnTo>
                  <a:lnTo>
                    <a:pt x="870827" y="1231015"/>
                  </a:lnTo>
                  <a:lnTo>
                    <a:pt x="848514" y="1171090"/>
                  </a:lnTo>
                  <a:lnTo>
                    <a:pt x="849789" y="1155152"/>
                  </a:lnTo>
                  <a:lnTo>
                    <a:pt x="849789" y="1154515"/>
                  </a:lnTo>
                  <a:lnTo>
                    <a:pt x="833214" y="1132202"/>
                  </a:lnTo>
                  <a:lnTo>
                    <a:pt x="781577" y="1063352"/>
                  </a:lnTo>
                  <a:lnTo>
                    <a:pt x="682126" y="923102"/>
                  </a:lnTo>
                  <a:lnTo>
                    <a:pt x="541876" y="725476"/>
                  </a:lnTo>
                  <a:lnTo>
                    <a:pt x="464101" y="617739"/>
                  </a:lnTo>
                  <a:lnTo>
                    <a:pt x="388238" y="508726"/>
                  </a:lnTo>
                  <a:lnTo>
                    <a:pt x="475576" y="138338"/>
                  </a:lnTo>
                  <a:lnTo>
                    <a:pt x="480676" y="113475"/>
                  </a:lnTo>
                  <a:lnTo>
                    <a:pt x="480676" y="113475"/>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140" name="Freeform 29">
              <a:extLst>
                <a:ext uri="{FF2B5EF4-FFF2-40B4-BE49-F238E27FC236}">
                  <a16:creationId xmlns:a16="http://schemas.microsoft.com/office/drawing/2014/main" id="{7CDDD123-5393-19E4-5558-06FDED8C1900}"/>
                </a:ext>
              </a:extLst>
            </p:cNvPr>
            <p:cNvSpPr/>
            <p:nvPr/>
          </p:nvSpPr>
          <p:spPr>
            <a:xfrm>
              <a:off x="3314562" y="2913362"/>
              <a:ext cx="721651" cy="765639"/>
            </a:xfrm>
            <a:custGeom>
              <a:avLst/>
              <a:gdLst>
                <a:gd name="connsiteX0" fmla="*/ 719739 w 721651"/>
                <a:gd name="connsiteY0" fmla="*/ 96900 h 765639"/>
                <a:gd name="connsiteX1" fmla="*/ 720376 w 721651"/>
                <a:gd name="connsiteY1" fmla="*/ 80325 h 765639"/>
                <a:gd name="connsiteX2" fmla="*/ 721014 w 721651"/>
                <a:gd name="connsiteY2" fmla="*/ 63750 h 765639"/>
                <a:gd name="connsiteX3" fmla="*/ 721652 w 721651"/>
                <a:gd name="connsiteY3" fmla="*/ 47175 h 765639"/>
                <a:gd name="connsiteX4" fmla="*/ 701251 w 721651"/>
                <a:gd name="connsiteY4" fmla="*/ 46538 h 765639"/>
                <a:gd name="connsiteX5" fmla="*/ 559089 w 721651"/>
                <a:gd name="connsiteY5" fmla="*/ 40163 h 765639"/>
                <a:gd name="connsiteX6" fmla="*/ 416926 w 721651"/>
                <a:gd name="connsiteY6" fmla="*/ 30600 h 765639"/>
                <a:gd name="connsiteX7" fmla="*/ 93075 w 721651"/>
                <a:gd name="connsiteY7" fmla="*/ 1912 h 765639"/>
                <a:gd name="connsiteX8" fmla="*/ 73313 w 721651"/>
                <a:gd name="connsiteY8" fmla="*/ 0 h 765639"/>
                <a:gd name="connsiteX9" fmla="*/ 70763 w 721651"/>
                <a:gd name="connsiteY9" fmla="*/ 22950 h 765639"/>
                <a:gd name="connsiteX10" fmla="*/ 22313 w 721651"/>
                <a:gd name="connsiteY10" fmla="*/ 520201 h 765639"/>
                <a:gd name="connsiteX11" fmla="*/ 17850 w 721651"/>
                <a:gd name="connsiteY11" fmla="*/ 567376 h 765639"/>
                <a:gd name="connsiteX12" fmla="*/ 0 w 721651"/>
                <a:gd name="connsiteY12" fmla="*/ 756714 h 765639"/>
                <a:gd name="connsiteX13" fmla="*/ 2550 w 721651"/>
                <a:gd name="connsiteY13" fmla="*/ 757351 h 765639"/>
                <a:gd name="connsiteX14" fmla="*/ 91163 w 721651"/>
                <a:gd name="connsiteY14" fmla="*/ 765639 h 765639"/>
                <a:gd name="connsiteX15" fmla="*/ 99450 w 721651"/>
                <a:gd name="connsiteY15" fmla="*/ 720376 h 765639"/>
                <a:gd name="connsiteX16" fmla="*/ 115388 w 721651"/>
                <a:gd name="connsiteY16" fmla="*/ 707626 h 765639"/>
                <a:gd name="connsiteX17" fmla="*/ 295163 w 721651"/>
                <a:gd name="connsiteY17" fmla="*/ 723564 h 765639"/>
                <a:gd name="connsiteX18" fmla="*/ 296438 w 721651"/>
                <a:gd name="connsiteY18" fmla="*/ 723564 h 765639"/>
                <a:gd name="connsiteX19" fmla="*/ 280501 w 721651"/>
                <a:gd name="connsiteY19" fmla="*/ 691689 h 765639"/>
                <a:gd name="connsiteX20" fmla="*/ 362101 w 721651"/>
                <a:gd name="connsiteY20" fmla="*/ 697427 h 765639"/>
                <a:gd name="connsiteX21" fmla="*/ 566101 w 721651"/>
                <a:gd name="connsiteY21" fmla="*/ 708902 h 765639"/>
                <a:gd name="connsiteX22" fmla="*/ 692964 w 721651"/>
                <a:gd name="connsiteY22" fmla="*/ 714639 h 765639"/>
                <a:gd name="connsiteX23" fmla="*/ 714639 w 721651"/>
                <a:gd name="connsiteY23" fmla="*/ 112200 h 765639"/>
                <a:gd name="connsiteX24" fmla="*/ 719101 w 721651"/>
                <a:gd name="connsiteY24" fmla="*/ 112838 h 765639"/>
                <a:gd name="connsiteX25" fmla="*/ 719101 w 721651"/>
                <a:gd name="connsiteY25" fmla="*/ 96900 h 765639"/>
                <a:gd name="connsiteX26" fmla="*/ 719739 w 721651"/>
                <a:gd name="connsiteY26" fmla="*/ 96900 h 76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1651" h="765639">
                  <a:moveTo>
                    <a:pt x="719739" y="96900"/>
                  </a:moveTo>
                  <a:lnTo>
                    <a:pt x="720376" y="80325"/>
                  </a:lnTo>
                  <a:lnTo>
                    <a:pt x="721014" y="63750"/>
                  </a:lnTo>
                  <a:lnTo>
                    <a:pt x="721652" y="47175"/>
                  </a:lnTo>
                  <a:lnTo>
                    <a:pt x="701251" y="46538"/>
                  </a:lnTo>
                  <a:lnTo>
                    <a:pt x="559089" y="40163"/>
                  </a:lnTo>
                  <a:lnTo>
                    <a:pt x="416926" y="30600"/>
                  </a:lnTo>
                  <a:lnTo>
                    <a:pt x="93075" y="1912"/>
                  </a:lnTo>
                  <a:lnTo>
                    <a:pt x="73313" y="0"/>
                  </a:lnTo>
                  <a:lnTo>
                    <a:pt x="70763" y="22950"/>
                  </a:lnTo>
                  <a:lnTo>
                    <a:pt x="22313" y="520201"/>
                  </a:lnTo>
                  <a:lnTo>
                    <a:pt x="17850" y="567376"/>
                  </a:lnTo>
                  <a:lnTo>
                    <a:pt x="0" y="756714"/>
                  </a:lnTo>
                  <a:lnTo>
                    <a:pt x="2550" y="757351"/>
                  </a:lnTo>
                  <a:lnTo>
                    <a:pt x="91163" y="765639"/>
                  </a:lnTo>
                  <a:lnTo>
                    <a:pt x="99450" y="720376"/>
                  </a:lnTo>
                  <a:lnTo>
                    <a:pt x="115388" y="707626"/>
                  </a:lnTo>
                  <a:lnTo>
                    <a:pt x="295163" y="723564"/>
                  </a:lnTo>
                  <a:lnTo>
                    <a:pt x="296438" y="723564"/>
                  </a:lnTo>
                  <a:lnTo>
                    <a:pt x="280501" y="691689"/>
                  </a:lnTo>
                  <a:lnTo>
                    <a:pt x="362101" y="697427"/>
                  </a:lnTo>
                  <a:lnTo>
                    <a:pt x="566101" y="708902"/>
                  </a:lnTo>
                  <a:lnTo>
                    <a:pt x="692964" y="714639"/>
                  </a:lnTo>
                  <a:lnTo>
                    <a:pt x="714639" y="112200"/>
                  </a:lnTo>
                  <a:lnTo>
                    <a:pt x="719101" y="112838"/>
                  </a:lnTo>
                  <a:lnTo>
                    <a:pt x="719101" y="96900"/>
                  </a:lnTo>
                  <a:lnTo>
                    <a:pt x="719739" y="9690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146" name="Freeform 30">
              <a:extLst>
                <a:ext uri="{FF2B5EF4-FFF2-40B4-BE49-F238E27FC236}">
                  <a16:creationId xmlns:a16="http://schemas.microsoft.com/office/drawing/2014/main" id="{8CC00575-FAD7-A740-B1E1-1EB8B8F80D1B}"/>
                </a:ext>
              </a:extLst>
            </p:cNvPr>
            <p:cNvSpPr/>
            <p:nvPr/>
          </p:nvSpPr>
          <p:spPr>
            <a:xfrm>
              <a:off x="1972622" y="1405034"/>
              <a:ext cx="846601" cy="713363"/>
            </a:xfrm>
            <a:custGeom>
              <a:avLst/>
              <a:gdLst>
                <a:gd name="connsiteX0" fmla="*/ 8288 w 846601"/>
                <a:gd name="connsiteY0" fmla="*/ 533588 h 713363"/>
                <a:gd name="connsiteX1" fmla="*/ 110288 w 846601"/>
                <a:gd name="connsiteY1" fmla="*/ 564826 h 713363"/>
                <a:gd name="connsiteX2" fmla="*/ 385051 w 846601"/>
                <a:gd name="connsiteY2" fmla="*/ 640689 h 713363"/>
                <a:gd name="connsiteX3" fmla="*/ 409913 w 846601"/>
                <a:gd name="connsiteY3" fmla="*/ 647064 h 713363"/>
                <a:gd name="connsiteX4" fmla="*/ 427763 w 846601"/>
                <a:gd name="connsiteY4" fmla="*/ 651526 h 713363"/>
                <a:gd name="connsiteX5" fmla="*/ 590326 w 846601"/>
                <a:gd name="connsiteY5" fmla="*/ 689776 h 713363"/>
                <a:gd name="connsiteX6" fmla="*/ 680851 w 846601"/>
                <a:gd name="connsiteY6" fmla="*/ 709539 h 713363"/>
                <a:gd name="connsiteX7" fmla="*/ 698701 w 846601"/>
                <a:gd name="connsiteY7" fmla="*/ 713364 h 713363"/>
                <a:gd name="connsiteX8" fmla="*/ 701251 w 846601"/>
                <a:gd name="connsiteY8" fmla="*/ 699976 h 713363"/>
                <a:gd name="connsiteX9" fmla="*/ 761814 w 846601"/>
                <a:gd name="connsiteY9" fmla="*/ 446888 h 713363"/>
                <a:gd name="connsiteX10" fmla="*/ 745877 w 846601"/>
                <a:gd name="connsiteY10" fmla="*/ 406726 h 713363"/>
                <a:gd name="connsiteX11" fmla="*/ 747789 w 846601"/>
                <a:gd name="connsiteY11" fmla="*/ 390788 h 713363"/>
                <a:gd name="connsiteX12" fmla="*/ 814727 w 846601"/>
                <a:gd name="connsiteY12" fmla="*/ 303450 h 713363"/>
                <a:gd name="connsiteX13" fmla="*/ 846602 w 846601"/>
                <a:gd name="connsiteY13" fmla="*/ 224400 h 713363"/>
                <a:gd name="connsiteX14" fmla="*/ 824927 w 846601"/>
                <a:gd name="connsiteY14" fmla="*/ 200813 h 713363"/>
                <a:gd name="connsiteX15" fmla="*/ 824289 w 846601"/>
                <a:gd name="connsiteY15" fmla="*/ 188700 h 713363"/>
                <a:gd name="connsiteX16" fmla="*/ 824289 w 846601"/>
                <a:gd name="connsiteY16" fmla="*/ 188063 h 713363"/>
                <a:gd name="connsiteX17" fmla="*/ 812177 w 846601"/>
                <a:gd name="connsiteY17" fmla="*/ 185513 h 713363"/>
                <a:gd name="connsiteX18" fmla="*/ 631764 w 846601"/>
                <a:gd name="connsiteY18" fmla="*/ 144713 h 713363"/>
                <a:gd name="connsiteX19" fmla="*/ 621564 w 846601"/>
                <a:gd name="connsiteY19" fmla="*/ 149175 h 713363"/>
                <a:gd name="connsiteX20" fmla="*/ 586501 w 846601"/>
                <a:gd name="connsiteY20" fmla="*/ 143438 h 713363"/>
                <a:gd name="connsiteX21" fmla="*/ 515101 w 846601"/>
                <a:gd name="connsiteY21" fmla="*/ 151088 h 713363"/>
                <a:gd name="connsiteX22" fmla="*/ 471113 w 846601"/>
                <a:gd name="connsiteY22" fmla="*/ 145350 h 713363"/>
                <a:gd name="connsiteX23" fmla="*/ 424576 w 846601"/>
                <a:gd name="connsiteY23" fmla="*/ 144713 h 713363"/>
                <a:gd name="connsiteX24" fmla="*/ 420751 w 846601"/>
                <a:gd name="connsiteY24" fmla="*/ 133238 h 713363"/>
                <a:gd name="connsiteX25" fmla="*/ 322576 w 846601"/>
                <a:gd name="connsiteY25" fmla="*/ 123675 h 713363"/>
                <a:gd name="connsiteX26" fmla="*/ 288151 w 846601"/>
                <a:gd name="connsiteY26" fmla="*/ 105188 h 713363"/>
                <a:gd name="connsiteX27" fmla="*/ 283688 w 846601"/>
                <a:gd name="connsiteY27" fmla="*/ 93075 h 713363"/>
                <a:gd name="connsiteX28" fmla="*/ 287513 w 846601"/>
                <a:gd name="connsiteY28" fmla="*/ 44625 h 713363"/>
                <a:gd name="connsiteX29" fmla="*/ 264563 w 846601"/>
                <a:gd name="connsiteY29" fmla="*/ 19762 h 713363"/>
                <a:gd name="connsiteX30" fmla="*/ 262651 w 846601"/>
                <a:gd name="connsiteY30" fmla="*/ 20400 h 713363"/>
                <a:gd name="connsiteX31" fmla="*/ 258188 w 846601"/>
                <a:gd name="connsiteY31" fmla="*/ 23587 h 713363"/>
                <a:gd name="connsiteX32" fmla="*/ 225675 w 846601"/>
                <a:gd name="connsiteY32" fmla="*/ 7012 h 713363"/>
                <a:gd name="connsiteX33" fmla="*/ 206550 w 846601"/>
                <a:gd name="connsiteY33" fmla="*/ 12750 h 713363"/>
                <a:gd name="connsiteX34" fmla="*/ 193800 w 846601"/>
                <a:gd name="connsiteY34" fmla="*/ 6375 h 713363"/>
                <a:gd name="connsiteX35" fmla="*/ 180413 w 846601"/>
                <a:gd name="connsiteY35" fmla="*/ 61200 h 713363"/>
                <a:gd name="connsiteX36" fmla="*/ 170850 w 846601"/>
                <a:gd name="connsiteY36" fmla="*/ 76500 h 713363"/>
                <a:gd name="connsiteX37" fmla="*/ 131325 w 846601"/>
                <a:gd name="connsiteY37" fmla="*/ 174038 h 713363"/>
                <a:gd name="connsiteX38" fmla="*/ 119850 w 846601"/>
                <a:gd name="connsiteY38" fmla="*/ 227588 h 713363"/>
                <a:gd name="connsiteX39" fmla="*/ 112838 w 846601"/>
                <a:gd name="connsiteY39" fmla="*/ 228225 h 713363"/>
                <a:gd name="connsiteX40" fmla="*/ 75863 w 846601"/>
                <a:gd name="connsiteY40" fmla="*/ 316838 h 713363"/>
                <a:gd name="connsiteX41" fmla="*/ 51000 w 846601"/>
                <a:gd name="connsiteY41" fmla="*/ 354451 h 713363"/>
                <a:gd name="connsiteX42" fmla="*/ 41438 w 846601"/>
                <a:gd name="connsiteY42" fmla="*/ 360826 h 713363"/>
                <a:gd name="connsiteX43" fmla="*/ 18487 w 846601"/>
                <a:gd name="connsiteY43" fmla="*/ 406088 h 713363"/>
                <a:gd name="connsiteX44" fmla="*/ 14025 w 846601"/>
                <a:gd name="connsiteY44" fmla="*/ 453901 h 713363"/>
                <a:gd name="connsiteX45" fmla="*/ 0 w 846601"/>
                <a:gd name="connsiteY45" fmla="*/ 495976 h 713363"/>
                <a:gd name="connsiteX46" fmla="*/ 8288 w 846601"/>
                <a:gd name="connsiteY46" fmla="*/ 533588 h 713363"/>
                <a:gd name="connsiteX47" fmla="*/ 8288 w 846601"/>
                <a:gd name="connsiteY47" fmla="*/ 533588 h 713363"/>
                <a:gd name="connsiteX48" fmla="*/ 8288 w 846601"/>
                <a:gd name="connsiteY48" fmla="*/ 533588 h 713363"/>
                <a:gd name="connsiteX49" fmla="*/ 244163 w 846601"/>
                <a:gd name="connsiteY49" fmla="*/ 5737 h 713363"/>
                <a:gd name="connsiteX50" fmla="*/ 242250 w 846601"/>
                <a:gd name="connsiteY50" fmla="*/ 0 h 713363"/>
                <a:gd name="connsiteX51" fmla="*/ 241613 w 846601"/>
                <a:gd name="connsiteY51" fmla="*/ 4462 h 713363"/>
                <a:gd name="connsiteX52" fmla="*/ 244163 w 846601"/>
                <a:gd name="connsiteY52" fmla="*/ 5737 h 713363"/>
                <a:gd name="connsiteX53" fmla="*/ 244163 w 846601"/>
                <a:gd name="connsiteY53" fmla="*/ 5737 h 71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6601" h="713363">
                  <a:moveTo>
                    <a:pt x="8288" y="533588"/>
                  </a:moveTo>
                  <a:lnTo>
                    <a:pt x="110288" y="564826"/>
                  </a:lnTo>
                  <a:lnTo>
                    <a:pt x="385051" y="640689"/>
                  </a:lnTo>
                  <a:lnTo>
                    <a:pt x="409913" y="647064"/>
                  </a:lnTo>
                  <a:lnTo>
                    <a:pt x="427763" y="651526"/>
                  </a:lnTo>
                  <a:lnTo>
                    <a:pt x="590326" y="689776"/>
                  </a:lnTo>
                  <a:lnTo>
                    <a:pt x="680851" y="709539"/>
                  </a:lnTo>
                  <a:lnTo>
                    <a:pt x="698701" y="713364"/>
                  </a:lnTo>
                  <a:lnTo>
                    <a:pt x="701251" y="699976"/>
                  </a:lnTo>
                  <a:lnTo>
                    <a:pt x="761814" y="446888"/>
                  </a:lnTo>
                  <a:lnTo>
                    <a:pt x="745877" y="406726"/>
                  </a:lnTo>
                  <a:lnTo>
                    <a:pt x="747789" y="390788"/>
                  </a:lnTo>
                  <a:lnTo>
                    <a:pt x="814727" y="303450"/>
                  </a:lnTo>
                  <a:lnTo>
                    <a:pt x="846602" y="224400"/>
                  </a:lnTo>
                  <a:lnTo>
                    <a:pt x="824927" y="200813"/>
                  </a:lnTo>
                  <a:lnTo>
                    <a:pt x="824289" y="188700"/>
                  </a:lnTo>
                  <a:lnTo>
                    <a:pt x="824289" y="188063"/>
                  </a:lnTo>
                  <a:lnTo>
                    <a:pt x="812177" y="185513"/>
                  </a:lnTo>
                  <a:lnTo>
                    <a:pt x="631764" y="144713"/>
                  </a:lnTo>
                  <a:lnTo>
                    <a:pt x="621564" y="149175"/>
                  </a:lnTo>
                  <a:lnTo>
                    <a:pt x="586501" y="143438"/>
                  </a:lnTo>
                  <a:lnTo>
                    <a:pt x="515101" y="151088"/>
                  </a:lnTo>
                  <a:lnTo>
                    <a:pt x="471113" y="145350"/>
                  </a:lnTo>
                  <a:lnTo>
                    <a:pt x="424576" y="144713"/>
                  </a:lnTo>
                  <a:lnTo>
                    <a:pt x="420751" y="133238"/>
                  </a:lnTo>
                  <a:lnTo>
                    <a:pt x="322576" y="123675"/>
                  </a:lnTo>
                  <a:lnTo>
                    <a:pt x="288151" y="105188"/>
                  </a:lnTo>
                  <a:lnTo>
                    <a:pt x="283688" y="93075"/>
                  </a:lnTo>
                  <a:lnTo>
                    <a:pt x="287513" y="44625"/>
                  </a:lnTo>
                  <a:lnTo>
                    <a:pt x="264563" y="19762"/>
                  </a:lnTo>
                  <a:lnTo>
                    <a:pt x="262651" y="20400"/>
                  </a:lnTo>
                  <a:lnTo>
                    <a:pt x="258188" y="23587"/>
                  </a:lnTo>
                  <a:lnTo>
                    <a:pt x="225675" y="7012"/>
                  </a:lnTo>
                  <a:lnTo>
                    <a:pt x="206550" y="12750"/>
                  </a:lnTo>
                  <a:lnTo>
                    <a:pt x="193800" y="6375"/>
                  </a:lnTo>
                  <a:lnTo>
                    <a:pt x="180413" y="61200"/>
                  </a:lnTo>
                  <a:lnTo>
                    <a:pt x="170850" y="76500"/>
                  </a:lnTo>
                  <a:lnTo>
                    <a:pt x="131325" y="174038"/>
                  </a:lnTo>
                  <a:lnTo>
                    <a:pt x="119850" y="227588"/>
                  </a:lnTo>
                  <a:lnTo>
                    <a:pt x="112838" y="228225"/>
                  </a:lnTo>
                  <a:lnTo>
                    <a:pt x="75863" y="316838"/>
                  </a:lnTo>
                  <a:lnTo>
                    <a:pt x="51000" y="354451"/>
                  </a:lnTo>
                  <a:lnTo>
                    <a:pt x="41438" y="360826"/>
                  </a:lnTo>
                  <a:lnTo>
                    <a:pt x="18487" y="406088"/>
                  </a:lnTo>
                  <a:lnTo>
                    <a:pt x="14025" y="453901"/>
                  </a:lnTo>
                  <a:lnTo>
                    <a:pt x="0" y="495976"/>
                  </a:lnTo>
                  <a:lnTo>
                    <a:pt x="8288" y="533588"/>
                  </a:lnTo>
                  <a:lnTo>
                    <a:pt x="8288" y="533588"/>
                  </a:lnTo>
                  <a:lnTo>
                    <a:pt x="8288" y="533588"/>
                  </a:lnTo>
                  <a:close/>
                  <a:moveTo>
                    <a:pt x="244163" y="5737"/>
                  </a:moveTo>
                  <a:lnTo>
                    <a:pt x="242250" y="0"/>
                  </a:lnTo>
                  <a:lnTo>
                    <a:pt x="241613" y="4462"/>
                  </a:lnTo>
                  <a:lnTo>
                    <a:pt x="244163" y="5737"/>
                  </a:lnTo>
                  <a:lnTo>
                    <a:pt x="244163" y="5737"/>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192" name="Freeform 31">
              <a:extLst>
                <a:ext uri="{FF2B5EF4-FFF2-40B4-BE49-F238E27FC236}">
                  <a16:creationId xmlns:a16="http://schemas.microsoft.com/office/drawing/2014/main" id="{F9AE08DE-6FA8-F30C-9E47-98C9A772ECF6}"/>
                </a:ext>
              </a:extLst>
            </p:cNvPr>
            <p:cNvSpPr/>
            <p:nvPr/>
          </p:nvSpPr>
          <p:spPr>
            <a:xfrm>
              <a:off x="2856198" y="2175136"/>
              <a:ext cx="586501" cy="739501"/>
            </a:xfrm>
            <a:custGeom>
              <a:avLst/>
              <a:gdLst>
                <a:gd name="connsiteX0" fmla="*/ 383776 w 586501"/>
                <a:gd name="connsiteY0" fmla="*/ 42713 h 739501"/>
                <a:gd name="connsiteX1" fmla="*/ 218025 w 586501"/>
                <a:gd name="connsiteY1" fmla="*/ 17850 h 739501"/>
                <a:gd name="connsiteX2" fmla="*/ 125588 w 586501"/>
                <a:gd name="connsiteY2" fmla="*/ 3188 h 739501"/>
                <a:gd name="connsiteX3" fmla="*/ 107738 w 586501"/>
                <a:gd name="connsiteY3" fmla="*/ 0 h 739501"/>
                <a:gd name="connsiteX4" fmla="*/ 103913 w 586501"/>
                <a:gd name="connsiteY4" fmla="*/ 20400 h 739501"/>
                <a:gd name="connsiteX5" fmla="*/ 70125 w 586501"/>
                <a:gd name="connsiteY5" fmla="*/ 228225 h 739501"/>
                <a:gd name="connsiteX6" fmla="*/ 3188 w 586501"/>
                <a:gd name="connsiteY6" fmla="*/ 643876 h 739501"/>
                <a:gd name="connsiteX7" fmla="*/ 0 w 586501"/>
                <a:gd name="connsiteY7" fmla="*/ 664276 h 739501"/>
                <a:gd name="connsiteX8" fmla="*/ 16575 w 586501"/>
                <a:gd name="connsiteY8" fmla="*/ 666826 h 739501"/>
                <a:gd name="connsiteX9" fmla="*/ 182325 w 586501"/>
                <a:gd name="connsiteY9" fmla="*/ 693601 h 739501"/>
                <a:gd name="connsiteX10" fmla="*/ 298988 w 586501"/>
                <a:gd name="connsiteY10" fmla="*/ 710177 h 739501"/>
                <a:gd name="connsiteX11" fmla="*/ 515101 w 586501"/>
                <a:gd name="connsiteY11" fmla="*/ 737589 h 739501"/>
                <a:gd name="connsiteX12" fmla="*/ 531676 w 586501"/>
                <a:gd name="connsiteY12" fmla="*/ 739502 h 739501"/>
                <a:gd name="connsiteX13" fmla="*/ 532951 w 586501"/>
                <a:gd name="connsiteY13" fmla="*/ 722927 h 739501"/>
                <a:gd name="connsiteX14" fmla="*/ 538051 w 586501"/>
                <a:gd name="connsiteY14" fmla="*/ 671926 h 739501"/>
                <a:gd name="connsiteX15" fmla="*/ 550164 w 586501"/>
                <a:gd name="connsiteY15" fmla="*/ 554626 h 739501"/>
                <a:gd name="connsiteX16" fmla="*/ 584589 w 586501"/>
                <a:gd name="connsiteY16" fmla="*/ 219938 h 739501"/>
                <a:gd name="connsiteX17" fmla="*/ 586501 w 586501"/>
                <a:gd name="connsiteY17" fmla="*/ 203363 h 739501"/>
                <a:gd name="connsiteX18" fmla="*/ 573751 w 586501"/>
                <a:gd name="connsiteY18" fmla="*/ 202088 h 739501"/>
                <a:gd name="connsiteX19" fmla="*/ 409913 w 586501"/>
                <a:gd name="connsiteY19" fmla="*/ 182325 h 739501"/>
                <a:gd name="connsiteX20" fmla="*/ 385051 w 586501"/>
                <a:gd name="connsiteY20" fmla="*/ 179138 h 739501"/>
                <a:gd name="connsiteX21" fmla="*/ 400988 w 586501"/>
                <a:gd name="connsiteY21" fmla="*/ 54188 h 739501"/>
                <a:gd name="connsiteX22" fmla="*/ 402263 w 586501"/>
                <a:gd name="connsiteY22" fmla="*/ 45900 h 739501"/>
                <a:gd name="connsiteX23" fmla="*/ 383776 w 586501"/>
                <a:gd name="connsiteY23" fmla="*/ 42713 h 739501"/>
                <a:gd name="connsiteX24" fmla="*/ 383776 w 586501"/>
                <a:gd name="connsiteY24" fmla="*/ 42713 h 73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6501" h="739501">
                  <a:moveTo>
                    <a:pt x="383776" y="42713"/>
                  </a:moveTo>
                  <a:lnTo>
                    <a:pt x="218025" y="17850"/>
                  </a:lnTo>
                  <a:lnTo>
                    <a:pt x="125588" y="3188"/>
                  </a:lnTo>
                  <a:lnTo>
                    <a:pt x="107738" y="0"/>
                  </a:lnTo>
                  <a:lnTo>
                    <a:pt x="103913" y="20400"/>
                  </a:lnTo>
                  <a:lnTo>
                    <a:pt x="70125" y="228225"/>
                  </a:lnTo>
                  <a:lnTo>
                    <a:pt x="3188" y="643876"/>
                  </a:lnTo>
                  <a:lnTo>
                    <a:pt x="0" y="664276"/>
                  </a:lnTo>
                  <a:lnTo>
                    <a:pt x="16575" y="666826"/>
                  </a:lnTo>
                  <a:lnTo>
                    <a:pt x="182325" y="693601"/>
                  </a:lnTo>
                  <a:lnTo>
                    <a:pt x="298988" y="710177"/>
                  </a:lnTo>
                  <a:lnTo>
                    <a:pt x="515101" y="737589"/>
                  </a:lnTo>
                  <a:lnTo>
                    <a:pt x="531676" y="739502"/>
                  </a:lnTo>
                  <a:lnTo>
                    <a:pt x="532951" y="722927"/>
                  </a:lnTo>
                  <a:lnTo>
                    <a:pt x="538051" y="671926"/>
                  </a:lnTo>
                  <a:lnTo>
                    <a:pt x="550164" y="554626"/>
                  </a:lnTo>
                  <a:lnTo>
                    <a:pt x="584589" y="219938"/>
                  </a:lnTo>
                  <a:lnTo>
                    <a:pt x="586501" y="203363"/>
                  </a:lnTo>
                  <a:lnTo>
                    <a:pt x="573751" y="202088"/>
                  </a:lnTo>
                  <a:lnTo>
                    <a:pt x="409913" y="182325"/>
                  </a:lnTo>
                  <a:lnTo>
                    <a:pt x="385051" y="179138"/>
                  </a:lnTo>
                  <a:lnTo>
                    <a:pt x="400988" y="54188"/>
                  </a:lnTo>
                  <a:lnTo>
                    <a:pt x="402263" y="45900"/>
                  </a:lnTo>
                  <a:lnTo>
                    <a:pt x="383776" y="42713"/>
                  </a:lnTo>
                  <a:lnTo>
                    <a:pt x="383776" y="427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193" name="Freeform 32">
              <a:extLst>
                <a:ext uri="{FF2B5EF4-FFF2-40B4-BE49-F238E27FC236}">
                  <a16:creationId xmlns:a16="http://schemas.microsoft.com/office/drawing/2014/main" id="{B175F8D4-ECA6-FA9C-81EE-F592052BCAA0}"/>
                </a:ext>
              </a:extLst>
            </p:cNvPr>
            <p:cNvSpPr/>
            <p:nvPr/>
          </p:nvSpPr>
          <p:spPr>
            <a:xfrm>
              <a:off x="3241249" y="1818135"/>
              <a:ext cx="731851" cy="598613"/>
            </a:xfrm>
            <a:custGeom>
              <a:avLst/>
              <a:gdLst>
                <a:gd name="connsiteX0" fmla="*/ 719739 w 731851"/>
                <a:gd name="connsiteY0" fmla="*/ 314926 h 598613"/>
                <a:gd name="connsiteX1" fmla="*/ 724839 w 731851"/>
                <a:gd name="connsiteY1" fmla="*/ 214838 h 598613"/>
                <a:gd name="connsiteX2" fmla="*/ 731214 w 731851"/>
                <a:gd name="connsiteY2" fmla="*/ 79688 h 598613"/>
                <a:gd name="connsiteX3" fmla="*/ 731851 w 731851"/>
                <a:gd name="connsiteY3" fmla="*/ 63113 h 598613"/>
                <a:gd name="connsiteX4" fmla="*/ 723564 w 731851"/>
                <a:gd name="connsiteY4" fmla="*/ 61838 h 598613"/>
                <a:gd name="connsiteX5" fmla="*/ 559089 w 731851"/>
                <a:gd name="connsiteY5" fmla="*/ 51638 h 598613"/>
                <a:gd name="connsiteX6" fmla="*/ 466651 w 731851"/>
                <a:gd name="connsiteY6" fmla="*/ 43988 h 598613"/>
                <a:gd name="connsiteX7" fmla="*/ 291338 w 731851"/>
                <a:gd name="connsiteY7" fmla="*/ 27412 h 598613"/>
                <a:gd name="connsiteX8" fmla="*/ 71400 w 731851"/>
                <a:gd name="connsiteY8" fmla="*/ 0 h 598613"/>
                <a:gd name="connsiteX9" fmla="*/ 61838 w 731851"/>
                <a:gd name="connsiteY9" fmla="*/ 63113 h 598613"/>
                <a:gd name="connsiteX10" fmla="*/ 61200 w 731851"/>
                <a:gd name="connsiteY10" fmla="*/ 66938 h 598613"/>
                <a:gd name="connsiteX11" fmla="*/ 58650 w 731851"/>
                <a:gd name="connsiteY11" fmla="*/ 87975 h 598613"/>
                <a:gd name="connsiteX12" fmla="*/ 47175 w 731851"/>
                <a:gd name="connsiteY12" fmla="*/ 170850 h 598613"/>
                <a:gd name="connsiteX13" fmla="*/ 25500 w 731851"/>
                <a:gd name="connsiteY13" fmla="*/ 337876 h 598613"/>
                <a:gd name="connsiteX14" fmla="*/ 19763 w 731851"/>
                <a:gd name="connsiteY14" fmla="*/ 379313 h 598613"/>
                <a:gd name="connsiteX15" fmla="*/ 17213 w 731851"/>
                <a:gd name="connsiteY15" fmla="*/ 400351 h 598613"/>
                <a:gd name="connsiteX16" fmla="*/ 15938 w 731851"/>
                <a:gd name="connsiteY16" fmla="*/ 408638 h 598613"/>
                <a:gd name="connsiteX17" fmla="*/ 0 w 731851"/>
                <a:gd name="connsiteY17" fmla="*/ 533589 h 598613"/>
                <a:gd name="connsiteX18" fmla="*/ 24863 w 731851"/>
                <a:gd name="connsiteY18" fmla="*/ 536776 h 598613"/>
                <a:gd name="connsiteX19" fmla="*/ 188700 w 731851"/>
                <a:gd name="connsiteY19" fmla="*/ 556539 h 598613"/>
                <a:gd name="connsiteX20" fmla="*/ 201450 w 731851"/>
                <a:gd name="connsiteY20" fmla="*/ 557814 h 598613"/>
                <a:gd name="connsiteX21" fmla="*/ 216750 w 731851"/>
                <a:gd name="connsiteY21" fmla="*/ 559726 h 598613"/>
                <a:gd name="connsiteX22" fmla="*/ 375488 w 731851"/>
                <a:gd name="connsiteY22" fmla="*/ 575026 h 598613"/>
                <a:gd name="connsiteX23" fmla="*/ 502351 w 731851"/>
                <a:gd name="connsiteY23" fmla="*/ 585864 h 598613"/>
                <a:gd name="connsiteX24" fmla="*/ 692964 w 731851"/>
                <a:gd name="connsiteY24" fmla="*/ 597976 h 598613"/>
                <a:gd name="connsiteX25" fmla="*/ 705714 w 731851"/>
                <a:gd name="connsiteY25" fmla="*/ 598614 h 598613"/>
                <a:gd name="connsiteX26" fmla="*/ 706351 w 731851"/>
                <a:gd name="connsiteY26" fmla="*/ 582039 h 598613"/>
                <a:gd name="connsiteX27" fmla="*/ 709539 w 731851"/>
                <a:gd name="connsiteY27" fmla="*/ 514464 h 598613"/>
                <a:gd name="connsiteX28" fmla="*/ 715277 w 731851"/>
                <a:gd name="connsiteY28" fmla="*/ 396526 h 598613"/>
                <a:gd name="connsiteX29" fmla="*/ 717827 w 731851"/>
                <a:gd name="connsiteY29" fmla="*/ 346163 h 598613"/>
                <a:gd name="connsiteX30" fmla="*/ 718464 w 731851"/>
                <a:gd name="connsiteY30" fmla="*/ 329588 h 598613"/>
                <a:gd name="connsiteX31" fmla="*/ 719739 w 731851"/>
                <a:gd name="connsiteY31" fmla="*/ 314926 h 598613"/>
                <a:gd name="connsiteX32" fmla="*/ 719739 w 731851"/>
                <a:gd name="connsiteY32" fmla="*/ 314926 h 59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1851" h="598613">
                  <a:moveTo>
                    <a:pt x="719739" y="314926"/>
                  </a:moveTo>
                  <a:lnTo>
                    <a:pt x="724839" y="214838"/>
                  </a:lnTo>
                  <a:lnTo>
                    <a:pt x="731214" y="79688"/>
                  </a:lnTo>
                  <a:lnTo>
                    <a:pt x="731851" y="63113"/>
                  </a:lnTo>
                  <a:lnTo>
                    <a:pt x="723564" y="61838"/>
                  </a:lnTo>
                  <a:lnTo>
                    <a:pt x="559089" y="51638"/>
                  </a:lnTo>
                  <a:lnTo>
                    <a:pt x="466651" y="43988"/>
                  </a:lnTo>
                  <a:lnTo>
                    <a:pt x="291338" y="27412"/>
                  </a:lnTo>
                  <a:lnTo>
                    <a:pt x="71400" y="0"/>
                  </a:lnTo>
                  <a:lnTo>
                    <a:pt x="61838" y="63113"/>
                  </a:lnTo>
                  <a:lnTo>
                    <a:pt x="61200" y="66938"/>
                  </a:lnTo>
                  <a:lnTo>
                    <a:pt x="58650" y="87975"/>
                  </a:lnTo>
                  <a:lnTo>
                    <a:pt x="47175" y="170850"/>
                  </a:lnTo>
                  <a:lnTo>
                    <a:pt x="25500" y="337876"/>
                  </a:lnTo>
                  <a:lnTo>
                    <a:pt x="19763" y="379313"/>
                  </a:lnTo>
                  <a:lnTo>
                    <a:pt x="17213" y="400351"/>
                  </a:lnTo>
                  <a:lnTo>
                    <a:pt x="15938" y="408638"/>
                  </a:lnTo>
                  <a:lnTo>
                    <a:pt x="0" y="533589"/>
                  </a:lnTo>
                  <a:lnTo>
                    <a:pt x="24863" y="536776"/>
                  </a:lnTo>
                  <a:lnTo>
                    <a:pt x="188700" y="556539"/>
                  </a:lnTo>
                  <a:lnTo>
                    <a:pt x="201450" y="557814"/>
                  </a:lnTo>
                  <a:lnTo>
                    <a:pt x="216750" y="559726"/>
                  </a:lnTo>
                  <a:lnTo>
                    <a:pt x="375488" y="575026"/>
                  </a:lnTo>
                  <a:lnTo>
                    <a:pt x="502351" y="585864"/>
                  </a:lnTo>
                  <a:lnTo>
                    <a:pt x="692964" y="597976"/>
                  </a:lnTo>
                  <a:lnTo>
                    <a:pt x="705714" y="598614"/>
                  </a:lnTo>
                  <a:lnTo>
                    <a:pt x="706351" y="582039"/>
                  </a:lnTo>
                  <a:lnTo>
                    <a:pt x="709539" y="514464"/>
                  </a:lnTo>
                  <a:lnTo>
                    <a:pt x="715277" y="396526"/>
                  </a:lnTo>
                  <a:lnTo>
                    <a:pt x="717827" y="346163"/>
                  </a:lnTo>
                  <a:lnTo>
                    <a:pt x="718464" y="329588"/>
                  </a:lnTo>
                  <a:lnTo>
                    <a:pt x="719739" y="314926"/>
                  </a:lnTo>
                  <a:lnTo>
                    <a:pt x="719739" y="314926"/>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194" name="Freeform 33">
              <a:extLst>
                <a:ext uri="{FF2B5EF4-FFF2-40B4-BE49-F238E27FC236}">
                  <a16:creationId xmlns:a16="http://schemas.microsoft.com/office/drawing/2014/main" id="{2FA97CBF-066F-282B-BAD4-37FA736B2CA0}"/>
                </a:ext>
              </a:extLst>
            </p:cNvPr>
            <p:cNvSpPr/>
            <p:nvPr/>
          </p:nvSpPr>
          <p:spPr>
            <a:xfrm>
              <a:off x="4941465" y="2972650"/>
              <a:ext cx="535501" cy="504901"/>
            </a:xfrm>
            <a:custGeom>
              <a:avLst/>
              <a:gdLst>
                <a:gd name="connsiteX0" fmla="*/ 535501 w 535501"/>
                <a:gd name="connsiteY0" fmla="*/ 59288 h 504901"/>
                <a:gd name="connsiteX1" fmla="*/ 466013 w 535501"/>
                <a:gd name="connsiteY1" fmla="*/ 70125 h 504901"/>
                <a:gd name="connsiteX2" fmla="*/ 494701 w 535501"/>
                <a:gd name="connsiteY2" fmla="*/ 24863 h 504901"/>
                <a:gd name="connsiteX3" fmla="*/ 482589 w 535501"/>
                <a:gd name="connsiteY3" fmla="*/ 0 h 504901"/>
                <a:gd name="connsiteX4" fmla="*/ 237788 w 535501"/>
                <a:gd name="connsiteY4" fmla="*/ 23588 h 504901"/>
                <a:gd name="connsiteX5" fmla="*/ 30600 w 535501"/>
                <a:gd name="connsiteY5" fmla="*/ 40163 h 504901"/>
                <a:gd name="connsiteX6" fmla="*/ 0 w 535501"/>
                <a:gd name="connsiteY6" fmla="*/ 42075 h 504901"/>
                <a:gd name="connsiteX7" fmla="*/ 3825 w 535501"/>
                <a:gd name="connsiteY7" fmla="*/ 59925 h 504901"/>
                <a:gd name="connsiteX8" fmla="*/ 28688 w 535501"/>
                <a:gd name="connsiteY8" fmla="*/ 189338 h 504901"/>
                <a:gd name="connsiteX9" fmla="*/ 29325 w 535501"/>
                <a:gd name="connsiteY9" fmla="*/ 218663 h 504901"/>
                <a:gd name="connsiteX10" fmla="*/ 36338 w 535501"/>
                <a:gd name="connsiteY10" fmla="*/ 393338 h 504901"/>
                <a:gd name="connsiteX11" fmla="*/ 36975 w 535501"/>
                <a:gd name="connsiteY11" fmla="*/ 422664 h 504901"/>
                <a:gd name="connsiteX12" fmla="*/ 38887 w 535501"/>
                <a:gd name="connsiteY12" fmla="*/ 423301 h 504901"/>
                <a:gd name="connsiteX13" fmla="*/ 49088 w 535501"/>
                <a:gd name="connsiteY13" fmla="*/ 434139 h 504901"/>
                <a:gd name="connsiteX14" fmla="*/ 87338 w 535501"/>
                <a:gd name="connsiteY14" fmla="*/ 432864 h 504901"/>
                <a:gd name="connsiteX15" fmla="*/ 91163 w 535501"/>
                <a:gd name="connsiteY15" fmla="*/ 488964 h 504901"/>
                <a:gd name="connsiteX16" fmla="*/ 92438 w 535501"/>
                <a:gd name="connsiteY16" fmla="*/ 504901 h 504901"/>
                <a:gd name="connsiteX17" fmla="*/ 112200 w 535501"/>
                <a:gd name="connsiteY17" fmla="*/ 502989 h 504901"/>
                <a:gd name="connsiteX18" fmla="*/ 172763 w 535501"/>
                <a:gd name="connsiteY18" fmla="*/ 498526 h 504901"/>
                <a:gd name="connsiteX19" fmla="*/ 415013 w 535501"/>
                <a:gd name="connsiteY19" fmla="*/ 476214 h 504901"/>
                <a:gd name="connsiteX20" fmla="*/ 416288 w 535501"/>
                <a:gd name="connsiteY20" fmla="*/ 476214 h 504901"/>
                <a:gd name="connsiteX21" fmla="*/ 415651 w 535501"/>
                <a:gd name="connsiteY21" fmla="*/ 462188 h 504901"/>
                <a:gd name="connsiteX22" fmla="*/ 422026 w 535501"/>
                <a:gd name="connsiteY22" fmla="*/ 457726 h 504901"/>
                <a:gd name="connsiteX23" fmla="*/ 410551 w 535501"/>
                <a:gd name="connsiteY23" fmla="*/ 436051 h 504901"/>
                <a:gd name="connsiteX24" fmla="*/ 434776 w 535501"/>
                <a:gd name="connsiteY24" fmla="*/ 333413 h 504901"/>
                <a:gd name="connsiteX25" fmla="*/ 424576 w 535501"/>
                <a:gd name="connsiteY25" fmla="*/ 321938 h 504901"/>
                <a:gd name="connsiteX26" fmla="*/ 460913 w 535501"/>
                <a:gd name="connsiteY26" fmla="*/ 281776 h 504901"/>
                <a:gd name="connsiteX27" fmla="*/ 458363 w 535501"/>
                <a:gd name="connsiteY27" fmla="*/ 247351 h 504901"/>
                <a:gd name="connsiteX28" fmla="*/ 485776 w 535501"/>
                <a:gd name="connsiteY28" fmla="*/ 202088 h 504901"/>
                <a:gd name="connsiteX29" fmla="*/ 485776 w 535501"/>
                <a:gd name="connsiteY29" fmla="*/ 201451 h 504901"/>
                <a:gd name="connsiteX30" fmla="*/ 484501 w 535501"/>
                <a:gd name="connsiteY30" fmla="*/ 200176 h 504901"/>
                <a:gd name="connsiteX31" fmla="*/ 507451 w 535501"/>
                <a:gd name="connsiteY31" fmla="*/ 179138 h 504901"/>
                <a:gd name="connsiteX32" fmla="*/ 501076 w 535501"/>
                <a:gd name="connsiteY32" fmla="*/ 153638 h 504901"/>
                <a:gd name="connsiteX33" fmla="*/ 518926 w 535501"/>
                <a:gd name="connsiteY33" fmla="*/ 124950 h 504901"/>
                <a:gd name="connsiteX34" fmla="*/ 515101 w 535501"/>
                <a:gd name="connsiteY34" fmla="*/ 98175 h 504901"/>
                <a:gd name="connsiteX35" fmla="*/ 535501 w 535501"/>
                <a:gd name="connsiteY35" fmla="*/ 59288 h 504901"/>
                <a:gd name="connsiteX36" fmla="*/ 535501 w 535501"/>
                <a:gd name="connsiteY36" fmla="*/ 59288 h 504901"/>
                <a:gd name="connsiteX37" fmla="*/ 535501 w 535501"/>
                <a:gd name="connsiteY37" fmla="*/ 59288 h 504901"/>
                <a:gd name="connsiteX38" fmla="*/ 535501 w 535501"/>
                <a:gd name="connsiteY38" fmla="*/ 59288 h 5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5501" h="504901">
                  <a:moveTo>
                    <a:pt x="535501" y="59288"/>
                  </a:moveTo>
                  <a:lnTo>
                    <a:pt x="466013" y="70125"/>
                  </a:lnTo>
                  <a:lnTo>
                    <a:pt x="494701" y="24863"/>
                  </a:lnTo>
                  <a:lnTo>
                    <a:pt x="482589" y="0"/>
                  </a:lnTo>
                  <a:lnTo>
                    <a:pt x="237788" y="23588"/>
                  </a:lnTo>
                  <a:lnTo>
                    <a:pt x="30600" y="40163"/>
                  </a:lnTo>
                  <a:lnTo>
                    <a:pt x="0" y="42075"/>
                  </a:lnTo>
                  <a:lnTo>
                    <a:pt x="3825" y="59925"/>
                  </a:lnTo>
                  <a:lnTo>
                    <a:pt x="28688" y="189338"/>
                  </a:lnTo>
                  <a:lnTo>
                    <a:pt x="29325" y="218663"/>
                  </a:lnTo>
                  <a:lnTo>
                    <a:pt x="36338" y="393338"/>
                  </a:lnTo>
                  <a:lnTo>
                    <a:pt x="36975" y="422664"/>
                  </a:lnTo>
                  <a:lnTo>
                    <a:pt x="38887" y="423301"/>
                  </a:lnTo>
                  <a:lnTo>
                    <a:pt x="49088" y="434139"/>
                  </a:lnTo>
                  <a:lnTo>
                    <a:pt x="87338" y="432864"/>
                  </a:lnTo>
                  <a:lnTo>
                    <a:pt x="91163" y="488964"/>
                  </a:lnTo>
                  <a:lnTo>
                    <a:pt x="92438" y="504901"/>
                  </a:lnTo>
                  <a:lnTo>
                    <a:pt x="112200" y="502989"/>
                  </a:lnTo>
                  <a:lnTo>
                    <a:pt x="172763" y="498526"/>
                  </a:lnTo>
                  <a:lnTo>
                    <a:pt x="415013" y="476214"/>
                  </a:lnTo>
                  <a:lnTo>
                    <a:pt x="416288" y="476214"/>
                  </a:lnTo>
                  <a:lnTo>
                    <a:pt x="415651" y="462188"/>
                  </a:lnTo>
                  <a:lnTo>
                    <a:pt x="422026" y="457726"/>
                  </a:lnTo>
                  <a:lnTo>
                    <a:pt x="410551" y="436051"/>
                  </a:lnTo>
                  <a:lnTo>
                    <a:pt x="434776" y="333413"/>
                  </a:lnTo>
                  <a:lnTo>
                    <a:pt x="424576" y="321938"/>
                  </a:lnTo>
                  <a:lnTo>
                    <a:pt x="460913" y="281776"/>
                  </a:lnTo>
                  <a:lnTo>
                    <a:pt x="458363" y="247351"/>
                  </a:lnTo>
                  <a:lnTo>
                    <a:pt x="485776" y="202088"/>
                  </a:lnTo>
                  <a:lnTo>
                    <a:pt x="485776" y="201451"/>
                  </a:lnTo>
                  <a:lnTo>
                    <a:pt x="484501" y="200176"/>
                  </a:lnTo>
                  <a:lnTo>
                    <a:pt x="507451" y="179138"/>
                  </a:lnTo>
                  <a:lnTo>
                    <a:pt x="501076" y="153638"/>
                  </a:lnTo>
                  <a:lnTo>
                    <a:pt x="518926" y="124950"/>
                  </a:lnTo>
                  <a:lnTo>
                    <a:pt x="515101" y="98175"/>
                  </a:lnTo>
                  <a:lnTo>
                    <a:pt x="535501" y="59288"/>
                  </a:lnTo>
                  <a:lnTo>
                    <a:pt x="535501" y="59288"/>
                  </a:lnTo>
                  <a:lnTo>
                    <a:pt x="535501" y="59288"/>
                  </a:lnTo>
                  <a:lnTo>
                    <a:pt x="535501" y="59288"/>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195" name="Freeform 34">
              <a:extLst>
                <a:ext uri="{FF2B5EF4-FFF2-40B4-BE49-F238E27FC236}">
                  <a16:creationId xmlns:a16="http://schemas.microsoft.com/office/drawing/2014/main" id="{AAA999A9-A3FF-C4DA-5195-B2590EA0D2A5}"/>
                </a:ext>
              </a:extLst>
            </p:cNvPr>
            <p:cNvSpPr/>
            <p:nvPr/>
          </p:nvSpPr>
          <p:spPr>
            <a:xfrm>
              <a:off x="4690927" y="2046998"/>
              <a:ext cx="650888" cy="423938"/>
            </a:xfrm>
            <a:custGeom>
              <a:avLst/>
              <a:gdLst>
                <a:gd name="connsiteX0" fmla="*/ 594151 w 650888"/>
                <a:gd name="connsiteY0" fmla="*/ 122400 h 423938"/>
                <a:gd name="connsiteX1" fmla="*/ 559088 w 650888"/>
                <a:gd name="connsiteY1" fmla="*/ 103913 h 423938"/>
                <a:gd name="connsiteX2" fmla="*/ 539963 w 650888"/>
                <a:gd name="connsiteY2" fmla="*/ 77138 h 423938"/>
                <a:gd name="connsiteX3" fmla="*/ 533588 w 650888"/>
                <a:gd name="connsiteY3" fmla="*/ 39525 h 423938"/>
                <a:gd name="connsiteX4" fmla="*/ 538689 w 650888"/>
                <a:gd name="connsiteY4" fmla="*/ 22313 h 423938"/>
                <a:gd name="connsiteX5" fmla="*/ 520201 w 650888"/>
                <a:gd name="connsiteY5" fmla="*/ 0 h 423938"/>
                <a:gd name="connsiteX6" fmla="*/ 520201 w 650888"/>
                <a:gd name="connsiteY6" fmla="*/ 0 h 423938"/>
                <a:gd name="connsiteX7" fmla="*/ 488326 w 650888"/>
                <a:gd name="connsiteY7" fmla="*/ 3188 h 423938"/>
                <a:gd name="connsiteX8" fmla="*/ 172125 w 650888"/>
                <a:gd name="connsiteY8" fmla="*/ 29963 h 423938"/>
                <a:gd name="connsiteX9" fmla="*/ 45900 w 650888"/>
                <a:gd name="connsiteY9" fmla="*/ 36975 h 423938"/>
                <a:gd name="connsiteX10" fmla="*/ 13387 w 650888"/>
                <a:gd name="connsiteY10" fmla="*/ 38888 h 423938"/>
                <a:gd name="connsiteX11" fmla="*/ 0 w 650888"/>
                <a:gd name="connsiteY11" fmla="*/ 39525 h 423938"/>
                <a:gd name="connsiteX12" fmla="*/ 11475 w 650888"/>
                <a:gd name="connsiteY12" fmla="*/ 110925 h 423938"/>
                <a:gd name="connsiteX13" fmla="*/ 1912 w 650888"/>
                <a:gd name="connsiteY13" fmla="*/ 144075 h 423938"/>
                <a:gd name="connsiteX14" fmla="*/ 15938 w 650888"/>
                <a:gd name="connsiteY14" fmla="*/ 165113 h 423938"/>
                <a:gd name="connsiteX15" fmla="*/ 15938 w 650888"/>
                <a:gd name="connsiteY15" fmla="*/ 169575 h 423938"/>
                <a:gd name="connsiteX16" fmla="*/ 20400 w 650888"/>
                <a:gd name="connsiteY16" fmla="*/ 170213 h 423938"/>
                <a:gd name="connsiteX17" fmla="*/ 40800 w 650888"/>
                <a:gd name="connsiteY17" fmla="*/ 230138 h 423938"/>
                <a:gd name="connsiteX18" fmla="*/ 60563 w 650888"/>
                <a:gd name="connsiteY18" fmla="*/ 262013 h 423938"/>
                <a:gd name="connsiteX19" fmla="*/ 61837 w 650888"/>
                <a:gd name="connsiteY19" fmla="*/ 297713 h 423938"/>
                <a:gd name="connsiteX20" fmla="*/ 83513 w 650888"/>
                <a:gd name="connsiteY20" fmla="*/ 328313 h 423938"/>
                <a:gd name="connsiteX21" fmla="*/ 79688 w 650888"/>
                <a:gd name="connsiteY21" fmla="*/ 341063 h 423938"/>
                <a:gd name="connsiteX22" fmla="*/ 99450 w 650888"/>
                <a:gd name="connsiteY22" fmla="*/ 422026 h 423938"/>
                <a:gd name="connsiteX23" fmla="*/ 99450 w 650888"/>
                <a:gd name="connsiteY23" fmla="*/ 423938 h 423938"/>
                <a:gd name="connsiteX24" fmla="*/ 99450 w 650888"/>
                <a:gd name="connsiteY24" fmla="*/ 423938 h 423938"/>
                <a:gd name="connsiteX25" fmla="*/ 231413 w 650888"/>
                <a:gd name="connsiteY25" fmla="*/ 420113 h 423938"/>
                <a:gd name="connsiteX26" fmla="*/ 372301 w 650888"/>
                <a:gd name="connsiteY26" fmla="*/ 408001 h 423938"/>
                <a:gd name="connsiteX27" fmla="*/ 510638 w 650888"/>
                <a:gd name="connsiteY27" fmla="*/ 390788 h 423938"/>
                <a:gd name="connsiteX28" fmla="*/ 542513 w 650888"/>
                <a:gd name="connsiteY28" fmla="*/ 418838 h 423938"/>
                <a:gd name="connsiteX29" fmla="*/ 543789 w 650888"/>
                <a:gd name="connsiteY29" fmla="*/ 420113 h 423938"/>
                <a:gd name="connsiteX30" fmla="*/ 549526 w 650888"/>
                <a:gd name="connsiteY30" fmla="*/ 417563 h 423938"/>
                <a:gd name="connsiteX31" fmla="*/ 545064 w 650888"/>
                <a:gd name="connsiteY31" fmla="*/ 392701 h 423938"/>
                <a:gd name="connsiteX32" fmla="*/ 568651 w 650888"/>
                <a:gd name="connsiteY32" fmla="*/ 378038 h 423938"/>
                <a:gd name="connsiteX33" fmla="*/ 578851 w 650888"/>
                <a:gd name="connsiteY33" fmla="*/ 312376 h 423938"/>
                <a:gd name="connsiteX34" fmla="*/ 568651 w 650888"/>
                <a:gd name="connsiteY34" fmla="*/ 307913 h 423938"/>
                <a:gd name="connsiteX35" fmla="*/ 574389 w 650888"/>
                <a:gd name="connsiteY35" fmla="*/ 274763 h 423938"/>
                <a:gd name="connsiteX36" fmla="*/ 603713 w 650888"/>
                <a:gd name="connsiteY36" fmla="*/ 269026 h 423938"/>
                <a:gd name="connsiteX37" fmla="*/ 636226 w 650888"/>
                <a:gd name="connsiteY37" fmla="*/ 246076 h 423938"/>
                <a:gd name="connsiteX38" fmla="*/ 650251 w 650888"/>
                <a:gd name="connsiteY38" fmla="*/ 205913 h 423938"/>
                <a:gd name="connsiteX39" fmla="*/ 650889 w 650888"/>
                <a:gd name="connsiteY39" fmla="*/ 185513 h 423938"/>
                <a:gd name="connsiteX40" fmla="*/ 625389 w 650888"/>
                <a:gd name="connsiteY40" fmla="*/ 161288 h 423938"/>
                <a:gd name="connsiteX41" fmla="*/ 617739 w 650888"/>
                <a:gd name="connsiteY41" fmla="*/ 145988 h 423938"/>
                <a:gd name="connsiteX42" fmla="*/ 593514 w 650888"/>
                <a:gd name="connsiteY42" fmla="*/ 130688 h 423938"/>
                <a:gd name="connsiteX43" fmla="*/ 594789 w 650888"/>
                <a:gd name="connsiteY43" fmla="*/ 127500 h 423938"/>
                <a:gd name="connsiteX44" fmla="*/ 594789 w 650888"/>
                <a:gd name="connsiteY44" fmla="*/ 122400 h 423938"/>
                <a:gd name="connsiteX45" fmla="*/ 594151 w 650888"/>
                <a:gd name="connsiteY45" fmla="*/ 122400 h 4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50888" h="423938">
                  <a:moveTo>
                    <a:pt x="594151" y="122400"/>
                  </a:moveTo>
                  <a:lnTo>
                    <a:pt x="559088" y="103913"/>
                  </a:lnTo>
                  <a:lnTo>
                    <a:pt x="539963" y="77138"/>
                  </a:lnTo>
                  <a:lnTo>
                    <a:pt x="533588" y="39525"/>
                  </a:lnTo>
                  <a:lnTo>
                    <a:pt x="538689" y="22313"/>
                  </a:lnTo>
                  <a:lnTo>
                    <a:pt x="520201" y="0"/>
                  </a:lnTo>
                  <a:lnTo>
                    <a:pt x="520201" y="0"/>
                  </a:lnTo>
                  <a:lnTo>
                    <a:pt x="488326" y="3188"/>
                  </a:lnTo>
                  <a:lnTo>
                    <a:pt x="172125" y="29963"/>
                  </a:lnTo>
                  <a:lnTo>
                    <a:pt x="45900" y="36975"/>
                  </a:lnTo>
                  <a:lnTo>
                    <a:pt x="13387" y="38888"/>
                  </a:lnTo>
                  <a:lnTo>
                    <a:pt x="0" y="39525"/>
                  </a:lnTo>
                  <a:lnTo>
                    <a:pt x="11475" y="110925"/>
                  </a:lnTo>
                  <a:lnTo>
                    <a:pt x="1912" y="144075"/>
                  </a:lnTo>
                  <a:lnTo>
                    <a:pt x="15938" y="165113"/>
                  </a:lnTo>
                  <a:lnTo>
                    <a:pt x="15938" y="169575"/>
                  </a:lnTo>
                  <a:lnTo>
                    <a:pt x="20400" y="170213"/>
                  </a:lnTo>
                  <a:lnTo>
                    <a:pt x="40800" y="230138"/>
                  </a:lnTo>
                  <a:lnTo>
                    <a:pt x="60563" y="262013"/>
                  </a:lnTo>
                  <a:lnTo>
                    <a:pt x="61837" y="297713"/>
                  </a:lnTo>
                  <a:lnTo>
                    <a:pt x="83513" y="328313"/>
                  </a:lnTo>
                  <a:lnTo>
                    <a:pt x="79688" y="341063"/>
                  </a:lnTo>
                  <a:lnTo>
                    <a:pt x="99450" y="422026"/>
                  </a:lnTo>
                  <a:lnTo>
                    <a:pt x="99450" y="423938"/>
                  </a:lnTo>
                  <a:lnTo>
                    <a:pt x="99450" y="423938"/>
                  </a:lnTo>
                  <a:lnTo>
                    <a:pt x="231413" y="420113"/>
                  </a:lnTo>
                  <a:lnTo>
                    <a:pt x="372301" y="408001"/>
                  </a:lnTo>
                  <a:lnTo>
                    <a:pt x="510638" y="390788"/>
                  </a:lnTo>
                  <a:lnTo>
                    <a:pt x="542513" y="418838"/>
                  </a:lnTo>
                  <a:lnTo>
                    <a:pt x="543789" y="420113"/>
                  </a:lnTo>
                  <a:lnTo>
                    <a:pt x="549526" y="417563"/>
                  </a:lnTo>
                  <a:lnTo>
                    <a:pt x="545064" y="392701"/>
                  </a:lnTo>
                  <a:lnTo>
                    <a:pt x="568651" y="378038"/>
                  </a:lnTo>
                  <a:lnTo>
                    <a:pt x="578851" y="312376"/>
                  </a:lnTo>
                  <a:lnTo>
                    <a:pt x="568651" y="307913"/>
                  </a:lnTo>
                  <a:lnTo>
                    <a:pt x="574389" y="274763"/>
                  </a:lnTo>
                  <a:lnTo>
                    <a:pt x="603713" y="269026"/>
                  </a:lnTo>
                  <a:lnTo>
                    <a:pt x="636226" y="246076"/>
                  </a:lnTo>
                  <a:lnTo>
                    <a:pt x="650251" y="205913"/>
                  </a:lnTo>
                  <a:lnTo>
                    <a:pt x="650889" y="185513"/>
                  </a:lnTo>
                  <a:lnTo>
                    <a:pt x="625389" y="161288"/>
                  </a:lnTo>
                  <a:lnTo>
                    <a:pt x="617739" y="145988"/>
                  </a:lnTo>
                  <a:lnTo>
                    <a:pt x="593514" y="130688"/>
                  </a:lnTo>
                  <a:lnTo>
                    <a:pt x="594789" y="127500"/>
                  </a:lnTo>
                  <a:lnTo>
                    <a:pt x="594789" y="122400"/>
                  </a:lnTo>
                  <a:lnTo>
                    <a:pt x="594151" y="1224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196" name="Freeform 35">
              <a:extLst>
                <a:ext uri="{FF2B5EF4-FFF2-40B4-BE49-F238E27FC236}">
                  <a16:creationId xmlns:a16="http://schemas.microsoft.com/office/drawing/2014/main" id="{308153FF-6514-C689-FC57-09423F3BE52F}"/>
                </a:ext>
              </a:extLst>
            </p:cNvPr>
            <p:cNvSpPr/>
            <p:nvPr/>
          </p:nvSpPr>
          <p:spPr>
            <a:xfrm>
              <a:off x="4139488" y="2548711"/>
              <a:ext cx="798789" cy="416288"/>
            </a:xfrm>
            <a:custGeom>
              <a:avLst/>
              <a:gdLst>
                <a:gd name="connsiteX0" fmla="*/ 797514 w 798789"/>
                <a:gd name="connsiteY0" fmla="*/ 381863 h 416288"/>
                <a:gd name="connsiteX1" fmla="*/ 781577 w 798789"/>
                <a:gd name="connsiteY1" fmla="*/ 109650 h 416288"/>
                <a:gd name="connsiteX2" fmla="*/ 752252 w 798789"/>
                <a:gd name="connsiteY2" fmla="*/ 93075 h 416288"/>
                <a:gd name="connsiteX3" fmla="*/ 749702 w 798789"/>
                <a:gd name="connsiteY3" fmla="*/ 80325 h 416288"/>
                <a:gd name="connsiteX4" fmla="*/ 726752 w 798789"/>
                <a:gd name="connsiteY4" fmla="*/ 59925 h 416288"/>
                <a:gd name="connsiteX5" fmla="*/ 749064 w 798789"/>
                <a:gd name="connsiteY5" fmla="*/ 31875 h 416288"/>
                <a:gd name="connsiteX6" fmla="*/ 739502 w 798789"/>
                <a:gd name="connsiteY6" fmla="*/ 15938 h 416288"/>
                <a:gd name="connsiteX7" fmla="*/ 722926 w 798789"/>
                <a:gd name="connsiteY7" fmla="*/ 16575 h 416288"/>
                <a:gd name="connsiteX8" fmla="*/ 707627 w 798789"/>
                <a:gd name="connsiteY8" fmla="*/ 5100 h 416288"/>
                <a:gd name="connsiteX9" fmla="*/ 701252 w 798789"/>
                <a:gd name="connsiteY9" fmla="*/ 0 h 416288"/>
                <a:gd name="connsiteX10" fmla="*/ 679576 w 798789"/>
                <a:gd name="connsiteY10" fmla="*/ 1275 h 416288"/>
                <a:gd name="connsiteX11" fmla="*/ 442426 w 798789"/>
                <a:gd name="connsiteY11" fmla="*/ 10837 h 416288"/>
                <a:gd name="connsiteX12" fmla="*/ 334051 w 798789"/>
                <a:gd name="connsiteY12" fmla="*/ 13388 h 416288"/>
                <a:gd name="connsiteX13" fmla="*/ 118575 w 798789"/>
                <a:gd name="connsiteY13" fmla="*/ 13388 h 416288"/>
                <a:gd name="connsiteX14" fmla="*/ 31875 w 798789"/>
                <a:gd name="connsiteY14" fmla="*/ 12112 h 416288"/>
                <a:gd name="connsiteX15" fmla="*/ 7650 w 798789"/>
                <a:gd name="connsiteY15" fmla="*/ 11475 h 416288"/>
                <a:gd name="connsiteX16" fmla="*/ 7650 w 798789"/>
                <a:gd name="connsiteY16" fmla="*/ 23587 h 416288"/>
                <a:gd name="connsiteX17" fmla="*/ 7013 w 798789"/>
                <a:gd name="connsiteY17" fmla="*/ 61200 h 416288"/>
                <a:gd name="connsiteX18" fmla="*/ 0 w 798789"/>
                <a:gd name="connsiteY18" fmla="*/ 400988 h 416288"/>
                <a:gd name="connsiteX19" fmla="*/ 0 w 798789"/>
                <a:gd name="connsiteY19" fmla="*/ 413738 h 416288"/>
                <a:gd name="connsiteX20" fmla="*/ 28050 w 798789"/>
                <a:gd name="connsiteY20" fmla="*/ 414376 h 416288"/>
                <a:gd name="connsiteX21" fmla="*/ 177225 w 798789"/>
                <a:gd name="connsiteY21" fmla="*/ 416288 h 416288"/>
                <a:gd name="connsiteX22" fmla="*/ 525939 w 798789"/>
                <a:gd name="connsiteY22" fmla="*/ 411188 h 416288"/>
                <a:gd name="connsiteX23" fmla="*/ 774564 w 798789"/>
                <a:gd name="connsiteY23" fmla="*/ 399713 h 416288"/>
                <a:gd name="connsiteX24" fmla="*/ 798789 w 798789"/>
                <a:gd name="connsiteY24" fmla="*/ 397801 h 416288"/>
                <a:gd name="connsiteX25" fmla="*/ 797514 w 798789"/>
                <a:gd name="connsiteY25" fmla="*/ 381863 h 416288"/>
                <a:gd name="connsiteX26" fmla="*/ 797514 w 798789"/>
                <a:gd name="connsiteY26" fmla="*/ 381863 h 41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8789" h="416288">
                  <a:moveTo>
                    <a:pt x="797514" y="381863"/>
                  </a:moveTo>
                  <a:lnTo>
                    <a:pt x="781577" y="109650"/>
                  </a:lnTo>
                  <a:lnTo>
                    <a:pt x="752252" y="93075"/>
                  </a:lnTo>
                  <a:lnTo>
                    <a:pt x="749702" y="80325"/>
                  </a:lnTo>
                  <a:lnTo>
                    <a:pt x="726752" y="59925"/>
                  </a:lnTo>
                  <a:lnTo>
                    <a:pt x="749064" y="31875"/>
                  </a:lnTo>
                  <a:lnTo>
                    <a:pt x="739502" y="15938"/>
                  </a:lnTo>
                  <a:lnTo>
                    <a:pt x="722926" y="16575"/>
                  </a:lnTo>
                  <a:lnTo>
                    <a:pt x="707627" y="5100"/>
                  </a:lnTo>
                  <a:lnTo>
                    <a:pt x="701252" y="0"/>
                  </a:lnTo>
                  <a:lnTo>
                    <a:pt x="679576" y="1275"/>
                  </a:lnTo>
                  <a:lnTo>
                    <a:pt x="442426" y="10837"/>
                  </a:lnTo>
                  <a:lnTo>
                    <a:pt x="334051" y="13388"/>
                  </a:lnTo>
                  <a:lnTo>
                    <a:pt x="118575" y="13388"/>
                  </a:lnTo>
                  <a:lnTo>
                    <a:pt x="31875" y="12112"/>
                  </a:lnTo>
                  <a:lnTo>
                    <a:pt x="7650" y="11475"/>
                  </a:lnTo>
                  <a:lnTo>
                    <a:pt x="7650" y="23587"/>
                  </a:lnTo>
                  <a:lnTo>
                    <a:pt x="7013" y="61200"/>
                  </a:lnTo>
                  <a:lnTo>
                    <a:pt x="0" y="400988"/>
                  </a:lnTo>
                  <a:lnTo>
                    <a:pt x="0" y="413738"/>
                  </a:lnTo>
                  <a:lnTo>
                    <a:pt x="28050" y="414376"/>
                  </a:lnTo>
                  <a:lnTo>
                    <a:pt x="177225" y="416288"/>
                  </a:lnTo>
                  <a:lnTo>
                    <a:pt x="525939" y="411188"/>
                  </a:lnTo>
                  <a:lnTo>
                    <a:pt x="774564" y="399713"/>
                  </a:lnTo>
                  <a:lnTo>
                    <a:pt x="798789" y="397801"/>
                  </a:lnTo>
                  <a:lnTo>
                    <a:pt x="797514" y="381863"/>
                  </a:lnTo>
                  <a:lnTo>
                    <a:pt x="797514" y="381863"/>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197" name="Freeform 36">
              <a:extLst>
                <a:ext uri="{FF2B5EF4-FFF2-40B4-BE49-F238E27FC236}">
                  <a16:creationId xmlns:a16="http://schemas.microsoft.com/office/drawing/2014/main" id="{03C4F94C-9592-CF3A-DCA4-83E3F979E71B}"/>
                </a:ext>
              </a:extLst>
            </p:cNvPr>
            <p:cNvSpPr/>
            <p:nvPr/>
          </p:nvSpPr>
          <p:spPr>
            <a:xfrm>
              <a:off x="4789740" y="2437149"/>
              <a:ext cx="736951" cy="606263"/>
            </a:xfrm>
            <a:custGeom>
              <a:avLst/>
              <a:gdLst>
                <a:gd name="connsiteX0" fmla="*/ 443701 w 736951"/>
                <a:gd name="connsiteY0" fmla="*/ 28050 h 606263"/>
                <a:gd name="connsiteX1" fmla="*/ 411826 w 736951"/>
                <a:gd name="connsiteY1" fmla="*/ 0 h 606263"/>
                <a:gd name="connsiteX2" fmla="*/ 273488 w 736951"/>
                <a:gd name="connsiteY2" fmla="*/ 17212 h 606263"/>
                <a:gd name="connsiteX3" fmla="*/ 132600 w 736951"/>
                <a:gd name="connsiteY3" fmla="*/ 29325 h 606263"/>
                <a:gd name="connsiteX4" fmla="*/ 637 w 736951"/>
                <a:gd name="connsiteY4" fmla="*/ 33150 h 606263"/>
                <a:gd name="connsiteX5" fmla="*/ 637 w 736951"/>
                <a:gd name="connsiteY5" fmla="*/ 33150 h 606263"/>
                <a:gd name="connsiteX6" fmla="*/ 0 w 736951"/>
                <a:gd name="connsiteY6" fmla="*/ 36975 h 606263"/>
                <a:gd name="connsiteX7" fmla="*/ 15938 w 736951"/>
                <a:gd name="connsiteY7" fmla="*/ 68213 h 606263"/>
                <a:gd name="connsiteX8" fmla="*/ 30600 w 736951"/>
                <a:gd name="connsiteY8" fmla="*/ 79050 h 606263"/>
                <a:gd name="connsiteX9" fmla="*/ 47813 w 736951"/>
                <a:gd name="connsiteY9" fmla="*/ 110288 h 606263"/>
                <a:gd name="connsiteX10" fmla="*/ 50362 w 736951"/>
                <a:gd name="connsiteY10" fmla="*/ 112838 h 606263"/>
                <a:gd name="connsiteX11" fmla="*/ 56737 w 736951"/>
                <a:gd name="connsiteY11" fmla="*/ 117938 h 606263"/>
                <a:gd name="connsiteX12" fmla="*/ 72038 w 736951"/>
                <a:gd name="connsiteY12" fmla="*/ 129413 h 606263"/>
                <a:gd name="connsiteX13" fmla="*/ 88612 w 736951"/>
                <a:gd name="connsiteY13" fmla="*/ 128775 h 606263"/>
                <a:gd name="connsiteX14" fmla="*/ 98175 w 736951"/>
                <a:gd name="connsiteY14" fmla="*/ 144713 h 606263"/>
                <a:gd name="connsiteX15" fmla="*/ 75862 w 736951"/>
                <a:gd name="connsiteY15" fmla="*/ 172763 h 606263"/>
                <a:gd name="connsiteX16" fmla="*/ 98813 w 736951"/>
                <a:gd name="connsiteY16" fmla="*/ 193163 h 606263"/>
                <a:gd name="connsiteX17" fmla="*/ 101362 w 736951"/>
                <a:gd name="connsiteY17" fmla="*/ 205913 h 606263"/>
                <a:gd name="connsiteX18" fmla="*/ 130688 w 736951"/>
                <a:gd name="connsiteY18" fmla="*/ 222488 h 606263"/>
                <a:gd name="connsiteX19" fmla="*/ 146625 w 736951"/>
                <a:gd name="connsiteY19" fmla="*/ 494701 h 606263"/>
                <a:gd name="connsiteX20" fmla="*/ 147263 w 736951"/>
                <a:gd name="connsiteY20" fmla="*/ 511276 h 606263"/>
                <a:gd name="connsiteX21" fmla="*/ 148538 w 736951"/>
                <a:gd name="connsiteY21" fmla="*/ 527851 h 606263"/>
                <a:gd name="connsiteX22" fmla="*/ 149175 w 736951"/>
                <a:gd name="connsiteY22" fmla="*/ 544426 h 606263"/>
                <a:gd name="connsiteX23" fmla="*/ 150450 w 736951"/>
                <a:gd name="connsiteY23" fmla="*/ 561639 h 606263"/>
                <a:gd name="connsiteX24" fmla="*/ 151087 w 736951"/>
                <a:gd name="connsiteY24" fmla="*/ 578214 h 606263"/>
                <a:gd name="connsiteX25" fmla="*/ 181688 w 736951"/>
                <a:gd name="connsiteY25" fmla="*/ 576301 h 606263"/>
                <a:gd name="connsiteX26" fmla="*/ 388876 w 736951"/>
                <a:gd name="connsiteY26" fmla="*/ 559726 h 606263"/>
                <a:gd name="connsiteX27" fmla="*/ 633676 w 736951"/>
                <a:gd name="connsiteY27" fmla="*/ 536139 h 606263"/>
                <a:gd name="connsiteX28" fmla="*/ 645789 w 736951"/>
                <a:gd name="connsiteY28" fmla="*/ 561001 h 606263"/>
                <a:gd name="connsiteX29" fmla="*/ 617101 w 736951"/>
                <a:gd name="connsiteY29" fmla="*/ 606264 h 606263"/>
                <a:gd name="connsiteX30" fmla="*/ 686589 w 736951"/>
                <a:gd name="connsiteY30" fmla="*/ 595426 h 606263"/>
                <a:gd name="connsiteX31" fmla="*/ 687226 w 736951"/>
                <a:gd name="connsiteY31" fmla="*/ 595426 h 606263"/>
                <a:gd name="connsiteX32" fmla="*/ 687226 w 736951"/>
                <a:gd name="connsiteY32" fmla="*/ 590326 h 606263"/>
                <a:gd name="connsiteX33" fmla="*/ 688501 w 736951"/>
                <a:gd name="connsiteY33" fmla="*/ 560364 h 606263"/>
                <a:gd name="connsiteX34" fmla="*/ 701251 w 736951"/>
                <a:gd name="connsiteY34" fmla="*/ 544426 h 606263"/>
                <a:gd name="connsiteX35" fmla="*/ 697426 w 736951"/>
                <a:gd name="connsiteY35" fmla="*/ 526576 h 606263"/>
                <a:gd name="connsiteX36" fmla="*/ 696789 w 736951"/>
                <a:gd name="connsiteY36" fmla="*/ 525938 h 606263"/>
                <a:gd name="connsiteX37" fmla="*/ 696151 w 736951"/>
                <a:gd name="connsiteY37" fmla="*/ 525301 h 606263"/>
                <a:gd name="connsiteX38" fmla="*/ 698701 w 736951"/>
                <a:gd name="connsiteY38" fmla="*/ 517014 h 606263"/>
                <a:gd name="connsiteX39" fmla="*/ 702526 w 736951"/>
                <a:gd name="connsiteY39" fmla="*/ 518289 h 606263"/>
                <a:gd name="connsiteX40" fmla="*/ 704439 w 736951"/>
                <a:gd name="connsiteY40" fmla="*/ 523389 h 606263"/>
                <a:gd name="connsiteX41" fmla="*/ 703801 w 736951"/>
                <a:gd name="connsiteY41" fmla="*/ 525301 h 606263"/>
                <a:gd name="connsiteX42" fmla="*/ 703801 w 736951"/>
                <a:gd name="connsiteY42" fmla="*/ 525938 h 606263"/>
                <a:gd name="connsiteX43" fmla="*/ 703801 w 736951"/>
                <a:gd name="connsiteY43" fmla="*/ 531039 h 606263"/>
                <a:gd name="connsiteX44" fmla="*/ 706351 w 736951"/>
                <a:gd name="connsiteY44" fmla="*/ 531676 h 606263"/>
                <a:gd name="connsiteX45" fmla="*/ 711451 w 736951"/>
                <a:gd name="connsiteY45" fmla="*/ 525301 h 606263"/>
                <a:gd name="connsiteX46" fmla="*/ 711451 w 736951"/>
                <a:gd name="connsiteY46" fmla="*/ 524664 h 606263"/>
                <a:gd name="connsiteX47" fmla="*/ 712089 w 736951"/>
                <a:gd name="connsiteY47" fmla="*/ 522751 h 606263"/>
                <a:gd name="connsiteX48" fmla="*/ 728664 w 736951"/>
                <a:gd name="connsiteY48" fmla="*/ 511914 h 606263"/>
                <a:gd name="connsiteX49" fmla="*/ 731214 w 736951"/>
                <a:gd name="connsiteY49" fmla="*/ 510639 h 606263"/>
                <a:gd name="connsiteX50" fmla="*/ 736951 w 736951"/>
                <a:gd name="connsiteY50" fmla="*/ 457726 h 606263"/>
                <a:gd name="connsiteX51" fmla="*/ 735676 w 736951"/>
                <a:gd name="connsiteY51" fmla="*/ 455176 h 606263"/>
                <a:gd name="connsiteX52" fmla="*/ 733764 w 736951"/>
                <a:gd name="connsiteY52" fmla="*/ 454539 h 606263"/>
                <a:gd name="connsiteX53" fmla="*/ 687864 w 736951"/>
                <a:gd name="connsiteY53" fmla="*/ 417563 h 606263"/>
                <a:gd name="connsiteX54" fmla="*/ 694876 w 736951"/>
                <a:gd name="connsiteY54" fmla="*/ 404176 h 606263"/>
                <a:gd name="connsiteX55" fmla="*/ 682126 w 736951"/>
                <a:gd name="connsiteY55" fmla="*/ 367838 h 606263"/>
                <a:gd name="connsiteX56" fmla="*/ 659176 w 736951"/>
                <a:gd name="connsiteY56" fmla="*/ 349988 h 606263"/>
                <a:gd name="connsiteX57" fmla="*/ 615189 w 736951"/>
                <a:gd name="connsiteY57" fmla="*/ 330863 h 606263"/>
                <a:gd name="connsiteX58" fmla="*/ 587139 w 736951"/>
                <a:gd name="connsiteY58" fmla="*/ 308551 h 606263"/>
                <a:gd name="connsiteX59" fmla="*/ 590326 w 736951"/>
                <a:gd name="connsiteY59" fmla="*/ 262013 h 606263"/>
                <a:gd name="connsiteX60" fmla="*/ 598613 w 736951"/>
                <a:gd name="connsiteY60" fmla="*/ 219300 h 606263"/>
                <a:gd name="connsiteX61" fmla="*/ 552076 w 736951"/>
                <a:gd name="connsiteY61" fmla="*/ 221850 h 606263"/>
                <a:gd name="connsiteX62" fmla="*/ 538051 w 736951"/>
                <a:gd name="connsiteY62" fmla="*/ 207188 h 606263"/>
                <a:gd name="connsiteX63" fmla="*/ 531676 w 736951"/>
                <a:gd name="connsiteY63" fmla="*/ 177225 h 606263"/>
                <a:gd name="connsiteX64" fmla="*/ 458363 w 736951"/>
                <a:gd name="connsiteY64" fmla="*/ 115388 h 606263"/>
                <a:gd name="connsiteX65" fmla="*/ 437963 w 736951"/>
                <a:gd name="connsiteY65" fmla="*/ 58650 h 606263"/>
                <a:gd name="connsiteX66" fmla="*/ 443063 w 736951"/>
                <a:gd name="connsiteY66" fmla="*/ 29962 h 606263"/>
                <a:gd name="connsiteX67" fmla="*/ 443063 w 736951"/>
                <a:gd name="connsiteY67" fmla="*/ 29962 h 606263"/>
                <a:gd name="connsiteX68" fmla="*/ 443701 w 736951"/>
                <a:gd name="connsiteY68" fmla="*/ 28050 h 606263"/>
                <a:gd name="connsiteX69" fmla="*/ 443701 w 736951"/>
                <a:gd name="connsiteY69" fmla="*/ 28050 h 60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951" h="606263">
                  <a:moveTo>
                    <a:pt x="443701" y="28050"/>
                  </a:moveTo>
                  <a:lnTo>
                    <a:pt x="411826" y="0"/>
                  </a:lnTo>
                  <a:lnTo>
                    <a:pt x="273488" y="17212"/>
                  </a:lnTo>
                  <a:lnTo>
                    <a:pt x="132600" y="29325"/>
                  </a:lnTo>
                  <a:lnTo>
                    <a:pt x="637" y="33150"/>
                  </a:lnTo>
                  <a:lnTo>
                    <a:pt x="637" y="33150"/>
                  </a:lnTo>
                  <a:lnTo>
                    <a:pt x="0" y="36975"/>
                  </a:lnTo>
                  <a:lnTo>
                    <a:pt x="15938" y="68213"/>
                  </a:lnTo>
                  <a:lnTo>
                    <a:pt x="30600" y="79050"/>
                  </a:lnTo>
                  <a:lnTo>
                    <a:pt x="47813" y="110288"/>
                  </a:lnTo>
                  <a:lnTo>
                    <a:pt x="50362" y="112838"/>
                  </a:lnTo>
                  <a:lnTo>
                    <a:pt x="56737" y="117938"/>
                  </a:lnTo>
                  <a:lnTo>
                    <a:pt x="72038" y="129413"/>
                  </a:lnTo>
                  <a:lnTo>
                    <a:pt x="88612" y="128775"/>
                  </a:lnTo>
                  <a:lnTo>
                    <a:pt x="98175" y="144713"/>
                  </a:lnTo>
                  <a:lnTo>
                    <a:pt x="75862" y="172763"/>
                  </a:lnTo>
                  <a:lnTo>
                    <a:pt x="98813" y="193163"/>
                  </a:lnTo>
                  <a:lnTo>
                    <a:pt x="101362" y="205913"/>
                  </a:lnTo>
                  <a:lnTo>
                    <a:pt x="130688" y="222488"/>
                  </a:lnTo>
                  <a:lnTo>
                    <a:pt x="146625" y="494701"/>
                  </a:lnTo>
                  <a:lnTo>
                    <a:pt x="147263" y="511276"/>
                  </a:lnTo>
                  <a:lnTo>
                    <a:pt x="148538" y="527851"/>
                  </a:lnTo>
                  <a:lnTo>
                    <a:pt x="149175" y="544426"/>
                  </a:lnTo>
                  <a:lnTo>
                    <a:pt x="150450" y="561639"/>
                  </a:lnTo>
                  <a:lnTo>
                    <a:pt x="151087" y="578214"/>
                  </a:lnTo>
                  <a:lnTo>
                    <a:pt x="181688" y="576301"/>
                  </a:lnTo>
                  <a:lnTo>
                    <a:pt x="388876" y="559726"/>
                  </a:lnTo>
                  <a:lnTo>
                    <a:pt x="633676" y="536139"/>
                  </a:lnTo>
                  <a:lnTo>
                    <a:pt x="645789" y="561001"/>
                  </a:lnTo>
                  <a:lnTo>
                    <a:pt x="617101" y="606264"/>
                  </a:lnTo>
                  <a:lnTo>
                    <a:pt x="686589" y="595426"/>
                  </a:lnTo>
                  <a:lnTo>
                    <a:pt x="687226" y="595426"/>
                  </a:lnTo>
                  <a:lnTo>
                    <a:pt x="687226" y="590326"/>
                  </a:lnTo>
                  <a:lnTo>
                    <a:pt x="688501" y="560364"/>
                  </a:lnTo>
                  <a:lnTo>
                    <a:pt x="701251" y="544426"/>
                  </a:lnTo>
                  <a:lnTo>
                    <a:pt x="697426" y="526576"/>
                  </a:lnTo>
                  <a:lnTo>
                    <a:pt x="696789" y="525938"/>
                  </a:lnTo>
                  <a:lnTo>
                    <a:pt x="696151" y="525301"/>
                  </a:lnTo>
                  <a:lnTo>
                    <a:pt x="698701" y="517014"/>
                  </a:lnTo>
                  <a:lnTo>
                    <a:pt x="702526" y="518289"/>
                  </a:lnTo>
                  <a:lnTo>
                    <a:pt x="704439" y="523389"/>
                  </a:lnTo>
                  <a:lnTo>
                    <a:pt x="703801" y="525301"/>
                  </a:lnTo>
                  <a:lnTo>
                    <a:pt x="703801" y="525938"/>
                  </a:lnTo>
                  <a:lnTo>
                    <a:pt x="703801" y="531039"/>
                  </a:lnTo>
                  <a:lnTo>
                    <a:pt x="706351" y="531676"/>
                  </a:lnTo>
                  <a:lnTo>
                    <a:pt x="711451" y="525301"/>
                  </a:lnTo>
                  <a:lnTo>
                    <a:pt x="711451" y="524664"/>
                  </a:lnTo>
                  <a:lnTo>
                    <a:pt x="712089" y="522751"/>
                  </a:lnTo>
                  <a:lnTo>
                    <a:pt x="728664" y="511914"/>
                  </a:lnTo>
                  <a:lnTo>
                    <a:pt x="731214" y="510639"/>
                  </a:lnTo>
                  <a:lnTo>
                    <a:pt x="736951" y="457726"/>
                  </a:lnTo>
                  <a:lnTo>
                    <a:pt x="735676" y="455176"/>
                  </a:lnTo>
                  <a:lnTo>
                    <a:pt x="733764" y="454539"/>
                  </a:lnTo>
                  <a:lnTo>
                    <a:pt x="687864" y="417563"/>
                  </a:lnTo>
                  <a:lnTo>
                    <a:pt x="694876" y="404176"/>
                  </a:lnTo>
                  <a:lnTo>
                    <a:pt x="682126" y="367838"/>
                  </a:lnTo>
                  <a:lnTo>
                    <a:pt x="659176" y="349988"/>
                  </a:lnTo>
                  <a:lnTo>
                    <a:pt x="615189" y="330863"/>
                  </a:lnTo>
                  <a:lnTo>
                    <a:pt x="587139" y="308551"/>
                  </a:lnTo>
                  <a:lnTo>
                    <a:pt x="590326" y="262013"/>
                  </a:lnTo>
                  <a:lnTo>
                    <a:pt x="598613" y="219300"/>
                  </a:lnTo>
                  <a:lnTo>
                    <a:pt x="552076" y="221850"/>
                  </a:lnTo>
                  <a:lnTo>
                    <a:pt x="538051" y="207188"/>
                  </a:lnTo>
                  <a:lnTo>
                    <a:pt x="531676" y="177225"/>
                  </a:lnTo>
                  <a:lnTo>
                    <a:pt x="458363" y="115388"/>
                  </a:lnTo>
                  <a:lnTo>
                    <a:pt x="437963" y="58650"/>
                  </a:lnTo>
                  <a:lnTo>
                    <a:pt x="443063" y="29962"/>
                  </a:lnTo>
                  <a:lnTo>
                    <a:pt x="443063" y="29962"/>
                  </a:lnTo>
                  <a:lnTo>
                    <a:pt x="443701" y="28050"/>
                  </a:lnTo>
                  <a:lnTo>
                    <a:pt x="443701" y="2805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198" name="Freeform 37">
              <a:extLst>
                <a:ext uri="{FF2B5EF4-FFF2-40B4-BE49-F238E27FC236}">
                  <a16:creationId xmlns:a16="http://schemas.microsoft.com/office/drawing/2014/main" id="{45D7CF7E-3A74-F6BC-038B-66521E389969}"/>
                </a:ext>
              </a:extLst>
            </p:cNvPr>
            <p:cNvSpPr/>
            <p:nvPr/>
          </p:nvSpPr>
          <p:spPr>
            <a:xfrm>
              <a:off x="3947600" y="2150911"/>
              <a:ext cx="893776" cy="412463"/>
            </a:xfrm>
            <a:custGeom>
              <a:avLst/>
              <a:gdLst>
                <a:gd name="connsiteX0" fmla="*/ 747152 w 893776"/>
                <a:gd name="connsiteY0" fmla="*/ 64387 h 412463"/>
                <a:gd name="connsiteX1" fmla="*/ 727389 w 893776"/>
                <a:gd name="connsiteY1" fmla="*/ 44625 h 412463"/>
                <a:gd name="connsiteX2" fmla="*/ 657264 w 893776"/>
                <a:gd name="connsiteY2" fmla="*/ 24225 h 412463"/>
                <a:gd name="connsiteX3" fmla="*/ 634952 w 893776"/>
                <a:gd name="connsiteY3" fmla="*/ 23587 h 412463"/>
                <a:gd name="connsiteX4" fmla="*/ 601164 w 893776"/>
                <a:gd name="connsiteY4" fmla="*/ 33787 h 412463"/>
                <a:gd name="connsiteX5" fmla="*/ 561001 w 893776"/>
                <a:gd name="connsiteY5" fmla="*/ 8287 h 412463"/>
                <a:gd name="connsiteX6" fmla="*/ 434776 w 893776"/>
                <a:gd name="connsiteY6" fmla="*/ 9563 h 412463"/>
                <a:gd name="connsiteX7" fmla="*/ 249901 w 893776"/>
                <a:gd name="connsiteY7" fmla="*/ 7650 h 412463"/>
                <a:gd name="connsiteX8" fmla="*/ 31875 w 893776"/>
                <a:gd name="connsiteY8" fmla="*/ 637 h 412463"/>
                <a:gd name="connsiteX9" fmla="*/ 12750 w 893776"/>
                <a:gd name="connsiteY9" fmla="*/ 0 h 412463"/>
                <a:gd name="connsiteX10" fmla="*/ 12113 w 893776"/>
                <a:gd name="connsiteY10" fmla="*/ 16575 h 412463"/>
                <a:gd name="connsiteX11" fmla="*/ 9563 w 893776"/>
                <a:gd name="connsiteY11" fmla="*/ 66938 h 412463"/>
                <a:gd name="connsiteX12" fmla="*/ 3825 w 893776"/>
                <a:gd name="connsiteY12" fmla="*/ 184875 h 412463"/>
                <a:gd name="connsiteX13" fmla="*/ 638 w 893776"/>
                <a:gd name="connsiteY13" fmla="*/ 252450 h 412463"/>
                <a:gd name="connsiteX14" fmla="*/ 0 w 893776"/>
                <a:gd name="connsiteY14" fmla="*/ 269025 h 412463"/>
                <a:gd name="connsiteX15" fmla="*/ 15300 w 893776"/>
                <a:gd name="connsiteY15" fmla="*/ 269663 h 412463"/>
                <a:gd name="connsiteX16" fmla="*/ 172125 w 893776"/>
                <a:gd name="connsiteY16" fmla="*/ 275400 h 412463"/>
                <a:gd name="connsiteX17" fmla="*/ 203363 w 893776"/>
                <a:gd name="connsiteY17" fmla="*/ 276676 h 412463"/>
                <a:gd name="connsiteX18" fmla="*/ 200813 w 893776"/>
                <a:gd name="connsiteY18" fmla="*/ 402263 h 412463"/>
                <a:gd name="connsiteX19" fmla="*/ 200176 w 893776"/>
                <a:gd name="connsiteY19" fmla="*/ 410551 h 412463"/>
                <a:gd name="connsiteX20" fmla="*/ 224401 w 893776"/>
                <a:gd name="connsiteY20" fmla="*/ 411188 h 412463"/>
                <a:gd name="connsiteX21" fmla="*/ 311101 w 893776"/>
                <a:gd name="connsiteY21" fmla="*/ 412463 h 412463"/>
                <a:gd name="connsiteX22" fmla="*/ 526576 w 893776"/>
                <a:gd name="connsiteY22" fmla="*/ 412463 h 412463"/>
                <a:gd name="connsiteX23" fmla="*/ 634952 w 893776"/>
                <a:gd name="connsiteY23" fmla="*/ 409913 h 412463"/>
                <a:gd name="connsiteX24" fmla="*/ 872102 w 893776"/>
                <a:gd name="connsiteY24" fmla="*/ 400351 h 412463"/>
                <a:gd name="connsiteX25" fmla="*/ 893777 w 893776"/>
                <a:gd name="connsiteY25" fmla="*/ 399076 h 412463"/>
                <a:gd name="connsiteX26" fmla="*/ 891227 w 893776"/>
                <a:gd name="connsiteY26" fmla="*/ 396526 h 412463"/>
                <a:gd name="connsiteX27" fmla="*/ 874015 w 893776"/>
                <a:gd name="connsiteY27" fmla="*/ 365288 h 412463"/>
                <a:gd name="connsiteX28" fmla="*/ 859352 w 893776"/>
                <a:gd name="connsiteY28" fmla="*/ 354451 h 412463"/>
                <a:gd name="connsiteX29" fmla="*/ 843414 w 893776"/>
                <a:gd name="connsiteY29" fmla="*/ 323213 h 412463"/>
                <a:gd name="connsiteX30" fmla="*/ 844052 w 893776"/>
                <a:gd name="connsiteY30" fmla="*/ 319388 h 412463"/>
                <a:gd name="connsiteX31" fmla="*/ 844052 w 893776"/>
                <a:gd name="connsiteY31" fmla="*/ 318113 h 412463"/>
                <a:gd name="connsiteX32" fmla="*/ 824289 w 893776"/>
                <a:gd name="connsiteY32" fmla="*/ 237150 h 412463"/>
                <a:gd name="connsiteX33" fmla="*/ 828114 w 893776"/>
                <a:gd name="connsiteY33" fmla="*/ 224400 h 412463"/>
                <a:gd name="connsiteX34" fmla="*/ 806439 w 893776"/>
                <a:gd name="connsiteY34" fmla="*/ 193800 h 412463"/>
                <a:gd name="connsiteX35" fmla="*/ 805164 w 893776"/>
                <a:gd name="connsiteY35" fmla="*/ 158100 h 412463"/>
                <a:gd name="connsiteX36" fmla="*/ 785402 w 893776"/>
                <a:gd name="connsiteY36" fmla="*/ 126225 h 412463"/>
                <a:gd name="connsiteX37" fmla="*/ 765002 w 893776"/>
                <a:gd name="connsiteY37" fmla="*/ 66300 h 412463"/>
                <a:gd name="connsiteX38" fmla="*/ 760539 w 893776"/>
                <a:gd name="connsiteY38" fmla="*/ 65663 h 412463"/>
                <a:gd name="connsiteX39" fmla="*/ 747152 w 893776"/>
                <a:gd name="connsiteY39" fmla="*/ 64387 h 412463"/>
                <a:gd name="connsiteX40" fmla="*/ 747152 w 893776"/>
                <a:gd name="connsiteY40" fmla="*/ 64387 h 41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93776" h="412463">
                  <a:moveTo>
                    <a:pt x="747152" y="64387"/>
                  </a:moveTo>
                  <a:lnTo>
                    <a:pt x="727389" y="44625"/>
                  </a:lnTo>
                  <a:lnTo>
                    <a:pt x="657264" y="24225"/>
                  </a:lnTo>
                  <a:lnTo>
                    <a:pt x="634952" y="23587"/>
                  </a:lnTo>
                  <a:lnTo>
                    <a:pt x="601164" y="33787"/>
                  </a:lnTo>
                  <a:lnTo>
                    <a:pt x="561001" y="8287"/>
                  </a:lnTo>
                  <a:lnTo>
                    <a:pt x="434776" y="9563"/>
                  </a:lnTo>
                  <a:lnTo>
                    <a:pt x="249901" y="7650"/>
                  </a:lnTo>
                  <a:lnTo>
                    <a:pt x="31875" y="637"/>
                  </a:lnTo>
                  <a:lnTo>
                    <a:pt x="12750" y="0"/>
                  </a:lnTo>
                  <a:lnTo>
                    <a:pt x="12113" y="16575"/>
                  </a:lnTo>
                  <a:lnTo>
                    <a:pt x="9563" y="66938"/>
                  </a:lnTo>
                  <a:lnTo>
                    <a:pt x="3825" y="184875"/>
                  </a:lnTo>
                  <a:lnTo>
                    <a:pt x="638" y="252450"/>
                  </a:lnTo>
                  <a:lnTo>
                    <a:pt x="0" y="269025"/>
                  </a:lnTo>
                  <a:lnTo>
                    <a:pt x="15300" y="269663"/>
                  </a:lnTo>
                  <a:lnTo>
                    <a:pt x="172125" y="275400"/>
                  </a:lnTo>
                  <a:lnTo>
                    <a:pt x="203363" y="276676"/>
                  </a:lnTo>
                  <a:lnTo>
                    <a:pt x="200813" y="402263"/>
                  </a:lnTo>
                  <a:lnTo>
                    <a:pt x="200176" y="410551"/>
                  </a:lnTo>
                  <a:lnTo>
                    <a:pt x="224401" y="411188"/>
                  </a:lnTo>
                  <a:lnTo>
                    <a:pt x="311101" y="412463"/>
                  </a:lnTo>
                  <a:lnTo>
                    <a:pt x="526576" y="412463"/>
                  </a:lnTo>
                  <a:lnTo>
                    <a:pt x="634952" y="409913"/>
                  </a:lnTo>
                  <a:lnTo>
                    <a:pt x="872102" y="400351"/>
                  </a:lnTo>
                  <a:lnTo>
                    <a:pt x="893777" y="399076"/>
                  </a:lnTo>
                  <a:lnTo>
                    <a:pt x="891227" y="396526"/>
                  </a:lnTo>
                  <a:lnTo>
                    <a:pt x="874015" y="365288"/>
                  </a:lnTo>
                  <a:lnTo>
                    <a:pt x="859352" y="354451"/>
                  </a:lnTo>
                  <a:lnTo>
                    <a:pt x="843414" y="323213"/>
                  </a:lnTo>
                  <a:lnTo>
                    <a:pt x="844052" y="319388"/>
                  </a:lnTo>
                  <a:lnTo>
                    <a:pt x="844052" y="318113"/>
                  </a:lnTo>
                  <a:lnTo>
                    <a:pt x="824289" y="237150"/>
                  </a:lnTo>
                  <a:lnTo>
                    <a:pt x="828114" y="224400"/>
                  </a:lnTo>
                  <a:lnTo>
                    <a:pt x="806439" y="193800"/>
                  </a:lnTo>
                  <a:lnTo>
                    <a:pt x="805164" y="158100"/>
                  </a:lnTo>
                  <a:lnTo>
                    <a:pt x="785402" y="126225"/>
                  </a:lnTo>
                  <a:lnTo>
                    <a:pt x="765002" y="66300"/>
                  </a:lnTo>
                  <a:lnTo>
                    <a:pt x="760539" y="65663"/>
                  </a:lnTo>
                  <a:lnTo>
                    <a:pt x="747152" y="64387"/>
                  </a:lnTo>
                  <a:lnTo>
                    <a:pt x="747152" y="64387"/>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199" name="Freeform 38">
              <a:extLst>
                <a:ext uri="{FF2B5EF4-FFF2-40B4-BE49-F238E27FC236}">
                  <a16:creationId xmlns:a16="http://schemas.microsoft.com/office/drawing/2014/main" id="{91AE535B-B1CD-4AB6-3560-BABDC8E41FE6}"/>
                </a:ext>
              </a:extLst>
            </p:cNvPr>
            <p:cNvSpPr/>
            <p:nvPr/>
          </p:nvSpPr>
          <p:spPr>
            <a:xfrm>
              <a:off x="4032388" y="2947150"/>
              <a:ext cx="946051" cy="451988"/>
            </a:xfrm>
            <a:custGeom>
              <a:avLst/>
              <a:gdLst>
                <a:gd name="connsiteX0" fmla="*/ 908439 w 946051"/>
                <a:gd name="connsiteY0" fmla="*/ 50363 h 451988"/>
                <a:gd name="connsiteX1" fmla="*/ 907164 w 946051"/>
                <a:gd name="connsiteY1" fmla="*/ 33150 h 451988"/>
                <a:gd name="connsiteX2" fmla="*/ 906527 w 946051"/>
                <a:gd name="connsiteY2" fmla="*/ 16575 h 451988"/>
                <a:gd name="connsiteX3" fmla="*/ 905252 w 946051"/>
                <a:gd name="connsiteY3" fmla="*/ 0 h 451988"/>
                <a:gd name="connsiteX4" fmla="*/ 881027 w 946051"/>
                <a:gd name="connsiteY4" fmla="*/ 1913 h 451988"/>
                <a:gd name="connsiteX5" fmla="*/ 632401 w 946051"/>
                <a:gd name="connsiteY5" fmla="*/ 13388 h 451988"/>
                <a:gd name="connsiteX6" fmla="*/ 283688 w 946051"/>
                <a:gd name="connsiteY6" fmla="*/ 18488 h 451988"/>
                <a:gd name="connsiteX7" fmla="*/ 134513 w 946051"/>
                <a:gd name="connsiteY7" fmla="*/ 16575 h 451988"/>
                <a:gd name="connsiteX8" fmla="*/ 106463 w 946051"/>
                <a:gd name="connsiteY8" fmla="*/ 15938 h 451988"/>
                <a:gd name="connsiteX9" fmla="*/ 95625 w 946051"/>
                <a:gd name="connsiteY9" fmla="*/ 15938 h 451988"/>
                <a:gd name="connsiteX10" fmla="*/ 55462 w 946051"/>
                <a:gd name="connsiteY10" fmla="*/ 14663 h 451988"/>
                <a:gd name="connsiteX11" fmla="*/ 42712 w 946051"/>
                <a:gd name="connsiteY11" fmla="*/ 14025 h 451988"/>
                <a:gd name="connsiteX12" fmla="*/ 15300 w 946051"/>
                <a:gd name="connsiteY12" fmla="*/ 13388 h 451988"/>
                <a:gd name="connsiteX13" fmla="*/ 2550 w 946051"/>
                <a:gd name="connsiteY13" fmla="*/ 12750 h 451988"/>
                <a:gd name="connsiteX14" fmla="*/ 1912 w 946051"/>
                <a:gd name="connsiteY14" fmla="*/ 29325 h 451988"/>
                <a:gd name="connsiteX15" fmla="*/ 1275 w 946051"/>
                <a:gd name="connsiteY15" fmla="*/ 45900 h 451988"/>
                <a:gd name="connsiteX16" fmla="*/ 638 w 946051"/>
                <a:gd name="connsiteY16" fmla="*/ 62475 h 451988"/>
                <a:gd name="connsiteX17" fmla="*/ 0 w 946051"/>
                <a:gd name="connsiteY17" fmla="*/ 79688 h 451988"/>
                <a:gd name="connsiteX18" fmla="*/ 3825 w 946051"/>
                <a:gd name="connsiteY18" fmla="*/ 79688 h 451988"/>
                <a:gd name="connsiteX19" fmla="*/ 159375 w 946051"/>
                <a:gd name="connsiteY19" fmla="*/ 83513 h 451988"/>
                <a:gd name="connsiteX20" fmla="*/ 323213 w 946051"/>
                <a:gd name="connsiteY20" fmla="*/ 85425 h 451988"/>
                <a:gd name="connsiteX21" fmla="*/ 325125 w 946051"/>
                <a:gd name="connsiteY21" fmla="*/ 305363 h 451988"/>
                <a:gd name="connsiteX22" fmla="*/ 336601 w 946051"/>
                <a:gd name="connsiteY22" fmla="*/ 343613 h 451988"/>
                <a:gd name="connsiteX23" fmla="*/ 362101 w 946051"/>
                <a:gd name="connsiteY23" fmla="*/ 367838 h 451988"/>
                <a:gd name="connsiteX24" fmla="*/ 390151 w 946051"/>
                <a:gd name="connsiteY24" fmla="*/ 369113 h 451988"/>
                <a:gd name="connsiteX25" fmla="*/ 395888 w 946051"/>
                <a:gd name="connsiteY25" fmla="*/ 357638 h 451988"/>
                <a:gd name="connsiteX26" fmla="*/ 433501 w 946051"/>
                <a:gd name="connsiteY26" fmla="*/ 392063 h 451988"/>
                <a:gd name="connsiteX27" fmla="*/ 483226 w 946051"/>
                <a:gd name="connsiteY27" fmla="*/ 397164 h 451988"/>
                <a:gd name="connsiteX28" fmla="*/ 492789 w 946051"/>
                <a:gd name="connsiteY28" fmla="*/ 408001 h 451988"/>
                <a:gd name="connsiteX29" fmla="*/ 510639 w 946051"/>
                <a:gd name="connsiteY29" fmla="*/ 399713 h 451988"/>
                <a:gd name="connsiteX30" fmla="*/ 555901 w 946051"/>
                <a:gd name="connsiteY30" fmla="*/ 420751 h 451988"/>
                <a:gd name="connsiteX31" fmla="*/ 555901 w 946051"/>
                <a:gd name="connsiteY31" fmla="*/ 432864 h 451988"/>
                <a:gd name="connsiteX32" fmla="*/ 572476 w 946051"/>
                <a:gd name="connsiteY32" fmla="*/ 432226 h 451988"/>
                <a:gd name="connsiteX33" fmla="*/ 589689 w 946051"/>
                <a:gd name="connsiteY33" fmla="*/ 417563 h 451988"/>
                <a:gd name="connsiteX34" fmla="*/ 622201 w 946051"/>
                <a:gd name="connsiteY34" fmla="*/ 437963 h 451988"/>
                <a:gd name="connsiteX35" fmla="*/ 652801 w 946051"/>
                <a:gd name="connsiteY35" fmla="*/ 449438 h 451988"/>
                <a:gd name="connsiteX36" fmla="*/ 673201 w 946051"/>
                <a:gd name="connsiteY36" fmla="*/ 420751 h 451988"/>
                <a:gd name="connsiteX37" fmla="*/ 738864 w 946051"/>
                <a:gd name="connsiteY37" fmla="*/ 451989 h 451988"/>
                <a:gd name="connsiteX38" fmla="*/ 763089 w 946051"/>
                <a:gd name="connsiteY38" fmla="*/ 432226 h 451988"/>
                <a:gd name="connsiteX39" fmla="*/ 782852 w 946051"/>
                <a:gd name="connsiteY39" fmla="*/ 424576 h 451988"/>
                <a:gd name="connsiteX40" fmla="*/ 798789 w 946051"/>
                <a:gd name="connsiteY40" fmla="*/ 428401 h 451988"/>
                <a:gd name="connsiteX41" fmla="*/ 858714 w 946051"/>
                <a:gd name="connsiteY41" fmla="*/ 411188 h 451988"/>
                <a:gd name="connsiteX42" fmla="*/ 891227 w 946051"/>
                <a:gd name="connsiteY42" fmla="*/ 424576 h 451988"/>
                <a:gd name="connsiteX43" fmla="*/ 920552 w 946051"/>
                <a:gd name="connsiteY43" fmla="*/ 443063 h 451988"/>
                <a:gd name="connsiteX44" fmla="*/ 945415 w 946051"/>
                <a:gd name="connsiteY44" fmla="*/ 447526 h 451988"/>
                <a:gd name="connsiteX45" fmla="*/ 946052 w 946051"/>
                <a:gd name="connsiteY45" fmla="*/ 447526 h 451988"/>
                <a:gd name="connsiteX46" fmla="*/ 945415 w 946051"/>
                <a:gd name="connsiteY46" fmla="*/ 418201 h 451988"/>
                <a:gd name="connsiteX47" fmla="*/ 938402 w 946051"/>
                <a:gd name="connsiteY47" fmla="*/ 243526 h 451988"/>
                <a:gd name="connsiteX48" fmla="*/ 937764 w 946051"/>
                <a:gd name="connsiteY48" fmla="*/ 214201 h 451988"/>
                <a:gd name="connsiteX49" fmla="*/ 912902 w 946051"/>
                <a:gd name="connsiteY49" fmla="*/ 84788 h 451988"/>
                <a:gd name="connsiteX50" fmla="*/ 909077 w 946051"/>
                <a:gd name="connsiteY50" fmla="*/ 66938 h 451988"/>
                <a:gd name="connsiteX51" fmla="*/ 908439 w 946051"/>
                <a:gd name="connsiteY51" fmla="*/ 50363 h 451988"/>
                <a:gd name="connsiteX52" fmla="*/ 908439 w 946051"/>
                <a:gd name="connsiteY52" fmla="*/ 50363 h 4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46051" h="451988">
                  <a:moveTo>
                    <a:pt x="908439" y="50363"/>
                  </a:moveTo>
                  <a:lnTo>
                    <a:pt x="907164" y="33150"/>
                  </a:lnTo>
                  <a:lnTo>
                    <a:pt x="906527" y="16575"/>
                  </a:lnTo>
                  <a:lnTo>
                    <a:pt x="905252" y="0"/>
                  </a:lnTo>
                  <a:lnTo>
                    <a:pt x="881027" y="1913"/>
                  </a:lnTo>
                  <a:lnTo>
                    <a:pt x="632401" y="13388"/>
                  </a:lnTo>
                  <a:lnTo>
                    <a:pt x="283688" y="18488"/>
                  </a:lnTo>
                  <a:lnTo>
                    <a:pt x="134513" y="16575"/>
                  </a:lnTo>
                  <a:lnTo>
                    <a:pt x="106463" y="15938"/>
                  </a:lnTo>
                  <a:lnTo>
                    <a:pt x="95625" y="15938"/>
                  </a:lnTo>
                  <a:lnTo>
                    <a:pt x="55462" y="14663"/>
                  </a:lnTo>
                  <a:lnTo>
                    <a:pt x="42712" y="14025"/>
                  </a:lnTo>
                  <a:lnTo>
                    <a:pt x="15300" y="13388"/>
                  </a:lnTo>
                  <a:lnTo>
                    <a:pt x="2550" y="12750"/>
                  </a:lnTo>
                  <a:lnTo>
                    <a:pt x="1912" y="29325"/>
                  </a:lnTo>
                  <a:lnTo>
                    <a:pt x="1275" y="45900"/>
                  </a:lnTo>
                  <a:lnTo>
                    <a:pt x="638" y="62475"/>
                  </a:lnTo>
                  <a:lnTo>
                    <a:pt x="0" y="79688"/>
                  </a:lnTo>
                  <a:lnTo>
                    <a:pt x="3825" y="79688"/>
                  </a:lnTo>
                  <a:lnTo>
                    <a:pt x="159375" y="83513"/>
                  </a:lnTo>
                  <a:lnTo>
                    <a:pt x="323213" y="85425"/>
                  </a:lnTo>
                  <a:lnTo>
                    <a:pt x="325125" y="305363"/>
                  </a:lnTo>
                  <a:lnTo>
                    <a:pt x="336601" y="343613"/>
                  </a:lnTo>
                  <a:lnTo>
                    <a:pt x="362101" y="367838"/>
                  </a:lnTo>
                  <a:lnTo>
                    <a:pt x="390151" y="369113"/>
                  </a:lnTo>
                  <a:lnTo>
                    <a:pt x="395888" y="357638"/>
                  </a:lnTo>
                  <a:lnTo>
                    <a:pt x="433501" y="392063"/>
                  </a:lnTo>
                  <a:lnTo>
                    <a:pt x="483226" y="397164"/>
                  </a:lnTo>
                  <a:lnTo>
                    <a:pt x="492789" y="408001"/>
                  </a:lnTo>
                  <a:lnTo>
                    <a:pt x="510639" y="399713"/>
                  </a:lnTo>
                  <a:lnTo>
                    <a:pt x="555901" y="420751"/>
                  </a:lnTo>
                  <a:lnTo>
                    <a:pt x="555901" y="432864"/>
                  </a:lnTo>
                  <a:lnTo>
                    <a:pt x="572476" y="432226"/>
                  </a:lnTo>
                  <a:lnTo>
                    <a:pt x="589689" y="417563"/>
                  </a:lnTo>
                  <a:lnTo>
                    <a:pt x="622201" y="437963"/>
                  </a:lnTo>
                  <a:lnTo>
                    <a:pt x="652801" y="449438"/>
                  </a:lnTo>
                  <a:lnTo>
                    <a:pt x="673201" y="420751"/>
                  </a:lnTo>
                  <a:lnTo>
                    <a:pt x="738864" y="451989"/>
                  </a:lnTo>
                  <a:lnTo>
                    <a:pt x="763089" y="432226"/>
                  </a:lnTo>
                  <a:lnTo>
                    <a:pt x="782852" y="424576"/>
                  </a:lnTo>
                  <a:lnTo>
                    <a:pt x="798789" y="428401"/>
                  </a:lnTo>
                  <a:lnTo>
                    <a:pt x="858714" y="411188"/>
                  </a:lnTo>
                  <a:lnTo>
                    <a:pt x="891227" y="424576"/>
                  </a:lnTo>
                  <a:lnTo>
                    <a:pt x="920552" y="443063"/>
                  </a:lnTo>
                  <a:lnTo>
                    <a:pt x="945415" y="447526"/>
                  </a:lnTo>
                  <a:lnTo>
                    <a:pt x="946052" y="447526"/>
                  </a:lnTo>
                  <a:lnTo>
                    <a:pt x="945415" y="418201"/>
                  </a:lnTo>
                  <a:lnTo>
                    <a:pt x="938402" y="243526"/>
                  </a:lnTo>
                  <a:lnTo>
                    <a:pt x="937764" y="214201"/>
                  </a:lnTo>
                  <a:lnTo>
                    <a:pt x="912902" y="84788"/>
                  </a:lnTo>
                  <a:lnTo>
                    <a:pt x="909077" y="66938"/>
                  </a:lnTo>
                  <a:lnTo>
                    <a:pt x="908439" y="50363"/>
                  </a:lnTo>
                  <a:lnTo>
                    <a:pt x="908439" y="50363"/>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00" name="Freeform 39">
              <a:extLst>
                <a:ext uri="{FF2B5EF4-FFF2-40B4-BE49-F238E27FC236}">
                  <a16:creationId xmlns:a16="http://schemas.microsoft.com/office/drawing/2014/main" id="{EEF3F9A4-82FD-A7A7-0BF8-B720A4216F1B}"/>
                </a:ext>
              </a:extLst>
            </p:cNvPr>
            <p:cNvSpPr/>
            <p:nvPr/>
          </p:nvSpPr>
          <p:spPr>
            <a:xfrm>
              <a:off x="3960350" y="1754385"/>
              <a:ext cx="746514" cy="461550"/>
            </a:xfrm>
            <a:custGeom>
              <a:avLst/>
              <a:gdLst>
                <a:gd name="connsiteX0" fmla="*/ 698702 w 746514"/>
                <a:gd name="connsiteY0" fmla="*/ 3825 h 461550"/>
                <a:gd name="connsiteX1" fmla="*/ 590326 w 746514"/>
                <a:gd name="connsiteY1" fmla="*/ 7013 h 461550"/>
                <a:gd name="connsiteX2" fmla="*/ 328951 w 746514"/>
                <a:gd name="connsiteY2" fmla="*/ 8925 h 461550"/>
                <a:gd name="connsiteX3" fmla="*/ 45900 w 746514"/>
                <a:gd name="connsiteY3" fmla="*/ 1275 h 461550"/>
                <a:gd name="connsiteX4" fmla="*/ 20400 w 746514"/>
                <a:gd name="connsiteY4" fmla="*/ 0 h 461550"/>
                <a:gd name="connsiteX5" fmla="*/ 19763 w 746514"/>
                <a:gd name="connsiteY5" fmla="*/ 14662 h 461550"/>
                <a:gd name="connsiteX6" fmla="*/ 17213 w 746514"/>
                <a:gd name="connsiteY6" fmla="*/ 72675 h 461550"/>
                <a:gd name="connsiteX7" fmla="*/ 15300 w 746514"/>
                <a:gd name="connsiteY7" fmla="*/ 117300 h 461550"/>
                <a:gd name="connsiteX8" fmla="*/ 14663 w 746514"/>
                <a:gd name="connsiteY8" fmla="*/ 126863 h 461550"/>
                <a:gd name="connsiteX9" fmla="*/ 12750 w 746514"/>
                <a:gd name="connsiteY9" fmla="*/ 126863 h 461550"/>
                <a:gd name="connsiteX10" fmla="*/ 12113 w 746514"/>
                <a:gd name="connsiteY10" fmla="*/ 143438 h 461550"/>
                <a:gd name="connsiteX11" fmla="*/ 5738 w 746514"/>
                <a:gd name="connsiteY11" fmla="*/ 278588 h 461550"/>
                <a:gd name="connsiteX12" fmla="*/ 638 w 746514"/>
                <a:gd name="connsiteY12" fmla="*/ 378676 h 461550"/>
                <a:gd name="connsiteX13" fmla="*/ 0 w 746514"/>
                <a:gd name="connsiteY13" fmla="*/ 395888 h 461550"/>
                <a:gd name="connsiteX14" fmla="*/ 19125 w 746514"/>
                <a:gd name="connsiteY14" fmla="*/ 396526 h 461550"/>
                <a:gd name="connsiteX15" fmla="*/ 237151 w 746514"/>
                <a:gd name="connsiteY15" fmla="*/ 403538 h 461550"/>
                <a:gd name="connsiteX16" fmla="*/ 422026 w 746514"/>
                <a:gd name="connsiteY16" fmla="*/ 405451 h 461550"/>
                <a:gd name="connsiteX17" fmla="*/ 548251 w 746514"/>
                <a:gd name="connsiteY17" fmla="*/ 404176 h 461550"/>
                <a:gd name="connsiteX18" fmla="*/ 588414 w 746514"/>
                <a:gd name="connsiteY18" fmla="*/ 429676 h 461550"/>
                <a:gd name="connsiteX19" fmla="*/ 622202 w 746514"/>
                <a:gd name="connsiteY19" fmla="*/ 419476 h 461550"/>
                <a:gd name="connsiteX20" fmla="*/ 644514 w 746514"/>
                <a:gd name="connsiteY20" fmla="*/ 420113 h 461550"/>
                <a:gd name="connsiteX21" fmla="*/ 714639 w 746514"/>
                <a:gd name="connsiteY21" fmla="*/ 440513 h 461550"/>
                <a:gd name="connsiteX22" fmla="*/ 734402 w 746514"/>
                <a:gd name="connsiteY22" fmla="*/ 460276 h 461550"/>
                <a:gd name="connsiteX23" fmla="*/ 746514 w 746514"/>
                <a:gd name="connsiteY23" fmla="*/ 461551 h 461550"/>
                <a:gd name="connsiteX24" fmla="*/ 746514 w 746514"/>
                <a:gd name="connsiteY24" fmla="*/ 457089 h 461550"/>
                <a:gd name="connsiteX25" fmla="*/ 733126 w 746514"/>
                <a:gd name="connsiteY25" fmla="*/ 436688 h 461550"/>
                <a:gd name="connsiteX26" fmla="*/ 742689 w 746514"/>
                <a:gd name="connsiteY26" fmla="*/ 402901 h 461550"/>
                <a:gd name="connsiteX27" fmla="*/ 731214 w 746514"/>
                <a:gd name="connsiteY27" fmla="*/ 331501 h 461550"/>
                <a:gd name="connsiteX28" fmla="*/ 744601 w 746514"/>
                <a:gd name="connsiteY28" fmla="*/ 330863 h 461550"/>
                <a:gd name="connsiteX29" fmla="*/ 743327 w 746514"/>
                <a:gd name="connsiteY29" fmla="*/ 300901 h 461550"/>
                <a:gd name="connsiteX30" fmla="*/ 710814 w 746514"/>
                <a:gd name="connsiteY30" fmla="*/ 74588 h 461550"/>
                <a:gd name="connsiteX31" fmla="*/ 694239 w 746514"/>
                <a:gd name="connsiteY31" fmla="*/ 45900 h 461550"/>
                <a:gd name="connsiteX32" fmla="*/ 719739 w 746514"/>
                <a:gd name="connsiteY32" fmla="*/ 3825 h 461550"/>
                <a:gd name="connsiteX33" fmla="*/ 720376 w 746514"/>
                <a:gd name="connsiteY33" fmla="*/ 1912 h 461550"/>
                <a:gd name="connsiteX34" fmla="*/ 698702 w 746514"/>
                <a:gd name="connsiteY34" fmla="*/ 3825 h 461550"/>
                <a:gd name="connsiteX35" fmla="*/ 698702 w 746514"/>
                <a:gd name="connsiteY35" fmla="*/ 3825 h 46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46514" h="461550">
                  <a:moveTo>
                    <a:pt x="698702" y="3825"/>
                  </a:moveTo>
                  <a:lnTo>
                    <a:pt x="590326" y="7013"/>
                  </a:lnTo>
                  <a:lnTo>
                    <a:pt x="328951" y="8925"/>
                  </a:lnTo>
                  <a:lnTo>
                    <a:pt x="45900" y="1275"/>
                  </a:lnTo>
                  <a:lnTo>
                    <a:pt x="20400" y="0"/>
                  </a:lnTo>
                  <a:lnTo>
                    <a:pt x="19763" y="14662"/>
                  </a:lnTo>
                  <a:lnTo>
                    <a:pt x="17213" y="72675"/>
                  </a:lnTo>
                  <a:lnTo>
                    <a:pt x="15300" y="117300"/>
                  </a:lnTo>
                  <a:lnTo>
                    <a:pt x="14663" y="126863"/>
                  </a:lnTo>
                  <a:lnTo>
                    <a:pt x="12750" y="126863"/>
                  </a:lnTo>
                  <a:lnTo>
                    <a:pt x="12113" y="143438"/>
                  </a:lnTo>
                  <a:lnTo>
                    <a:pt x="5738" y="278588"/>
                  </a:lnTo>
                  <a:lnTo>
                    <a:pt x="638" y="378676"/>
                  </a:lnTo>
                  <a:lnTo>
                    <a:pt x="0" y="395888"/>
                  </a:lnTo>
                  <a:lnTo>
                    <a:pt x="19125" y="396526"/>
                  </a:lnTo>
                  <a:lnTo>
                    <a:pt x="237151" y="403538"/>
                  </a:lnTo>
                  <a:lnTo>
                    <a:pt x="422026" y="405451"/>
                  </a:lnTo>
                  <a:lnTo>
                    <a:pt x="548251" y="404176"/>
                  </a:lnTo>
                  <a:lnTo>
                    <a:pt x="588414" y="429676"/>
                  </a:lnTo>
                  <a:lnTo>
                    <a:pt x="622202" y="419476"/>
                  </a:lnTo>
                  <a:lnTo>
                    <a:pt x="644514" y="420113"/>
                  </a:lnTo>
                  <a:lnTo>
                    <a:pt x="714639" y="440513"/>
                  </a:lnTo>
                  <a:lnTo>
                    <a:pt x="734402" y="460276"/>
                  </a:lnTo>
                  <a:lnTo>
                    <a:pt x="746514" y="461551"/>
                  </a:lnTo>
                  <a:lnTo>
                    <a:pt x="746514" y="457089"/>
                  </a:lnTo>
                  <a:lnTo>
                    <a:pt x="733126" y="436688"/>
                  </a:lnTo>
                  <a:lnTo>
                    <a:pt x="742689" y="402901"/>
                  </a:lnTo>
                  <a:lnTo>
                    <a:pt x="731214" y="331501"/>
                  </a:lnTo>
                  <a:lnTo>
                    <a:pt x="744601" y="330863"/>
                  </a:lnTo>
                  <a:lnTo>
                    <a:pt x="743327" y="300901"/>
                  </a:lnTo>
                  <a:lnTo>
                    <a:pt x="710814" y="74588"/>
                  </a:lnTo>
                  <a:lnTo>
                    <a:pt x="694239" y="45900"/>
                  </a:lnTo>
                  <a:lnTo>
                    <a:pt x="719739" y="3825"/>
                  </a:lnTo>
                  <a:lnTo>
                    <a:pt x="720376" y="1912"/>
                  </a:lnTo>
                  <a:lnTo>
                    <a:pt x="698702" y="3825"/>
                  </a:lnTo>
                  <a:lnTo>
                    <a:pt x="698702" y="3825"/>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01" name="Freeform 40">
              <a:extLst>
                <a:ext uri="{FF2B5EF4-FFF2-40B4-BE49-F238E27FC236}">
                  <a16:creationId xmlns:a16="http://schemas.microsoft.com/office/drawing/2014/main" id="{7FB546E6-BCB8-F398-F6EE-CF03C3025264}"/>
                </a:ext>
              </a:extLst>
            </p:cNvPr>
            <p:cNvSpPr/>
            <p:nvPr/>
          </p:nvSpPr>
          <p:spPr>
            <a:xfrm>
              <a:off x="5034540" y="3448226"/>
              <a:ext cx="630488" cy="524026"/>
            </a:xfrm>
            <a:custGeom>
              <a:avLst/>
              <a:gdLst>
                <a:gd name="connsiteX0" fmla="*/ 432864 w 630488"/>
                <a:gd name="connsiteY0" fmla="*/ 518288 h 524026"/>
                <a:gd name="connsiteX1" fmla="*/ 424576 w 630488"/>
                <a:gd name="connsiteY1" fmla="*/ 520201 h 524026"/>
                <a:gd name="connsiteX2" fmla="*/ 420751 w 630488"/>
                <a:gd name="connsiteY2" fmla="*/ 524026 h 524026"/>
                <a:gd name="connsiteX3" fmla="*/ 432864 w 630488"/>
                <a:gd name="connsiteY3" fmla="*/ 518288 h 524026"/>
                <a:gd name="connsiteX4" fmla="*/ 432864 w 630488"/>
                <a:gd name="connsiteY4" fmla="*/ 518288 h 524026"/>
                <a:gd name="connsiteX5" fmla="*/ 459639 w 630488"/>
                <a:gd name="connsiteY5" fmla="*/ 518288 h 524026"/>
                <a:gd name="connsiteX6" fmla="*/ 455176 w 630488"/>
                <a:gd name="connsiteY6" fmla="*/ 516376 h 524026"/>
                <a:gd name="connsiteX7" fmla="*/ 453901 w 630488"/>
                <a:gd name="connsiteY7" fmla="*/ 518288 h 524026"/>
                <a:gd name="connsiteX8" fmla="*/ 459639 w 630488"/>
                <a:gd name="connsiteY8" fmla="*/ 518288 h 524026"/>
                <a:gd name="connsiteX9" fmla="*/ 474938 w 630488"/>
                <a:gd name="connsiteY9" fmla="*/ 513189 h 524026"/>
                <a:gd name="connsiteX10" fmla="*/ 470476 w 630488"/>
                <a:gd name="connsiteY10" fmla="*/ 513189 h 524026"/>
                <a:gd name="connsiteX11" fmla="*/ 467926 w 630488"/>
                <a:gd name="connsiteY11" fmla="*/ 516376 h 524026"/>
                <a:gd name="connsiteX12" fmla="*/ 474938 w 630488"/>
                <a:gd name="connsiteY12" fmla="*/ 513189 h 524026"/>
                <a:gd name="connsiteX13" fmla="*/ 467288 w 630488"/>
                <a:gd name="connsiteY13" fmla="*/ 508726 h 524026"/>
                <a:gd name="connsiteX14" fmla="*/ 466014 w 630488"/>
                <a:gd name="connsiteY14" fmla="*/ 506814 h 524026"/>
                <a:gd name="connsiteX15" fmla="*/ 465376 w 630488"/>
                <a:gd name="connsiteY15" fmla="*/ 508726 h 524026"/>
                <a:gd name="connsiteX16" fmla="*/ 467288 w 630488"/>
                <a:gd name="connsiteY16" fmla="*/ 508726 h 524026"/>
                <a:gd name="connsiteX17" fmla="*/ 467288 w 630488"/>
                <a:gd name="connsiteY17" fmla="*/ 508726 h 524026"/>
                <a:gd name="connsiteX18" fmla="*/ 518926 w 630488"/>
                <a:gd name="connsiteY18" fmla="*/ 474938 h 524026"/>
                <a:gd name="connsiteX19" fmla="*/ 517014 w 630488"/>
                <a:gd name="connsiteY19" fmla="*/ 476214 h 524026"/>
                <a:gd name="connsiteX20" fmla="*/ 520201 w 630488"/>
                <a:gd name="connsiteY20" fmla="*/ 476214 h 524026"/>
                <a:gd name="connsiteX21" fmla="*/ 518926 w 630488"/>
                <a:gd name="connsiteY21" fmla="*/ 474938 h 524026"/>
                <a:gd name="connsiteX22" fmla="*/ 518926 w 630488"/>
                <a:gd name="connsiteY22" fmla="*/ 474938 h 524026"/>
                <a:gd name="connsiteX23" fmla="*/ 608814 w 630488"/>
                <a:gd name="connsiteY23" fmla="*/ 436688 h 524026"/>
                <a:gd name="connsiteX24" fmla="*/ 612639 w 630488"/>
                <a:gd name="connsiteY24" fmla="*/ 431588 h 524026"/>
                <a:gd name="connsiteX25" fmla="*/ 608814 w 630488"/>
                <a:gd name="connsiteY25" fmla="*/ 436688 h 524026"/>
                <a:gd name="connsiteX26" fmla="*/ 608814 w 630488"/>
                <a:gd name="connsiteY26" fmla="*/ 436688 h 524026"/>
                <a:gd name="connsiteX27" fmla="*/ 608814 w 630488"/>
                <a:gd name="connsiteY27" fmla="*/ 436688 h 524026"/>
                <a:gd name="connsiteX28" fmla="*/ 620926 w 630488"/>
                <a:gd name="connsiteY28" fmla="*/ 419476 h 524026"/>
                <a:gd name="connsiteX29" fmla="*/ 619651 w 630488"/>
                <a:gd name="connsiteY29" fmla="*/ 420113 h 524026"/>
                <a:gd name="connsiteX30" fmla="*/ 619651 w 630488"/>
                <a:gd name="connsiteY30" fmla="*/ 420751 h 524026"/>
                <a:gd name="connsiteX31" fmla="*/ 620926 w 630488"/>
                <a:gd name="connsiteY31" fmla="*/ 419476 h 524026"/>
                <a:gd name="connsiteX32" fmla="*/ 620926 w 630488"/>
                <a:gd name="connsiteY32" fmla="*/ 419476 h 524026"/>
                <a:gd name="connsiteX33" fmla="*/ 290701 w 630488"/>
                <a:gd name="connsiteY33" fmla="*/ 476851 h 524026"/>
                <a:gd name="connsiteX34" fmla="*/ 300901 w 630488"/>
                <a:gd name="connsiteY34" fmla="*/ 464738 h 524026"/>
                <a:gd name="connsiteX35" fmla="*/ 274126 w 630488"/>
                <a:gd name="connsiteY35" fmla="*/ 457726 h 524026"/>
                <a:gd name="connsiteX36" fmla="*/ 262651 w 630488"/>
                <a:gd name="connsiteY36" fmla="*/ 467926 h 524026"/>
                <a:gd name="connsiteX37" fmla="*/ 290701 w 630488"/>
                <a:gd name="connsiteY37" fmla="*/ 476851 h 524026"/>
                <a:gd name="connsiteX38" fmla="*/ 290701 w 630488"/>
                <a:gd name="connsiteY38" fmla="*/ 476851 h 524026"/>
                <a:gd name="connsiteX39" fmla="*/ 557814 w 630488"/>
                <a:gd name="connsiteY39" fmla="*/ 420113 h 524026"/>
                <a:gd name="connsiteX40" fmla="*/ 555264 w 630488"/>
                <a:gd name="connsiteY40" fmla="*/ 417563 h 524026"/>
                <a:gd name="connsiteX41" fmla="*/ 554626 w 630488"/>
                <a:gd name="connsiteY41" fmla="*/ 418838 h 524026"/>
                <a:gd name="connsiteX42" fmla="*/ 557814 w 630488"/>
                <a:gd name="connsiteY42" fmla="*/ 420113 h 524026"/>
                <a:gd name="connsiteX43" fmla="*/ 557814 w 630488"/>
                <a:gd name="connsiteY43" fmla="*/ 420113 h 524026"/>
                <a:gd name="connsiteX44" fmla="*/ 564826 w 630488"/>
                <a:gd name="connsiteY44" fmla="*/ 409276 h 524026"/>
                <a:gd name="connsiteX45" fmla="*/ 558451 w 630488"/>
                <a:gd name="connsiteY45" fmla="*/ 407363 h 524026"/>
                <a:gd name="connsiteX46" fmla="*/ 560364 w 630488"/>
                <a:gd name="connsiteY46" fmla="*/ 413738 h 524026"/>
                <a:gd name="connsiteX47" fmla="*/ 564826 w 630488"/>
                <a:gd name="connsiteY47" fmla="*/ 409276 h 524026"/>
                <a:gd name="connsiteX48" fmla="*/ 617739 w 630488"/>
                <a:gd name="connsiteY48" fmla="*/ 397801 h 524026"/>
                <a:gd name="connsiteX49" fmla="*/ 617739 w 630488"/>
                <a:gd name="connsiteY49" fmla="*/ 395888 h 524026"/>
                <a:gd name="connsiteX50" fmla="*/ 617739 w 630488"/>
                <a:gd name="connsiteY50" fmla="*/ 396526 h 524026"/>
                <a:gd name="connsiteX51" fmla="*/ 617739 w 630488"/>
                <a:gd name="connsiteY51" fmla="*/ 397801 h 524026"/>
                <a:gd name="connsiteX52" fmla="*/ 617739 w 630488"/>
                <a:gd name="connsiteY52" fmla="*/ 397801 h 524026"/>
                <a:gd name="connsiteX53" fmla="*/ 630489 w 630488"/>
                <a:gd name="connsiteY53" fmla="*/ 390151 h 524026"/>
                <a:gd name="connsiteX54" fmla="*/ 630489 w 630488"/>
                <a:gd name="connsiteY54" fmla="*/ 390151 h 524026"/>
                <a:gd name="connsiteX55" fmla="*/ 630489 w 630488"/>
                <a:gd name="connsiteY55" fmla="*/ 390151 h 524026"/>
                <a:gd name="connsiteX56" fmla="*/ 630489 w 630488"/>
                <a:gd name="connsiteY56" fmla="*/ 390151 h 524026"/>
                <a:gd name="connsiteX57" fmla="*/ 630489 w 630488"/>
                <a:gd name="connsiteY57" fmla="*/ 390151 h 524026"/>
                <a:gd name="connsiteX58" fmla="*/ 625389 w 630488"/>
                <a:gd name="connsiteY58" fmla="*/ 388876 h 524026"/>
                <a:gd name="connsiteX59" fmla="*/ 624114 w 630488"/>
                <a:gd name="connsiteY59" fmla="*/ 388238 h 524026"/>
                <a:gd name="connsiteX60" fmla="*/ 623476 w 630488"/>
                <a:gd name="connsiteY60" fmla="*/ 390151 h 524026"/>
                <a:gd name="connsiteX61" fmla="*/ 625389 w 630488"/>
                <a:gd name="connsiteY61" fmla="*/ 388876 h 524026"/>
                <a:gd name="connsiteX62" fmla="*/ 625389 w 630488"/>
                <a:gd name="connsiteY62" fmla="*/ 388876 h 524026"/>
                <a:gd name="connsiteX63" fmla="*/ 580126 w 630488"/>
                <a:gd name="connsiteY63" fmla="*/ 386963 h 524026"/>
                <a:gd name="connsiteX64" fmla="*/ 585864 w 630488"/>
                <a:gd name="connsiteY64" fmla="*/ 385051 h 524026"/>
                <a:gd name="connsiteX65" fmla="*/ 585864 w 630488"/>
                <a:gd name="connsiteY65" fmla="*/ 383138 h 524026"/>
                <a:gd name="connsiteX66" fmla="*/ 580126 w 630488"/>
                <a:gd name="connsiteY66" fmla="*/ 386963 h 524026"/>
                <a:gd name="connsiteX67" fmla="*/ 580126 w 630488"/>
                <a:gd name="connsiteY67" fmla="*/ 386963 h 524026"/>
                <a:gd name="connsiteX68" fmla="*/ 583314 w 630488"/>
                <a:gd name="connsiteY68" fmla="*/ 383138 h 524026"/>
                <a:gd name="connsiteX69" fmla="*/ 586501 w 630488"/>
                <a:gd name="connsiteY69" fmla="*/ 379951 h 524026"/>
                <a:gd name="connsiteX70" fmla="*/ 585864 w 630488"/>
                <a:gd name="connsiteY70" fmla="*/ 379313 h 524026"/>
                <a:gd name="connsiteX71" fmla="*/ 583314 w 630488"/>
                <a:gd name="connsiteY71" fmla="*/ 383138 h 524026"/>
                <a:gd name="connsiteX72" fmla="*/ 583314 w 630488"/>
                <a:gd name="connsiteY72" fmla="*/ 383138 h 524026"/>
                <a:gd name="connsiteX73" fmla="*/ 561001 w 630488"/>
                <a:gd name="connsiteY73" fmla="*/ 359551 h 524026"/>
                <a:gd name="connsiteX74" fmla="*/ 559726 w 630488"/>
                <a:gd name="connsiteY74" fmla="*/ 360826 h 524026"/>
                <a:gd name="connsiteX75" fmla="*/ 560364 w 630488"/>
                <a:gd name="connsiteY75" fmla="*/ 360826 h 524026"/>
                <a:gd name="connsiteX76" fmla="*/ 561001 w 630488"/>
                <a:gd name="connsiteY76" fmla="*/ 359551 h 524026"/>
                <a:gd name="connsiteX77" fmla="*/ 561001 w 630488"/>
                <a:gd name="connsiteY77" fmla="*/ 359551 h 524026"/>
                <a:gd name="connsiteX78" fmla="*/ 323851 w 630488"/>
                <a:gd name="connsiteY78" fmla="*/ 0 h 524026"/>
                <a:gd name="connsiteX79" fmla="*/ 322576 w 630488"/>
                <a:gd name="connsiteY79" fmla="*/ 0 h 524026"/>
                <a:gd name="connsiteX80" fmla="*/ 80325 w 630488"/>
                <a:gd name="connsiteY80" fmla="*/ 22313 h 524026"/>
                <a:gd name="connsiteX81" fmla="*/ 19763 w 630488"/>
                <a:gd name="connsiteY81" fmla="*/ 26775 h 524026"/>
                <a:gd name="connsiteX82" fmla="*/ 0 w 630488"/>
                <a:gd name="connsiteY82" fmla="*/ 28688 h 524026"/>
                <a:gd name="connsiteX83" fmla="*/ 638 w 630488"/>
                <a:gd name="connsiteY83" fmla="*/ 43987 h 524026"/>
                <a:gd name="connsiteX84" fmla="*/ 13388 w 630488"/>
                <a:gd name="connsiteY84" fmla="*/ 167663 h 524026"/>
                <a:gd name="connsiteX85" fmla="*/ 34425 w 630488"/>
                <a:gd name="connsiteY85" fmla="*/ 197625 h 524026"/>
                <a:gd name="connsiteX86" fmla="*/ 35063 w 630488"/>
                <a:gd name="connsiteY86" fmla="*/ 214838 h 524026"/>
                <a:gd name="connsiteX87" fmla="*/ 55463 w 630488"/>
                <a:gd name="connsiteY87" fmla="*/ 250538 h 524026"/>
                <a:gd name="connsiteX88" fmla="*/ 72038 w 630488"/>
                <a:gd name="connsiteY88" fmla="*/ 303450 h 524026"/>
                <a:gd name="connsiteX89" fmla="*/ 66300 w 630488"/>
                <a:gd name="connsiteY89" fmla="*/ 333413 h 524026"/>
                <a:gd name="connsiteX90" fmla="*/ 61838 w 630488"/>
                <a:gd name="connsiteY90" fmla="*/ 406726 h 524026"/>
                <a:gd name="connsiteX91" fmla="*/ 51638 w 630488"/>
                <a:gd name="connsiteY91" fmla="*/ 430313 h 524026"/>
                <a:gd name="connsiteX92" fmla="*/ 52913 w 630488"/>
                <a:gd name="connsiteY92" fmla="*/ 430313 h 524026"/>
                <a:gd name="connsiteX93" fmla="*/ 54825 w 630488"/>
                <a:gd name="connsiteY93" fmla="*/ 446888 h 524026"/>
                <a:gd name="connsiteX94" fmla="*/ 43350 w 630488"/>
                <a:gd name="connsiteY94" fmla="*/ 462188 h 524026"/>
                <a:gd name="connsiteX95" fmla="*/ 123038 w 630488"/>
                <a:gd name="connsiteY95" fmla="*/ 452626 h 524026"/>
                <a:gd name="connsiteX96" fmla="*/ 185513 w 630488"/>
                <a:gd name="connsiteY96" fmla="*/ 469839 h 524026"/>
                <a:gd name="connsiteX97" fmla="*/ 230138 w 630488"/>
                <a:gd name="connsiteY97" fmla="*/ 475576 h 524026"/>
                <a:gd name="connsiteX98" fmla="*/ 252451 w 630488"/>
                <a:gd name="connsiteY98" fmla="*/ 459638 h 524026"/>
                <a:gd name="connsiteX99" fmla="*/ 240338 w 630488"/>
                <a:gd name="connsiteY99" fmla="*/ 443701 h 524026"/>
                <a:gd name="connsiteX100" fmla="*/ 281138 w 630488"/>
                <a:gd name="connsiteY100" fmla="*/ 430951 h 524026"/>
                <a:gd name="connsiteX101" fmla="*/ 279863 w 630488"/>
                <a:gd name="connsiteY101" fmla="*/ 444976 h 524026"/>
                <a:gd name="connsiteX102" fmla="*/ 300901 w 630488"/>
                <a:gd name="connsiteY102" fmla="*/ 439876 h 524026"/>
                <a:gd name="connsiteX103" fmla="*/ 318113 w 630488"/>
                <a:gd name="connsiteY103" fmla="*/ 467288 h 524026"/>
                <a:gd name="connsiteX104" fmla="*/ 332776 w 630488"/>
                <a:gd name="connsiteY104" fmla="*/ 462188 h 524026"/>
                <a:gd name="connsiteX105" fmla="*/ 371026 w 630488"/>
                <a:gd name="connsiteY105" fmla="*/ 488964 h 524026"/>
                <a:gd name="connsiteX106" fmla="*/ 347438 w 630488"/>
                <a:gd name="connsiteY106" fmla="*/ 497251 h 524026"/>
                <a:gd name="connsiteX107" fmla="*/ 402264 w 630488"/>
                <a:gd name="connsiteY107" fmla="*/ 513189 h 524026"/>
                <a:gd name="connsiteX108" fmla="*/ 422663 w 630488"/>
                <a:gd name="connsiteY108" fmla="*/ 513189 h 524026"/>
                <a:gd name="connsiteX109" fmla="*/ 434776 w 630488"/>
                <a:gd name="connsiteY109" fmla="*/ 498526 h 524026"/>
                <a:gd name="connsiteX110" fmla="*/ 461551 w 630488"/>
                <a:gd name="connsiteY110" fmla="*/ 484501 h 524026"/>
                <a:gd name="connsiteX111" fmla="*/ 480038 w 630488"/>
                <a:gd name="connsiteY111" fmla="*/ 511913 h 524026"/>
                <a:gd name="connsiteX112" fmla="*/ 492788 w 630488"/>
                <a:gd name="connsiteY112" fmla="*/ 487688 h 524026"/>
                <a:gd name="connsiteX113" fmla="*/ 488964 w 630488"/>
                <a:gd name="connsiteY113" fmla="*/ 449438 h 524026"/>
                <a:gd name="connsiteX114" fmla="*/ 523389 w 630488"/>
                <a:gd name="connsiteY114" fmla="*/ 462826 h 524026"/>
                <a:gd name="connsiteX115" fmla="*/ 527214 w 630488"/>
                <a:gd name="connsiteY115" fmla="*/ 474301 h 524026"/>
                <a:gd name="connsiteX116" fmla="*/ 568014 w 630488"/>
                <a:gd name="connsiteY116" fmla="*/ 479401 h 524026"/>
                <a:gd name="connsiteX117" fmla="*/ 588414 w 630488"/>
                <a:gd name="connsiteY117" fmla="*/ 495976 h 524026"/>
                <a:gd name="connsiteX118" fmla="*/ 585864 w 630488"/>
                <a:gd name="connsiteY118" fmla="*/ 509363 h 524026"/>
                <a:gd name="connsiteX119" fmla="*/ 615189 w 630488"/>
                <a:gd name="connsiteY119" fmla="*/ 481951 h 524026"/>
                <a:gd name="connsiteX120" fmla="*/ 603714 w 630488"/>
                <a:gd name="connsiteY120" fmla="*/ 467926 h 524026"/>
                <a:gd name="connsiteX121" fmla="*/ 555264 w 630488"/>
                <a:gd name="connsiteY121" fmla="*/ 455813 h 524026"/>
                <a:gd name="connsiteX122" fmla="*/ 537414 w 630488"/>
                <a:gd name="connsiteY122" fmla="*/ 444976 h 524026"/>
                <a:gd name="connsiteX123" fmla="*/ 536776 w 630488"/>
                <a:gd name="connsiteY123" fmla="*/ 425851 h 524026"/>
                <a:gd name="connsiteX124" fmla="*/ 556539 w 630488"/>
                <a:gd name="connsiteY124" fmla="*/ 428401 h 524026"/>
                <a:gd name="connsiteX125" fmla="*/ 571839 w 630488"/>
                <a:gd name="connsiteY125" fmla="*/ 396526 h 524026"/>
                <a:gd name="connsiteX126" fmla="*/ 552076 w 630488"/>
                <a:gd name="connsiteY126" fmla="*/ 368476 h 524026"/>
                <a:gd name="connsiteX127" fmla="*/ 540601 w 630488"/>
                <a:gd name="connsiteY127" fmla="*/ 395251 h 524026"/>
                <a:gd name="connsiteX128" fmla="*/ 515739 w 630488"/>
                <a:gd name="connsiteY128" fmla="*/ 390788 h 524026"/>
                <a:gd name="connsiteX129" fmla="*/ 532951 w 630488"/>
                <a:gd name="connsiteY129" fmla="*/ 362101 h 524026"/>
                <a:gd name="connsiteX130" fmla="*/ 521476 w 630488"/>
                <a:gd name="connsiteY130" fmla="*/ 358913 h 524026"/>
                <a:gd name="connsiteX131" fmla="*/ 492788 w 630488"/>
                <a:gd name="connsiteY131" fmla="*/ 378676 h 524026"/>
                <a:gd name="connsiteX132" fmla="*/ 452626 w 630488"/>
                <a:gd name="connsiteY132" fmla="*/ 381226 h 524026"/>
                <a:gd name="connsiteX133" fmla="*/ 441151 w 630488"/>
                <a:gd name="connsiteY133" fmla="*/ 371663 h 524026"/>
                <a:gd name="connsiteX134" fmla="*/ 459639 w 630488"/>
                <a:gd name="connsiteY134" fmla="*/ 338513 h 524026"/>
                <a:gd name="connsiteX135" fmla="*/ 481313 w 630488"/>
                <a:gd name="connsiteY135" fmla="*/ 337876 h 524026"/>
                <a:gd name="connsiteX136" fmla="*/ 518288 w 630488"/>
                <a:gd name="connsiteY136" fmla="*/ 349988 h 524026"/>
                <a:gd name="connsiteX137" fmla="*/ 545701 w 630488"/>
                <a:gd name="connsiteY137" fmla="*/ 352538 h 524026"/>
                <a:gd name="connsiteX138" fmla="*/ 545701 w 630488"/>
                <a:gd name="connsiteY138" fmla="*/ 352538 h 524026"/>
                <a:gd name="connsiteX139" fmla="*/ 531039 w 630488"/>
                <a:gd name="connsiteY139" fmla="*/ 334050 h 524026"/>
                <a:gd name="connsiteX140" fmla="*/ 502351 w 630488"/>
                <a:gd name="connsiteY140" fmla="*/ 279225 h 524026"/>
                <a:gd name="connsiteX141" fmla="*/ 510001 w 630488"/>
                <a:gd name="connsiteY141" fmla="*/ 247988 h 524026"/>
                <a:gd name="connsiteX142" fmla="*/ 288151 w 630488"/>
                <a:gd name="connsiteY142" fmla="*/ 272213 h 524026"/>
                <a:gd name="connsiteX143" fmla="*/ 296438 w 630488"/>
                <a:gd name="connsiteY143" fmla="*/ 263925 h 524026"/>
                <a:gd name="connsiteX144" fmla="*/ 286876 w 630488"/>
                <a:gd name="connsiteY144" fmla="*/ 240975 h 524026"/>
                <a:gd name="connsiteX145" fmla="*/ 300263 w 630488"/>
                <a:gd name="connsiteY145" fmla="*/ 221213 h 524026"/>
                <a:gd name="connsiteX146" fmla="*/ 307913 w 630488"/>
                <a:gd name="connsiteY146" fmla="*/ 170850 h 524026"/>
                <a:gd name="connsiteX147" fmla="*/ 357001 w 630488"/>
                <a:gd name="connsiteY147" fmla="*/ 87338 h 524026"/>
                <a:gd name="connsiteX148" fmla="*/ 333413 w 630488"/>
                <a:gd name="connsiteY148" fmla="*/ 58012 h 524026"/>
                <a:gd name="connsiteX149" fmla="*/ 334688 w 630488"/>
                <a:gd name="connsiteY149" fmla="*/ 36975 h 524026"/>
                <a:gd name="connsiteX150" fmla="*/ 320026 w 630488"/>
                <a:gd name="connsiteY150" fmla="*/ 2550 h 524026"/>
                <a:gd name="connsiteX151" fmla="*/ 323851 w 630488"/>
                <a:gd name="connsiteY151" fmla="*/ 0 h 524026"/>
                <a:gd name="connsiteX152" fmla="*/ 323851 w 630488"/>
                <a:gd name="connsiteY152" fmla="*/ 0 h 5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30488" h="524026">
                  <a:moveTo>
                    <a:pt x="432864" y="518288"/>
                  </a:moveTo>
                  <a:lnTo>
                    <a:pt x="424576" y="520201"/>
                  </a:lnTo>
                  <a:lnTo>
                    <a:pt x="420751" y="524026"/>
                  </a:lnTo>
                  <a:lnTo>
                    <a:pt x="432864" y="518288"/>
                  </a:lnTo>
                  <a:lnTo>
                    <a:pt x="432864" y="518288"/>
                  </a:lnTo>
                  <a:close/>
                  <a:moveTo>
                    <a:pt x="459639" y="518288"/>
                  </a:moveTo>
                  <a:lnTo>
                    <a:pt x="455176" y="516376"/>
                  </a:lnTo>
                  <a:lnTo>
                    <a:pt x="453901" y="518288"/>
                  </a:lnTo>
                  <a:lnTo>
                    <a:pt x="459639" y="518288"/>
                  </a:lnTo>
                  <a:close/>
                  <a:moveTo>
                    <a:pt x="474938" y="513189"/>
                  </a:moveTo>
                  <a:lnTo>
                    <a:pt x="470476" y="513189"/>
                  </a:lnTo>
                  <a:lnTo>
                    <a:pt x="467926" y="516376"/>
                  </a:lnTo>
                  <a:lnTo>
                    <a:pt x="474938" y="513189"/>
                  </a:lnTo>
                  <a:close/>
                  <a:moveTo>
                    <a:pt x="467288" y="508726"/>
                  </a:moveTo>
                  <a:lnTo>
                    <a:pt x="466014" y="506814"/>
                  </a:lnTo>
                  <a:lnTo>
                    <a:pt x="465376" y="508726"/>
                  </a:lnTo>
                  <a:lnTo>
                    <a:pt x="467288" y="508726"/>
                  </a:lnTo>
                  <a:lnTo>
                    <a:pt x="467288" y="508726"/>
                  </a:lnTo>
                  <a:close/>
                  <a:moveTo>
                    <a:pt x="518926" y="474938"/>
                  </a:moveTo>
                  <a:lnTo>
                    <a:pt x="517014" y="476214"/>
                  </a:lnTo>
                  <a:lnTo>
                    <a:pt x="520201" y="476214"/>
                  </a:lnTo>
                  <a:lnTo>
                    <a:pt x="518926" y="474938"/>
                  </a:lnTo>
                  <a:lnTo>
                    <a:pt x="518926" y="474938"/>
                  </a:lnTo>
                  <a:close/>
                  <a:moveTo>
                    <a:pt x="608814" y="436688"/>
                  </a:moveTo>
                  <a:lnTo>
                    <a:pt x="612639" y="431588"/>
                  </a:lnTo>
                  <a:lnTo>
                    <a:pt x="608814" y="436688"/>
                  </a:lnTo>
                  <a:lnTo>
                    <a:pt x="608814" y="436688"/>
                  </a:lnTo>
                  <a:lnTo>
                    <a:pt x="608814" y="436688"/>
                  </a:lnTo>
                  <a:close/>
                  <a:moveTo>
                    <a:pt x="620926" y="419476"/>
                  </a:moveTo>
                  <a:lnTo>
                    <a:pt x="619651" y="420113"/>
                  </a:lnTo>
                  <a:lnTo>
                    <a:pt x="619651" y="420751"/>
                  </a:lnTo>
                  <a:lnTo>
                    <a:pt x="620926" y="419476"/>
                  </a:lnTo>
                  <a:lnTo>
                    <a:pt x="620926" y="419476"/>
                  </a:lnTo>
                  <a:close/>
                  <a:moveTo>
                    <a:pt x="290701" y="476851"/>
                  </a:moveTo>
                  <a:lnTo>
                    <a:pt x="300901" y="464738"/>
                  </a:lnTo>
                  <a:lnTo>
                    <a:pt x="274126" y="457726"/>
                  </a:lnTo>
                  <a:lnTo>
                    <a:pt x="262651" y="467926"/>
                  </a:lnTo>
                  <a:lnTo>
                    <a:pt x="290701" y="476851"/>
                  </a:lnTo>
                  <a:lnTo>
                    <a:pt x="290701" y="476851"/>
                  </a:lnTo>
                  <a:close/>
                  <a:moveTo>
                    <a:pt x="557814" y="420113"/>
                  </a:moveTo>
                  <a:lnTo>
                    <a:pt x="555264" y="417563"/>
                  </a:lnTo>
                  <a:lnTo>
                    <a:pt x="554626" y="418838"/>
                  </a:lnTo>
                  <a:lnTo>
                    <a:pt x="557814" y="420113"/>
                  </a:lnTo>
                  <a:lnTo>
                    <a:pt x="557814" y="420113"/>
                  </a:lnTo>
                  <a:close/>
                  <a:moveTo>
                    <a:pt x="564826" y="409276"/>
                  </a:moveTo>
                  <a:lnTo>
                    <a:pt x="558451" y="407363"/>
                  </a:lnTo>
                  <a:lnTo>
                    <a:pt x="560364" y="413738"/>
                  </a:lnTo>
                  <a:lnTo>
                    <a:pt x="564826" y="409276"/>
                  </a:lnTo>
                  <a:close/>
                  <a:moveTo>
                    <a:pt x="617739" y="397801"/>
                  </a:moveTo>
                  <a:lnTo>
                    <a:pt x="617739" y="395888"/>
                  </a:lnTo>
                  <a:lnTo>
                    <a:pt x="617739" y="396526"/>
                  </a:lnTo>
                  <a:lnTo>
                    <a:pt x="617739" y="397801"/>
                  </a:lnTo>
                  <a:lnTo>
                    <a:pt x="617739" y="397801"/>
                  </a:lnTo>
                  <a:close/>
                  <a:moveTo>
                    <a:pt x="630489" y="390151"/>
                  </a:moveTo>
                  <a:lnTo>
                    <a:pt x="630489" y="390151"/>
                  </a:lnTo>
                  <a:lnTo>
                    <a:pt x="630489" y="390151"/>
                  </a:lnTo>
                  <a:lnTo>
                    <a:pt x="630489" y="390151"/>
                  </a:lnTo>
                  <a:lnTo>
                    <a:pt x="630489" y="390151"/>
                  </a:lnTo>
                  <a:close/>
                  <a:moveTo>
                    <a:pt x="625389" y="388876"/>
                  </a:moveTo>
                  <a:lnTo>
                    <a:pt x="624114" y="388238"/>
                  </a:lnTo>
                  <a:lnTo>
                    <a:pt x="623476" y="390151"/>
                  </a:lnTo>
                  <a:lnTo>
                    <a:pt x="625389" y="388876"/>
                  </a:lnTo>
                  <a:lnTo>
                    <a:pt x="625389" y="388876"/>
                  </a:lnTo>
                  <a:close/>
                  <a:moveTo>
                    <a:pt x="580126" y="386963"/>
                  </a:moveTo>
                  <a:lnTo>
                    <a:pt x="585864" y="385051"/>
                  </a:lnTo>
                  <a:lnTo>
                    <a:pt x="585864" y="383138"/>
                  </a:lnTo>
                  <a:lnTo>
                    <a:pt x="580126" y="386963"/>
                  </a:lnTo>
                  <a:lnTo>
                    <a:pt x="580126" y="386963"/>
                  </a:lnTo>
                  <a:close/>
                  <a:moveTo>
                    <a:pt x="583314" y="383138"/>
                  </a:moveTo>
                  <a:lnTo>
                    <a:pt x="586501" y="379951"/>
                  </a:lnTo>
                  <a:lnTo>
                    <a:pt x="585864" y="379313"/>
                  </a:lnTo>
                  <a:lnTo>
                    <a:pt x="583314" y="383138"/>
                  </a:lnTo>
                  <a:lnTo>
                    <a:pt x="583314" y="383138"/>
                  </a:lnTo>
                  <a:close/>
                  <a:moveTo>
                    <a:pt x="561001" y="359551"/>
                  </a:moveTo>
                  <a:lnTo>
                    <a:pt x="559726" y="360826"/>
                  </a:lnTo>
                  <a:lnTo>
                    <a:pt x="560364" y="360826"/>
                  </a:lnTo>
                  <a:lnTo>
                    <a:pt x="561001" y="359551"/>
                  </a:lnTo>
                  <a:lnTo>
                    <a:pt x="561001" y="359551"/>
                  </a:lnTo>
                  <a:close/>
                  <a:moveTo>
                    <a:pt x="323851" y="0"/>
                  </a:moveTo>
                  <a:lnTo>
                    <a:pt x="322576" y="0"/>
                  </a:lnTo>
                  <a:lnTo>
                    <a:pt x="80325" y="22313"/>
                  </a:lnTo>
                  <a:lnTo>
                    <a:pt x="19763" y="26775"/>
                  </a:lnTo>
                  <a:lnTo>
                    <a:pt x="0" y="28688"/>
                  </a:lnTo>
                  <a:lnTo>
                    <a:pt x="638" y="43987"/>
                  </a:lnTo>
                  <a:lnTo>
                    <a:pt x="13388" y="167663"/>
                  </a:lnTo>
                  <a:lnTo>
                    <a:pt x="34425" y="197625"/>
                  </a:lnTo>
                  <a:lnTo>
                    <a:pt x="35063" y="214838"/>
                  </a:lnTo>
                  <a:lnTo>
                    <a:pt x="55463" y="250538"/>
                  </a:lnTo>
                  <a:lnTo>
                    <a:pt x="72038" y="303450"/>
                  </a:lnTo>
                  <a:lnTo>
                    <a:pt x="66300" y="333413"/>
                  </a:lnTo>
                  <a:lnTo>
                    <a:pt x="61838" y="406726"/>
                  </a:lnTo>
                  <a:lnTo>
                    <a:pt x="51638" y="430313"/>
                  </a:lnTo>
                  <a:lnTo>
                    <a:pt x="52913" y="430313"/>
                  </a:lnTo>
                  <a:lnTo>
                    <a:pt x="54825" y="446888"/>
                  </a:lnTo>
                  <a:lnTo>
                    <a:pt x="43350" y="462188"/>
                  </a:lnTo>
                  <a:lnTo>
                    <a:pt x="123038" y="452626"/>
                  </a:lnTo>
                  <a:lnTo>
                    <a:pt x="185513" y="469839"/>
                  </a:lnTo>
                  <a:lnTo>
                    <a:pt x="230138" y="475576"/>
                  </a:lnTo>
                  <a:lnTo>
                    <a:pt x="252451" y="459638"/>
                  </a:lnTo>
                  <a:lnTo>
                    <a:pt x="240338" y="443701"/>
                  </a:lnTo>
                  <a:lnTo>
                    <a:pt x="281138" y="430951"/>
                  </a:lnTo>
                  <a:lnTo>
                    <a:pt x="279863" y="444976"/>
                  </a:lnTo>
                  <a:lnTo>
                    <a:pt x="300901" y="439876"/>
                  </a:lnTo>
                  <a:lnTo>
                    <a:pt x="318113" y="467288"/>
                  </a:lnTo>
                  <a:lnTo>
                    <a:pt x="332776" y="462188"/>
                  </a:lnTo>
                  <a:lnTo>
                    <a:pt x="371026" y="488964"/>
                  </a:lnTo>
                  <a:lnTo>
                    <a:pt x="347438" y="497251"/>
                  </a:lnTo>
                  <a:lnTo>
                    <a:pt x="402264" y="513189"/>
                  </a:lnTo>
                  <a:lnTo>
                    <a:pt x="422663" y="513189"/>
                  </a:lnTo>
                  <a:lnTo>
                    <a:pt x="434776" y="498526"/>
                  </a:lnTo>
                  <a:lnTo>
                    <a:pt x="461551" y="484501"/>
                  </a:lnTo>
                  <a:lnTo>
                    <a:pt x="480038" y="511913"/>
                  </a:lnTo>
                  <a:lnTo>
                    <a:pt x="492788" y="487688"/>
                  </a:lnTo>
                  <a:lnTo>
                    <a:pt x="488964" y="449438"/>
                  </a:lnTo>
                  <a:lnTo>
                    <a:pt x="523389" y="462826"/>
                  </a:lnTo>
                  <a:lnTo>
                    <a:pt x="527214" y="474301"/>
                  </a:lnTo>
                  <a:lnTo>
                    <a:pt x="568014" y="479401"/>
                  </a:lnTo>
                  <a:lnTo>
                    <a:pt x="588414" y="495976"/>
                  </a:lnTo>
                  <a:lnTo>
                    <a:pt x="585864" y="509363"/>
                  </a:lnTo>
                  <a:lnTo>
                    <a:pt x="615189" y="481951"/>
                  </a:lnTo>
                  <a:lnTo>
                    <a:pt x="603714" y="467926"/>
                  </a:lnTo>
                  <a:lnTo>
                    <a:pt x="555264" y="455813"/>
                  </a:lnTo>
                  <a:lnTo>
                    <a:pt x="537414" y="444976"/>
                  </a:lnTo>
                  <a:lnTo>
                    <a:pt x="536776" y="425851"/>
                  </a:lnTo>
                  <a:lnTo>
                    <a:pt x="556539" y="428401"/>
                  </a:lnTo>
                  <a:lnTo>
                    <a:pt x="571839" y="396526"/>
                  </a:lnTo>
                  <a:lnTo>
                    <a:pt x="552076" y="368476"/>
                  </a:lnTo>
                  <a:lnTo>
                    <a:pt x="540601" y="395251"/>
                  </a:lnTo>
                  <a:lnTo>
                    <a:pt x="515739" y="390788"/>
                  </a:lnTo>
                  <a:lnTo>
                    <a:pt x="532951" y="362101"/>
                  </a:lnTo>
                  <a:lnTo>
                    <a:pt x="521476" y="358913"/>
                  </a:lnTo>
                  <a:lnTo>
                    <a:pt x="492788" y="378676"/>
                  </a:lnTo>
                  <a:lnTo>
                    <a:pt x="452626" y="381226"/>
                  </a:lnTo>
                  <a:lnTo>
                    <a:pt x="441151" y="371663"/>
                  </a:lnTo>
                  <a:lnTo>
                    <a:pt x="459639" y="338513"/>
                  </a:lnTo>
                  <a:lnTo>
                    <a:pt x="481313" y="337876"/>
                  </a:lnTo>
                  <a:lnTo>
                    <a:pt x="518288" y="349988"/>
                  </a:lnTo>
                  <a:lnTo>
                    <a:pt x="545701" y="352538"/>
                  </a:lnTo>
                  <a:lnTo>
                    <a:pt x="545701" y="352538"/>
                  </a:lnTo>
                  <a:lnTo>
                    <a:pt x="531039" y="334050"/>
                  </a:lnTo>
                  <a:lnTo>
                    <a:pt x="502351" y="279225"/>
                  </a:lnTo>
                  <a:lnTo>
                    <a:pt x="510001" y="247988"/>
                  </a:lnTo>
                  <a:lnTo>
                    <a:pt x="288151" y="272213"/>
                  </a:lnTo>
                  <a:lnTo>
                    <a:pt x="296438" y="263925"/>
                  </a:lnTo>
                  <a:lnTo>
                    <a:pt x="286876" y="240975"/>
                  </a:lnTo>
                  <a:lnTo>
                    <a:pt x="300263" y="221213"/>
                  </a:lnTo>
                  <a:lnTo>
                    <a:pt x="307913" y="170850"/>
                  </a:lnTo>
                  <a:lnTo>
                    <a:pt x="357001" y="87338"/>
                  </a:lnTo>
                  <a:lnTo>
                    <a:pt x="333413" y="58012"/>
                  </a:lnTo>
                  <a:lnTo>
                    <a:pt x="334688" y="36975"/>
                  </a:lnTo>
                  <a:lnTo>
                    <a:pt x="320026" y="2550"/>
                  </a:lnTo>
                  <a:lnTo>
                    <a:pt x="323851" y="0"/>
                  </a:lnTo>
                  <a:lnTo>
                    <a:pt x="323851" y="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02" name="Freeform 41">
              <a:extLst>
                <a:ext uri="{FF2B5EF4-FFF2-40B4-BE49-F238E27FC236}">
                  <a16:creationId xmlns:a16="http://schemas.microsoft.com/office/drawing/2014/main" id="{237530E0-4A1E-4899-DDD7-E592F7F3A766}"/>
                </a:ext>
              </a:extLst>
            </p:cNvPr>
            <p:cNvSpPr/>
            <p:nvPr/>
          </p:nvSpPr>
          <p:spPr>
            <a:xfrm>
              <a:off x="3595062" y="3024925"/>
              <a:ext cx="1514065" cy="1418440"/>
            </a:xfrm>
            <a:custGeom>
              <a:avLst/>
              <a:gdLst>
                <a:gd name="connsiteX0" fmla="*/ 1111165 w 1514065"/>
                <a:gd name="connsiteY0" fmla="*/ 1389115 h 1418440"/>
                <a:gd name="connsiteX1" fmla="*/ 1079927 w 1514065"/>
                <a:gd name="connsiteY1" fmla="*/ 1272453 h 1418440"/>
                <a:gd name="connsiteX2" fmla="*/ 1079927 w 1514065"/>
                <a:gd name="connsiteY2" fmla="*/ 1294128 h 1418440"/>
                <a:gd name="connsiteX3" fmla="*/ 1111165 w 1514065"/>
                <a:gd name="connsiteY3" fmla="*/ 1389115 h 1418440"/>
                <a:gd name="connsiteX4" fmla="*/ 1103515 w 1514065"/>
                <a:gd name="connsiteY4" fmla="*/ 1185115 h 1418440"/>
                <a:gd name="connsiteX5" fmla="*/ 1081840 w 1514065"/>
                <a:gd name="connsiteY5" fmla="*/ 1225915 h 1418440"/>
                <a:gd name="connsiteX6" fmla="*/ 1079290 w 1514065"/>
                <a:gd name="connsiteY6" fmla="*/ 1239303 h 1418440"/>
                <a:gd name="connsiteX7" fmla="*/ 1103515 w 1514065"/>
                <a:gd name="connsiteY7" fmla="*/ 1185115 h 1418440"/>
                <a:gd name="connsiteX8" fmla="*/ 1103515 w 1514065"/>
                <a:gd name="connsiteY8" fmla="*/ 1185115 h 1418440"/>
                <a:gd name="connsiteX9" fmla="*/ 1120727 w 1514065"/>
                <a:gd name="connsiteY9" fmla="*/ 1154515 h 1418440"/>
                <a:gd name="connsiteX10" fmla="*/ 1141127 w 1514065"/>
                <a:gd name="connsiteY10" fmla="*/ 1127102 h 1418440"/>
                <a:gd name="connsiteX11" fmla="*/ 1126465 w 1514065"/>
                <a:gd name="connsiteY11" fmla="*/ 1136665 h 1418440"/>
                <a:gd name="connsiteX12" fmla="*/ 1120727 w 1514065"/>
                <a:gd name="connsiteY12" fmla="*/ 1154515 h 1418440"/>
                <a:gd name="connsiteX13" fmla="*/ 1194040 w 1514065"/>
                <a:gd name="connsiteY13" fmla="*/ 1089490 h 1418440"/>
                <a:gd name="connsiteX14" fmla="*/ 1145590 w 1514065"/>
                <a:gd name="connsiteY14" fmla="*/ 1114352 h 1418440"/>
                <a:gd name="connsiteX15" fmla="*/ 1158977 w 1514065"/>
                <a:gd name="connsiteY15" fmla="*/ 1111802 h 1418440"/>
                <a:gd name="connsiteX16" fmla="*/ 1194040 w 1514065"/>
                <a:gd name="connsiteY16" fmla="*/ 1089490 h 1418440"/>
                <a:gd name="connsiteX17" fmla="*/ 1200415 w 1514065"/>
                <a:gd name="connsiteY17" fmla="*/ 1079927 h 1418440"/>
                <a:gd name="connsiteX18" fmla="*/ 1213803 w 1514065"/>
                <a:gd name="connsiteY18" fmla="*/ 1068452 h 1418440"/>
                <a:gd name="connsiteX19" fmla="*/ 1208702 w 1514065"/>
                <a:gd name="connsiteY19" fmla="*/ 1069727 h 1418440"/>
                <a:gd name="connsiteX20" fmla="*/ 1200415 w 1514065"/>
                <a:gd name="connsiteY20" fmla="*/ 1079927 h 1418440"/>
                <a:gd name="connsiteX21" fmla="*/ 438601 w 1514065"/>
                <a:gd name="connsiteY21" fmla="*/ 2550 h 1418440"/>
                <a:gd name="connsiteX22" fmla="*/ 434138 w 1514065"/>
                <a:gd name="connsiteY22" fmla="*/ 1912 h 1418440"/>
                <a:gd name="connsiteX23" fmla="*/ 412463 w 1514065"/>
                <a:gd name="connsiteY23" fmla="*/ 604351 h 1418440"/>
                <a:gd name="connsiteX24" fmla="*/ 285601 w 1514065"/>
                <a:gd name="connsiteY24" fmla="*/ 598614 h 1418440"/>
                <a:gd name="connsiteX25" fmla="*/ 81600 w 1514065"/>
                <a:gd name="connsiteY25" fmla="*/ 587139 h 1418440"/>
                <a:gd name="connsiteX26" fmla="*/ 0 w 1514065"/>
                <a:gd name="connsiteY26" fmla="*/ 581401 h 1418440"/>
                <a:gd name="connsiteX27" fmla="*/ 15938 w 1514065"/>
                <a:gd name="connsiteY27" fmla="*/ 613276 h 1418440"/>
                <a:gd name="connsiteX28" fmla="*/ 16575 w 1514065"/>
                <a:gd name="connsiteY28" fmla="*/ 613914 h 1418440"/>
                <a:gd name="connsiteX29" fmla="*/ 86063 w 1514065"/>
                <a:gd name="connsiteY29" fmla="*/ 683401 h 1418440"/>
                <a:gd name="connsiteX30" fmla="*/ 125588 w 1514065"/>
                <a:gd name="connsiteY30" fmla="*/ 730577 h 1418440"/>
                <a:gd name="connsiteX31" fmla="*/ 178500 w 1514065"/>
                <a:gd name="connsiteY31" fmla="*/ 769464 h 1418440"/>
                <a:gd name="connsiteX32" fmla="*/ 215475 w 1514065"/>
                <a:gd name="connsiteY32" fmla="*/ 837677 h 1418440"/>
                <a:gd name="connsiteX33" fmla="*/ 229500 w 1514065"/>
                <a:gd name="connsiteY33" fmla="*/ 909077 h 1418440"/>
                <a:gd name="connsiteX34" fmla="*/ 260100 w 1514065"/>
                <a:gd name="connsiteY34" fmla="*/ 928839 h 1418440"/>
                <a:gd name="connsiteX35" fmla="*/ 283688 w 1514065"/>
                <a:gd name="connsiteY35" fmla="*/ 955615 h 1418440"/>
                <a:gd name="connsiteX36" fmla="*/ 317476 w 1514065"/>
                <a:gd name="connsiteY36" fmla="*/ 967727 h 1418440"/>
                <a:gd name="connsiteX37" fmla="*/ 367201 w 1514065"/>
                <a:gd name="connsiteY37" fmla="*/ 999602 h 1418440"/>
                <a:gd name="connsiteX38" fmla="*/ 389513 w 1514065"/>
                <a:gd name="connsiteY38" fmla="*/ 1007890 h 1418440"/>
                <a:gd name="connsiteX39" fmla="*/ 420751 w 1514065"/>
                <a:gd name="connsiteY39" fmla="*/ 976652 h 1418440"/>
                <a:gd name="connsiteX40" fmla="*/ 430951 w 1514065"/>
                <a:gd name="connsiteY40" fmla="*/ 943502 h 1418440"/>
                <a:gd name="connsiteX41" fmla="*/ 446888 w 1514065"/>
                <a:gd name="connsiteY41" fmla="*/ 911627 h 1418440"/>
                <a:gd name="connsiteX42" fmla="*/ 497251 w 1514065"/>
                <a:gd name="connsiteY42" fmla="*/ 891864 h 1418440"/>
                <a:gd name="connsiteX43" fmla="*/ 516376 w 1514065"/>
                <a:gd name="connsiteY43" fmla="*/ 902064 h 1418440"/>
                <a:gd name="connsiteX44" fmla="*/ 571839 w 1514065"/>
                <a:gd name="connsiteY44" fmla="*/ 906527 h 1418440"/>
                <a:gd name="connsiteX45" fmla="*/ 622839 w 1514065"/>
                <a:gd name="connsiteY45" fmla="*/ 938402 h 1418440"/>
                <a:gd name="connsiteX46" fmla="*/ 657264 w 1514065"/>
                <a:gd name="connsiteY46" fmla="*/ 944777 h 1418440"/>
                <a:gd name="connsiteX47" fmla="*/ 647064 w 1514065"/>
                <a:gd name="connsiteY47" fmla="*/ 962627 h 1418440"/>
                <a:gd name="connsiteX48" fmla="*/ 666826 w 1514065"/>
                <a:gd name="connsiteY48" fmla="*/ 975377 h 1418440"/>
                <a:gd name="connsiteX49" fmla="*/ 685314 w 1514065"/>
                <a:gd name="connsiteY49" fmla="*/ 997690 h 1418440"/>
                <a:gd name="connsiteX50" fmla="*/ 689139 w 1514065"/>
                <a:gd name="connsiteY50" fmla="*/ 1021277 h 1418440"/>
                <a:gd name="connsiteX51" fmla="*/ 701251 w 1514065"/>
                <a:gd name="connsiteY51" fmla="*/ 1037215 h 1418440"/>
                <a:gd name="connsiteX52" fmla="*/ 729939 w 1514065"/>
                <a:gd name="connsiteY52" fmla="*/ 1105427 h 1418440"/>
                <a:gd name="connsiteX53" fmla="*/ 758627 w 1514065"/>
                <a:gd name="connsiteY53" fmla="*/ 1129015 h 1418440"/>
                <a:gd name="connsiteX54" fmla="*/ 780302 w 1514065"/>
                <a:gd name="connsiteY54" fmla="*/ 1164715 h 1418440"/>
                <a:gd name="connsiteX55" fmla="*/ 808352 w 1514065"/>
                <a:gd name="connsiteY55" fmla="*/ 1193403 h 1418440"/>
                <a:gd name="connsiteX56" fmla="*/ 820464 w 1514065"/>
                <a:gd name="connsiteY56" fmla="*/ 1197227 h 1418440"/>
                <a:gd name="connsiteX57" fmla="*/ 831302 w 1514065"/>
                <a:gd name="connsiteY57" fmla="*/ 1270540 h 1418440"/>
                <a:gd name="connsiteX58" fmla="*/ 861902 w 1514065"/>
                <a:gd name="connsiteY58" fmla="*/ 1287115 h 1418440"/>
                <a:gd name="connsiteX59" fmla="*/ 863177 w 1514065"/>
                <a:gd name="connsiteY59" fmla="*/ 1310065 h 1418440"/>
                <a:gd name="connsiteX60" fmla="*/ 870827 w 1514065"/>
                <a:gd name="connsiteY60" fmla="*/ 1308153 h 1418440"/>
                <a:gd name="connsiteX61" fmla="*/ 923740 w 1514065"/>
                <a:gd name="connsiteY61" fmla="*/ 1372540 h 1418440"/>
                <a:gd name="connsiteX62" fmla="*/ 950514 w 1514065"/>
                <a:gd name="connsiteY62" fmla="*/ 1378278 h 1418440"/>
                <a:gd name="connsiteX63" fmla="*/ 983664 w 1514065"/>
                <a:gd name="connsiteY63" fmla="*/ 1398040 h 1418440"/>
                <a:gd name="connsiteX64" fmla="*/ 1035302 w 1514065"/>
                <a:gd name="connsiteY64" fmla="*/ 1398040 h 1418440"/>
                <a:gd name="connsiteX65" fmla="*/ 1072277 w 1514065"/>
                <a:gd name="connsiteY65" fmla="*/ 1418440 h 1418440"/>
                <a:gd name="connsiteX66" fmla="*/ 1116902 w 1514065"/>
                <a:gd name="connsiteY66" fmla="*/ 1408241 h 1418440"/>
                <a:gd name="connsiteX67" fmla="*/ 1097140 w 1514065"/>
                <a:gd name="connsiteY67" fmla="*/ 1389753 h 1418440"/>
                <a:gd name="connsiteX68" fmla="*/ 1079290 w 1514065"/>
                <a:gd name="connsiteY68" fmla="*/ 1335565 h 1418440"/>
                <a:gd name="connsiteX69" fmla="*/ 1072277 w 1514065"/>
                <a:gd name="connsiteY69" fmla="*/ 1288390 h 1418440"/>
                <a:gd name="connsiteX70" fmla="*/ 1061440 w 1514065"/>
                <a:gd name="connsiteY70" fmla="*/ 1273090 h 1418440"/>
                <a:gd name="connsiteX71" fmla="*/ 1065902 w 1514065"/>
                <a:gd name="connsiteY71" fmla="*/ 1241215 h 1418440"/>
                <a:gd name="connsiteX72" fmla="*/ 1052515 w 1514065"/>
                <a:gd name="connsiteY72" fmla="*/ 1239940 h 1418440"/>
                <a:gd name="connsiteX73" fmla="*/ 1034665 w 1514065"/>
                <a:gd name="connsiteY73" fmla="*/ 1209977 h 1418440"/>
                <a:gd name="connsiteX74" fmla="*/ 1055065 w 1514065"/>
                <a:gd name="connsiteY74" fmla="*/ 1231653 h 1418440"/>
                <a:gd name="connsiteX75" fmla="*/ 1078652 w 1514065"/>
                <a:gd name="connsiteY75" fmla="*/ 1223365 h 1418440"/>
                <a:gd name="connsiteX76" fmla="*/ 1091402 w 1514065"/>
                <a:gd name="connsiteY76" fmla="*/ 1189578 h 1418440"/>
                <a:gd name="connsiteX77" fmla="*/ 1065902 w 1514065"/>
                <a:gd name="connsiteY77" fmla="*/ 1155152 h 1418440"/>
                <a:gd name="connsiteX78" fmla="*/ 1104152 w 1514065"/>
                <a:gd name="connsiteY78" fmla="*/ 1159615 h 1418440"/>
                <a:gd name="connsiteX79" fmla="*/ 1122002 w 1514065"/>
                <a:gd name="connsiteY79" fmla="*/ 1131565 h 1418440"/>
                <a:gd name="connsiteX80" fmla="*/ 1119452 w 1514065"/>
                <a:gd name="connsiteY80" fmla="*/ 1121365 h 1418440"/>
                <a:gd name="connsiteX81" fmla="*/ 1135390 w 1514065"/>
                <a:gd name="connsiteY81" fmla="*/ 1100327 h 1418440"/>
                <a:gd name="connsiteX82" fmla="*/ 1131565 w 1514065"/>
                <a:gd name="connsiteY82" fmla="*/ 1118815 h 1418440"/>
                <a:gd name="connsiteX83" fmla="*/ 1149415 w 1514065"/>
                <a:gd name="connsiteY83" fmla="*/ 1104790 h 1418440"/>
                <a:gd name="connsiteX84" fmla="*/ 1142402 w 1514065"/>
                <a:gd name="connsiteY84" fmla="*/ 1079927 h 1418440"/>
                <a:gd name="connsiteX85" fmla="*/ 1165352 w 1514065"/>
                <a:gd name="connsiteY85" fmla="*/ 1092040 h 1418440"/>
                <a:gd name="connsiteX86" fmla="*/ 1195315 w 1514065"/>
                <a:gd name="connsiteY86" fmla="*/ 1075465 h 1418440"/>
                <a:gd name="connsiteX87" fmla="*/ 1165990 w 1514065"/>
                <a:gd name="connsiteY87" fmla="*/ 1044865 h 1418440"/>
                <a:gd name="connsiteX88" fmla="*/ 1183840 w 1514065"/>
                <a:gd name="connsiteY88" fmla="*/ 1051877 h 1418440"/>
                <a:gd name="connsiteX89" fmla="*/ 1216990 w 1514065"/>
                <a:gd name="connsiteY89" fmla="*/ 1053790 h 1418440"/>
                <a:gd name="connsiteX90" fmla="*/ 1260978 w 1514065"/>
                <a:gd name="connsiteY90" fmla="*/ 1043590 h 1418440"/>
                <a:gd name="connsiteX91" fmla="*/ 1310065 w 1514065"/>
                <a:gd name="connsiteY91" fmla="*/ 1010440 h 1418440"/>
                <a:gd name="connsiteX92" fmla="*/ 1340028 w 1514065"/>
                <a:gd name="connsiteY92" fmla="*/ 986215 h 1418440"/>
                <a:gd name="connsiteX93" fmla="*/ 1344490 w 1514065"/>
                <a:gd name="connsiteY93" fmla="*/ 968365 h 1418440"/>
                <a:gd name="connsiteX94" fmla="*/ 1362340 w 1514065"/>
                <a:gd name="connsiteY94" fmla="*/ 949877 h 1418440"/>
                <a:gd name="connsiteX95" fmla="*/ 1352140 w 1514065"/>
                <a:gd name="connsiteY95" fmla="*/ 918640 h 1418440"/>
                <a:gd name="connsiteX96" fmla="*/ 1354053 w 1514065"/>
                <a:gd name="connsiteY96" fmla="*/ 899515 h 1418440"/>
                <a:gd name="connsiteX97" fmla="*/ 1386565 w 1514065"/>
                <a:gd name="connsiteY97" fmla="*/ 885489 h 1418440"/>
                <a:gd name="connsiteX98" fmla="*/ 1384015 w 1514065"/>
                <a:gd name="connsiteY98" fmla="*/ 919277 h 1418440"/>
                <a:gd name="connsiteX99" fmla="*/ 1403140 w 1514065"/>
                <a:gd name="connsiteY99" fmla="*/ 919277 h 1418440"/>
                <a:gd name="connsiteX100" fmla="*/ 1382103 w 1514065"/>
                <a:gd name="connsiteY100" fmla="*/ 937127 h 1418440"/>
                <a:gd name="connsiteX101" fmla="*/ 1467528 w 1514065"/>
                <a:gd name="connsiteY101" fmla="*/ 891864 h 1418440"/>
                <a:gd name="connsiteX102" fmla="*/ 1481553 w 1514065"/>
                <a:gd name="connsiteY102" fmla="*/ 891227 h 1418440"/>
                <a:gd name="connsiteX103" fmla="*/ 1491116 w 1514065"/>
                <a:gd name="connsiteY103" fmla="*/ 850427 h 1418440"/>
                <a:gd name="connsiteX104" fmla="*/ 1493665 w 1514065"/>
                <a:gd name="connsiteY104" fmla="*/ 850427 h 1418440"/>
                <a:gd name="connsiteX105" fmla="*/ 1503866 w 1514065"/>
                <a:gd name="connsiteY105" fmla="*/ 826839 h 1418440"/>
                <a:gd name="connsiteX106" fmla="*/ 1508328 w 1514065"/>
                <a:gd name="connsiteY106" fmla="*/ 753527 h 1418440"/>
                <a:gd name="connsiteX107" fmla="*/ 1514066 w 1514065"/>
                <a:gd name="connsiteY107" fmla="*/ 723564 h 1418440"/>
                <a:gd name="connsiteX108" fmla="*/ 1497491 w 1514065"/>
                <a:gd name="connsiteY108" fmla="*/ 670651 h 1418440"/>
                <a:gd name="connsiteX109" fmla="*/ 1477091 w 1514065"/>
                <a:gd name="connsiteY109" fmla="*/ 634952 h 1418440"/>
                <a:gd name="connsiteX110" fmla="*/ 1476453 w 1514065"/>
                <a:gd name="connsiteY110" fmla="*/ 617739 h 1418440"/>
                <a:gd name="connsiteX111" fmla="*/ 1455415 w 1514065"/>
                <a:gd name="connsiteY111" fmla="*/ 587776 h 1418440"/>
                <a:gd name="connsiteX112" fmla="*/ 1442665 w 1514065"/>
                <a:gd name="connsiteY112" fmla="*/ 464101 h 1418440"/>
                <a:gd name="connsiteX113" fmla="*/ 1442028 w 1514065"/>
                <a:gd name="connsiteY113" fmla="*/ 448801 h 1418440"/>
                <a:gd name="connsiteX114" fmla="*/ 1440753 w 1514065"/>
                <a:gd name="connsiteY114" fmla="*/ 432864 h 1418440"/>
                <a:gd name="connsiteX115" fmla="*/ 1436928 w 1514065"/>
                <a:gd name="connsiteY115" fmla="*/ 376764 h 1418440"/>
                <a:gd name="connsiteX116" fmla="*/ 1398678 w 1514065"/>
                <a:gd name="connsiteY116" fmla="*/ 378038 h 1418440"/>
                <a:gd name="connsiteX117" fmla="*/ 1388478 w 1514065"/>
                <a:gd name="connsiteY117" fmla="*/ 367201 h 1418440"/>
                <a:gd name="connsiteX118" fmla="*/ 1386565 w 1514065"/>
                <a:gd name="connsiteY118" fmla="*/ 366563 h 1418440"/>
                <a:gd name="connsiteX119" fmla="*/ 1385928 w 1514065"/>
                <a:gd name="connsiteY119" fmla="*/ 366563 h 1418440"/>
                <a:gd name="connsiteX120" fmla="*/ 1361065 w 1514065"/>
                <a:gd name="connsiteY120" fmla="*/ 362101 h 1418440"/>
                <a:gd name="connsiteX121" fmla="*/ 1331740 w 1514065"/>
                <a:gd name="connsiteY121" fmla="*/ 343613 h 1418440"/>
                <a:gd name="connsiteX122" fmla="*/ 1299228 w 1514065"/>
                <a:gd name="connsiteY122" fmla="*/ 330226 h 1418440"/>
                <a:gd name="connsiteX123" fmla="*/ 1239303 w 1514065"/>
                <a:gd name="connsiteY123" fmla="*/ 348713 h 1418440"/>
                <a:gd name="connsiteX124" fmla="*/ 1223365 w 1514065"/>
                <a:gd name="connsiteY124" fmla="*/ 344888 h 1418440"/>
                <a:gd name="connsiteX125" fmla="*/ 1203602 w 1514065"/>
                <a:gd name="connsiteY125" fmla="*/ 352538 h 1418440"/>
                <a:gd name="connsiteX126" fmla="*/ 1179377 w 1514065"/>
                <a:gd name="connsiteY126" fmla="*/ 372301 h 1418440"/>
                <a:gd name="connsiteX127" fmla="*/ 1113715 w 1514065"/>
                <a:gd name="connsiteY127" fmla="*/ 341063 h 1418440"/>
                <a:gd name="connsiteX128" fmla="*/ 1093315 w 1514065"/>
                <a:gd name="connsiteY128" fmla="*/ 369751 h 1418440"/>
                <a:gd name="connsiteX129" fmla="*/ 1062715 w 1514065"/>
                <a:gd name="connsiteY129" fmla="*/ 358276 h 1418440"/>
                <a:gd name="connsiteX130" fmla="*/ 1030202 w 1514065"/>
                <a:gd name="connsiteY130" fmla="*/ 337876 h 1418440"/>
                <a:gd name="connsiteX131" fmla="*/ 1012990 w 1514065"/>
                <a:gd name="connsiteY131" fmla="*/ 352538 h 1418440"/>
                <a:gd name="connsiteX132" fmla="*/ 996414 w 1514065"/>
                <a:gd name="connsiteY132" fmla="*/ 353176 h 1418440"/>
                <a:gd name="connsiteX133" fmla="*/ 996414 w 1514065"/>
                <a:gd name="connsiteY133" fmla="*/ 341063 h 1418440"/>
                <a:gd name="connsiteX134" fmla="*/ 951152 w 1514065"/>
                <a:gd name="connsiteY134" fmla="*/ 320026 h 1418440"/>
                <a:gd name="connsiteX135" fmla="*/ 933302 w 1514065"/>
                <a:gd name="connsiteY135" fmla="*/ 328313 h 1418440"/>
                <a:gd name="connsiteX136" fmla="*/ 923740 w 1514065"/>
                <a:gd name="connsiteY136" fmla="*/ 317476 h 1418440"/>
                <a:gd name="connsiteX137" fmla="*/ 874014 w 1514065"/>
                <a:gd name="connsiteY137" fmla="*/ 312376 h 1418440"/>
                <a:gd name="connsiteX138" fmla="*/ 836402 w 1514065"/>
                <a:gd name="connsiteY138" fmla="*/ 277951 h 1418440"/>
                <a:gd name="connsiteX139" fmla="*/ 830664 w 1514065"/>
                <a:gd name="connsiteY139" fmla="*/ 289426 h 1418440"/>
                <a:gd name="connsiteX140" fmla="*/ 802614 w 1514065"/>
                <a:gd name="connsiteY140" fmla="*/ 288151 h 1418440"/>
                <a:gd name="connsiteX141" fmla="*/ 777114 w 1514065"/>
                <a:gd name="connsiteY141" fmla="*/ 263926 h 1418440"/>
                <a:gd name="connsiteX142" fmla="*/ 765639 w 1514065"/>
                <a:gd name="connsiteY142" fmla="*/ 225676 h 1418440"/>
                <a:gd name="connsiteX143" fmla="*/ 763726 w 1514065"/>
                <a:gd name="connsiteY143" fmla="*/ 5738 h 1418440"/>
                <a:gd name="connsiteX144" fmla="*/ 599889 w 1514065"/>
                <a:gd name="connsiteY144" fmla="*/ 3825 h 1418440"/>
                <a:gd name="connsiteX145" fmla="*/ 444338 w 1514065"/>
                <a:gd name="connsiteY145" fmla="*/ 0 h 1418440"/>
                <a:gd name="connsiteX146" fmla="*/ 438601 w 1514065"/>
                <a:gd name="connsiteY146" fmla="*/ 2550 h 1418440"/>
                <a:gd name="connsiteX147" fmla="*/ 438601 w 1514065"/>
                <a:gd name="connsiteY147" fmla="*/ 2550 h 14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14065" h="1418440">
                  <a:moveTo>
                    <a:pt x="1111165" y="1389115"/>
                  </a:moveTo>
                  <a:lnTo>
                    <a:pt x="1079927" y="1272453"/>
                  </a:lnTo>
                  <a:lnTo>
                    <a:pt x="1079927" y="1294128"/>
                  </a:lnTo>
                  <a:lnTo>
                    <a:pt x="1111165" y="1389115"/>
                  </a:lnTo>
                  <a:close/>
                  <a:moveTo>
                    <a:pt x="1103515" y="1185115"/>
                  </a:moveTo>
                  <a:lnTo>
                    <a:pt x="1081840" y="1225915"/>
                  </a:lnTo>
                  <a:lnTo>
                    <a:pt x="1079290" y="1239303"/>
                  </a:lnTo>
                  <a:lnTo>
                    <a:pt x="1103515" y="1185115"/>
                  </a:lnTo>
                  <a:lnTo>
                    <a:pt x="1103515" y="1185115"/>
                  </a:lnTo>
                  <a:close/>
                  <a:moveTo>
                    <a:pt x="1120727" y="1154515"/>
                  </a:moveTo>
                  <a:lnTo>
                    <a:pt x="1141127" y="1127102"/>
                  </a:lnTo>
                  <a:lnTo>
                    <a:pt x="1126465" y="1136665"/>
                  </a:lnTo>
                  <a:lnTo>
                    <a:pt x="1120727" y="1154515"/>
                  </a:lnTo>
                  <a:close/>
                  <a:moveTo>
                    <a:pt x="1194040" y="1089490"/>
                  </a:moveTo>
                  <a:lnTo>
                    <a:pt x="1145590" y="1114352"/>
                  </a:lnTo>
                  <a:lnTo>
                    <a:pt x="1158977" y="1111802"/>
                  </a:lnTo>
                  <a:lnTo>
                    <a:pt x="1194040" y="1089490"/>
                  </a:lnTo>
                  <a:close/>
                  <a:moveTo>
                    <a:pt x="1200415" y="1079927"/>
                  </a:moveTo>
                  <a:lnTo>
                    <a:pt x="1213803" y="1068452"/>
                  </a:lnTo>
                  <a:lnTo>
                    <a:pt x="1208702" y="1069727"/>
                  </a:lnTo>
                  <a:lnTo>
                    <a:pt x="1200415" y="1079927"/>
                  </a:lnTo>
                  <a:close/>
                  <a:moveTo>
                    <a:pt x="438601" y="2550"/>
                  </a:moveTo>
                  <a:lnTo>
                    <a:pt x="434138" y="1912"/>
                  </a:lnTo>
                  <a:lnTo>
                    <a:pt x="412463" y="604351"/>
                  </a:lnTo>
                  <a:lnTo>
                    <a:pt x="285601" y="598614"/>
                  </a:lnTo>
                  <a:lnTo>
                    <a:pt x="81600" y="587139"/>
                  </a:lnTo>
                  <a:lnTo>
                    <a:pt x="0" y="581401"/>
                  </a:lnTo>
                  <a:lnTo>
                    <a:pt x="15938" y="613276"/>
                  </a:lnTo>
                  <a:lnTo>
                    <a:pt x="16575" y="613914"/>
                  </a:lnTo>
                  <a:lnTo>
                    <a:pt x="86063" y="683401"/>
                  </a:lnTo>
                  <a:lnTo>
                    <a:pt x="125588" y="730577"/>
                  </a:lnTo>
                  <a:lnTo>
                    <a:pt x="178500" y="769464"/>
                  </a:lnTo>
                  <a:lnTo>
                    <a:pt x="215475" y="837677"/>
                  </a:lnTo>
                  <a:lnTo>
                    <a:pt x="229500" y="909077"/>
                  </a:lnTo>
                  <a:lnTo>
                    <a:pt x="260100" y="928839"/>
                  </a:lnTo>
                  <a:lnTo>
                    <a:pt x="283688" y="955615"/>
                  </a:lnTo>
                  <a:lnTo>
                    <a:pt x="317476" y="967727"/>
                  </a:lnTo>
                  <a:lnTo>
                    <a:pt x="367201" y="999602"/>
                  </a:lnTo>
                  <a:lnTo>
                    <a:pt x="389513" y="1007890"/>
                  </a:lnTo>
                  <a:lnTo>
                    <a:pt x="420751" y="976652"/>
                  </a:lnTo>
                  <a:lnTo>
                    <a:pt x="430951" y="943502"/>
                  </a:lnTo>
                  <a:lnTo>
                    <a:pt x="446888" y="911627"/>
                  </a:lnTo>
                  <a:lnTo>
                    <a:pt x="497251" y="891864"/>
                  </a:lnTo>
                  <a:lnTo>
                    <a:pt x="516376" y="902064"/>
                  </a:lnTo>
                  <a:lnTo>
                    <a:pt x="571839" y="906527"/>
                  </a:lnTo>
                  <a:lnTo>
                    <a:pt x="622839" y="938402"/>
                  </a:lnTo>
                  <a:lnTo>
                    <a:pt x="657264" y="944777"/>
                  </a:lnTo>
                  <a:lnTo>
                    <a:pt x="647064" y="962627"/>
                  </a:lnTo>
                  <a:lnTo>
                    <a:pt x="666826" y="975377"/>
                  </a:lnTo>
                  <a:lnTo>
                    <a:pt x="685314" y="997690"/>
                  </a:lnTo>
                  <a:lnTo>
                    <a:pt x="689139" y="1021277"/>
                  </a:lnTo>
                  <a:lnTo>
                    <a:pt x="701251" y="1037215"/>
                  </a:lnTo>
                  <a:lnTo>
                    <a:pt x="729939" y="1105427"/>
                  </a:lnTo>
                  <a:lnTo>
                    <a:pt x="758627" y="1129015"/>
                  </a:lnTo>
                  <a:lnTo>
                    <a:pt x="780302" y="1164715"/>
                  </a:lnTo>
                  <a:lnTo>
                    <a:pt x="808352" y="1193403"/>
                  </a:lnTo>
                  <a:lnTo>
                    <a:pt x="820464" y="1197227"/>
                  </a:lnTo>
                  <a:lnTo>
                    <a:pt x="831302" y="1270540"/>
                  </a:lnTo>
                  <a:lnTo>
                    <a:pt x="861902" y="1287115"/>
                  </a:lnTo>
                  <a:lnTo>
                    <a:pt x="863177" y="1310065"/>
                  </a:lnTo>
                  <a:lnTo>
                    <a:pt x="870827" y="1308153"/>
                  </a:lnTo>
                  <a:lnTo>
                    <a:pt x="923740" y="1372540"/>
                  </a:lnTo>
                  <a:lnTo>
                    <a:pt x="950514" y="1378278"/>
                  </a:lnTo>
                  <a:lnTo>
                    <a:pt x="983664" y="1398040"/>
                  </a:lnTo>
                  <a:lnTo>
                    <a:pt x="1035302" y="1398040"/>
                  </a:lnTo>
                  <a:lnTo>
                    <a:pt x="1072277" y="1418440"/>
                  </a:lnTo>
                  <a:lnTo>
                    <a:pt x="1116902" y="1408241"/>
                  </a:lnTo>
                  <a:lnTo>
                    <a:pt x="1097140" y="1389753"/>
                  </a:lnTo>
                  <a:lnTo>
                    <a:pt x="1079290" y="1335565"/>
                  </a:lnTo>
                  <a:lnTo>
                    <a:pt x="1072277" y="1288390"/>
                  </a:lnTo>
                  <a:lnTo>
                    <a:pt x="1061440" y="1273090"/>
                  </a:lnTo>
                  <a:lnTo>
                    <a:pt x="1065902" y="1241215"/>
                  </a:lnTo>
                  <a:lnTo>
                    <a:pt x="1052515" y="1239940"/>
                  </a:lnTo>
                  <a:lnTo>
                    <a:pt x="1034665" y="1209977"/>
                  </a:lnTo>
                  <a:lnTo>
                    <a:pt x="1055065" y="1231653"/>
                  </a:lnTo>
                  <a:lnTo>
                    <a:pt x="1078652" y="1223365"/>
                  </a:lnTo>
                  <a:lnTo>
                    <a:pt x="1091402" y="1189578"/>
                  </a:lnTo>
                  <a:lnTo>
                    <a:pt x="1065902" y="1155152"/>
                  </a:lnTo>
                  <a:lnTo>
                    <a:pt x="1104152" y="1159615"/>
                  </a:lnTo>
                  <a:lnTo>
                    <a:pt x="1122002" y="1131565"/>
                  </a:lnTo>
                  <a:lnTo>
                    <a:pt x="1119452" y="1121365"/>
                  </a:lnTo>
                  <a:lnTo>
                    <a:pt x="1135390" y="1100327"/>
                  </a:lnTo>
                  <a:lnTo>
                    <a:pt x="1131565" y="1118815"/>
                  </a:lnTo>
                  <a:lnTo>
                    <a:pt x="1149415" y="1104790"/>
                  </a:lnTo>
                  <a:lnTo>
                    <a:pt x="1142402" y="1079927"/>
                  </a:lnTo>
                  <a:lnTo>
                    <a:pt x="1165352" y="1092040"/>
                  </a:lnTo>
                  <a:lnTo>
                    <a:pt x="1195315" y="1075465"/>
                  </a:lnTo>
                  <a:lnTo>
                    <a:pt x="1165990" y="1044865"/>
                  </a:lnTo>
                  <a:lnTo>
                    <a:pt x="1183840" y="1051877"/>
                  </a:lnTo>
                  <a:lnTo>
                    <a:pt x="1216990" y="1053790"/>
                  </a:lnTo>
                  <a:lnTo>
                    <a:pt x="1260978" y="1043590"/>
                  </a:lnTo>
                  <a:lnTo>
                    <a:pt x="1310065" y="1010440"/>
                  </a:lnTo>
                  <a:lnTo>
                    <a:pt x="1340028" y="986215"/>
                  </a:lnTo>
                  <a:lnTo>
                    <a:pt x="1344490" y="968365"/>
                  </a:lnTo>
                  <a:lnTo>
                    <a:pt x="1362340" y="949877"/>
                  </a:lnTo>
                  <a:lnTo>
                    <a:pt x="1352140" y="918640"/>
                  </a:lnTo>
                  <a:lnTo>
                    <a:pt x="1354053" y="899515"/>
                  </a:lnTo>
                  <a:lnTo>
                    <a:pt x="1386565" y="885489"/>
                  </a:lnTo>
                  <a:lnTo>
                    <a:pt x="1384015" y="919277"/>
                  </a:lnTo>
                  <a:lnTo>
                    <a:pt x="1403140" y="919277"/>
                  </a:lnTo>
                  <a:lnTo>
                    <a:pt x="1382103" y="937127"/>
                  </a:lnTo>
                  <a:lnTo>
                    <a:pt x="1467528" y="891864"/>
                  </a:lnTo>
                  <a:lnTo>
                    <a:pt x="1481553" y="891227"/>
                  </a:lnTo>
                  <a:lnTo>
                    <a:pt x="1491116" y="850427"/>
                  </a:lnTo>
                  <a:lnTo>
                    <a:pt x="1493665" y="850427"/>
                  </a:lnTo>
                  <a:lnTo>
                    <a:pt x="1503866" y="826839"/>
                  </a:lnTo>
                  <a:lnTo>
                    <a:pt x="1508328" y="753527"/>
                  </a:lnTo>
                  <a:lnTo>
                    <a:pt x="1514066" y="723564"/>
                  </a:lnTo>
                  <a:lnTo>
                    <a:pt x="1497491" y="670651"/>
                  </a:lnTo>
                  <a:lnTo>
                    <a:pt x="1477091" y="634952"/>
                  </a:lnTo>
                  <a:lnTo>
                    <a:pt x="1476453" y="617739"/>
                  </a:lnTo>
                  <a:lnTo>
                    <a:pt x="1455415" y="587776"/>
                  </a:lnTo>
                  <a:lnTo>
                    <a:pt x="1442665" y="464101"/>
                  </a:lnTo>
                  <a:lnTo>
                    <a:pt x="1442028" y="448801"/>
                  </a:lnTo>
                  <a:lnTo>
                    <a:pt x="1440753" y="432864"/>
                  </a:lnTo>
                  <a:lnTo>
                    <a:pt x="1436928" y="376764"/>
                  </a:lnTo>
                  <a:lnTo>
                    <a:pt x="1398678" y="378038"/>
                  </a:lnTo>
                  <a:lnTo>
                    <a:pt x="1388478" y="367201"/>
                  </a:lnTo>
                  <a:lnTo>
                    <a:pt x="1386565" y="366563"/>
                  </a:lnTo>
                  <a:lnTo>
                    <a:pt x="1385928" y="366563"/>
                  </a:lnTo>
                  <a:lnTo>
                    <a:pt x="1361065" y="362101"/>
                  </a:lnTo>
                  <a:lnTo>
                    <a:pt x="1331740" y="343613"/>
                  </a:lnTo>
                  <a:lnTo>
                    <a:pt x="1299228" y="330226"/>
                  </a:lnTo>
                  <a:lnTo>
                    <a:pt x="1239303" y="348713"/>
                  </a:lnTo>
                  <a:lnTo>
                    <a:pt x="1223365" y="344888"/>
                  </a:lnTo>
                  <a:lnTo>
                    <a:pt x="1203602" y="352538"/>
                  </a:lnTo>
                  <a:lnTo>
                    <a:pt x="1179377" y="372301"/>
                  </a:lnTo>
                  <a:lnTo>
                    <a:pt x="1113715" y="341063"/>
                  </a:lnTo>
                  <a:lnTo>
                    <a:pt x="1093315" y="369751"/>
                  </a:lnTo>
                  <a:lnTo>
                    <a:pt x="1062715" y="358276"/>
                  </a:lnTo>
                  <a:lnTo>
                    <a:pt x="1030202" y="337876"/>
                  </a:lnTo>
                  <a:lnTo>
                    <a:pt x="1012990" y="352538"/>
                  </a:lnTo>
                  <a:lnTo>
                    <a:pt x="996414" y="353176"/>
                  </a:lnTo>
                  <a:lnTo>
                    <a:pt x="996414" y="341063"/>
                  </a:lnTo>
                  <a:lnTo>
                    <a:pt x="951152" y="320026"/>
                  </a:lnTo>
                  <a:lnTo>
                    <a:pt x="933302" y="328313"/>
                  </a:lnTo>
                  <a:lnTo>
                    <a:pt x="923740" y="317476"/>
                  </a:lnTo>
                  <a:lnTo>
                    <a:pt x="874014" y="312376"/>
                  </a:lnTo>
                  <a:lnTo>
                    <a:pt x="836402" y="277951"/>
                  </a:lnTo>
                  <a:lnTo>
                    <a:pt x="830664" y="289426"/>
                  </a:lnTo>
                  <a:lnTo>
                    <a:pt x="802614" y="288151"/>
                  </a:lnTo>
                  <a:lnTo>
                    <a:pt x="777114" y="263926"/>
                  </a:lnTo>
                  <a:lnTo>
                    <a:pt x="765639" y="225676"/>
                  </a:lnTo>
                  <a:lnTo>
                    <a:pt x="763726" y="5738"/>
                  </a:lnTo>
                  <a:lnTo>
                    <a:pt x="599889" y="3825"/>
                  </a:lnTo>
                  <a:lnTo>
                    <a:pt x="444338" y="0"/>
                  </a:lnTo>
                  <a:lnTo>
                    <a:pt x="438601" y="2550"/>
                  </a:lnTo>
                  <a:lnTo>
                    <a:pt x="438601" y="25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03" name="Freeform 42">
              <a:extLst>
                <a:ext uri="{FF2B5EF4-FFF2-40B4-BE49-F238E27FC236}">
                  <a16:creationId xmlns:a16="http://schemas.microsoft.com/office/drawing/2014/main" id="{3D4EF6DA-7214-CFDB-0CF4-D5D28CEC928F}"/>
                </a:ext>
              </a:extLst>
            </p:cNvPr>
            <p:cNvSpPr/>
            <p:nvPr/>
          </p:nvSpPr>
          <p:spPr>
            <a:xfrm>
              <a:off x="6950869" y="1809210"/>
              <a:ext cx="184237" cy="193162"/>
            </a:xfrm>
            <a:custGeom>
              <a:avLst/>
              <a:gdLst>
                <a:gd name="connsiteX0" fmla="*/ 157463 w 184237"/>
                <a:gd name="connsiteY0" fmla="*/ 0 h 193162"/>
                <a:gd name="connsiteX1" fmla="*/ 65025 w 184237"/>
                <a:gd name="connsiteY1" fmla="*/ 35063 h 193162"/>
                <a:gd name="connsiteX2" fmla="*/ 63750 w 184237"/>
                <a:gd name="connsiteY2" fmla="*/ 31875 h 193162"/>
                <a:gd name="connsiteX3" fmla="*/ 11475 w 184237"/>
                <a:gd name="connsiteY3" fmla="*/ 47175 h 193162"/>
                <a:gd name="connsiteX4" fmla="*/ 0 w 184237"/>
                <a:gd name="connsiteY4" fmla="*/ 50363 h 193162"/>
                <a:gd name="connsiteX5" fmla="*/ 1275 w 184237"/>
                <a:gd name="connsiteY5" fmla="*/ 56738 h 193162"/>
                <a:gd name="connsiteX6" fmla="*/ 25500 w 184237"/>
                <a:gd name="connsiteY6" fmla="*/ 151088 h 193162"/>
                <a:gd name="connsiteX7" fmla="*/ 33150 w 184237"/>
                <a:gd name="connsiteY7" fmla="*/ 161288 h 193162"/>
                <a:gd name="connsiteX8" fmla="*/ 16575 w 184237"/>
                <a:gd name="connsiteY8" fmla="*/ 181688 h 193162"/>
                <a:gd name="connsiteX9" fmla="*/ 28050 w 184237"/>
                <a:gd name="connsiteY9" fmla="*/ 193163 h 193162"/>
                <a:gd name="connsiteX10" fmla="*/ 28050 w 184237"/>
                <a:gd name="connsiteY10" fmla="*/ 193163 h 193162"/>
                <a:gd name="connsiteX11" fmla="*/ 65025 w 184237"/>
                <a:gd name="connsiteY11" fmla="*/ 157463 h 193162"/>
                <a:gd name="connsiteX12" fmla="*/ 84788 w 184237"/>
                <a:gd name="connsiteY12" fmla="*/ 129413 h 193162"/>
                <a:gd name="connsiteX13" fmla="*/ 88612 w 184237"/>
                <a:gd name="connsiteY13" fmla="*/ 137063 h 193162"/>
                <a:gd name="connsiteX14" fmla="*/ 182325 w 184237"/>
                <a:gd name="connsiteY14" fmla="*/ 95625 h 193162"/>
                <a:gd name="connsiteX15" fmla="*/ 184238 w 184237"/>
                <a:gd name="connsiteY15" fmla="*/ 93713 h 193162"/>
                <a:gd name="connsiteX16" fmla="*/ 183600 w 184237"/>
                <a:gd name="connsiteY16" fmla="*/ 78413 h 193162"/>
                <a:gd name="connsiteX17" fmla="*/ 179775 w 184237"/>
                <a:gd name="connsiteY17" fmla="*/ 65025 h 193162"/>
                <a:gd name="connsiteX18" fmla="*/ 160013 w 184237"/>
                <a:gd name="connsiteY18" fmla="*/ 9563 h 193162"/>
                <a:gd name="connsiteX19" fmla="*/ 157463 w 184237"/>
                <a:gd name="connsiteY19" fmla="*/ 2550 h 193162"/>
                <a:gd name="connsiteX20" fmla="*/ 157463 w 184237"/>
                <a:gd name="connsiteY20" fmla="*/ 0 h 193162"/>
                <a:gd name="connsiteX21" fmla="*/ 157463 w 184237"/>
                <a:gd name="connsiteY21" fmla="*/ 0 h 19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37" h="193162">
                  <a:moveTo>
                    <a:pt x="157463" y="0"/>
                  </a:moveTo>
                  <a:lnTo>
                    <a:pt x="65025" y="35063"/>
                  </a:lnTo>
                  <a:lnTo>
                    <a:pt x="63750" y="31875"/>
                  </a:lnTo>
                  <a:lnTo>
                    <a:pt x="11475" y="47175"/>
                  </a:lnTo>
                  <a:lnTo>
                    <a:pt x="0" y="50363"/>
                  </a:lnTo>
                  <a:lnTo>
                    <a:pt x="1275" y="56738"/>
                  </a:lnTo>
                  <a:lnTo>
                    <a:pt x="25500" y="151088"/>
                  </a:lnTo>
                  <a:lnTo>
                    <a:pt x="33150" y="161288"/>
                  </a:lnTo>
                  <a:lnTo>
                    <a:pt x="16575" y="181688"/>
                  </a:lnTo>
                  <a:lnTo>
                    <a:pt x="28050" y="193163"/>
                  </a:lnTo>
                  <a:lnTo>
                    <a:pt x="28050" y="193163"/>
                  </a:lnTo>
                  <a:lnTo>
                    <a:pt x="65025" y="157463"/>
                  </a:lnTo>
                  <a:lnTo>
                    <a:pt x="84788" y="129413"/>
                  </a:lnTo>
                  <a:lnTo>
                    <a:pt x="88612" y="137063"/>
                  </a:lnTo>
                  <a:lnTo>
                    <a:pt x="182325" y="95625"/>
                  </a:lnTo>
                  <a:lnTo>
                    <a:pt x="184238" y="93713"/>
                  </a:lnTo>
                  <a:lnTo>
                    <a:pt x="183600" y="78413"/>
                  </a:lnTo>
                  <a:lnTo>
                    <a:pt x="179775" y="65025"/>
                  </a:lnTo>
                  <a:lnTo>
                    <a:pt x="160013" y="9563"/>
                  </a:lnTo>
                  <a:lnTo>
                    <a:pt x="157463" y="2550"/>
                  </a:lnTo>
                  <a:lnTo>
                    <a:pt x="157463" y="0"/>
                  </a:lnTo>
                  <a:lnTo>
                    <a:pt x="157463" y="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04" name="Freeform 43">
              <a:extLst>
                <a:ext uri="{FF2B5EF4-FFF2-40B4-BE49-F238E27FC236}">
                  <a16:creationId xmlns:a16="http://schemas.microsoft.com/office/drawing/2014/main" id="{18F5539D-5C4A-4661-6D24-82D943CF4412}"/>
                </a:ext>
              </a:extLst>
            </p:cNvPr>
            <p:cNvSpPr/>
            <p:nvPr/>
          </p:nvSpPr>
          <p:spPr>
            <a:xfrm>
              <a:off x="6984019" y="1364234"/>
              <a:ext cx="177225" cy="374850"/>
            </a:xfrm>
            <a:custGeom>
              <a:avLst/>
              <a:gdLst>
                <a:gd name="connsiteX0" fmla="*/ 37613 w 177225"/>
                <a:gd name="connsiteY0" fmla="*/ 0 h 374850"/>
                <a:gd name="connsiteX1" fmla="*/ 29325 w 177225"/>
                <a:gd name="connsiteY1" fmla="*/ 10838 h 374850"/>
                <a:gd name="connsiteX2" fmla="*/ 19125 w 177225"/>
                <a:gd name="connsiteY2" fmla="*/ 8925 h 374850"/>
                <a:gd name="connsiteX3" fmla="*/ 14025 w 177225"/>
                <a:gd name="connsiteY3" fmla="*/ 51000 h 374850"/>
                <a:gd name="connsiteX4" fmla="*/ 14025 w 177225"/>
                <a:gd name="connsiteY4" fmla="*/ 51638 h 374850"/>
                <a:gd name="connsiteX5" fmla="*/ 29325 w 177225"/>
                <a:gd name="connsiteY5" fmla="*/ 109013 h 374850"/>
                <a:gd name="connsiteX6" fmla="*/ 28050 w 177225"/>
                <a:gd name="connsiteY6" fmla="*/ 120488 h 374850"/>
                <a:gd name="connsiteX7" fmla="*/ 0 w 177225"/>
                <a:gd name="connsiteY7" fmla="*/ 156825 h 374850"/>
                <a:gd name="connsiteX8" fmla="*/ 7013 w 177225"/>
                <a:gd name="connsiteY8" fmla="*/ 189976 h 374850"/>
                <a:gd name="connsiteX9" fmla="*/ 7013 w 177225"/>
                <a:gd name="connsiteY9" fmla="*/ 231413 h 374850"/>
                <a:gd name="connsiteX10" fmla="*/ 1913 w 177225"/>
                <a:gd name="connsiteY10" fmla="*/ 269663 h 374850"/>
                <a:gd name="connsiteX11" fmla="*/ 31238 w 177225"/>
                <a:gd name="connsiteY11" fmla="*/ 374851 h 374850"/>
                <a:gd name="connsiteX12" fmla="*/ 31238 w 177225"/>
                <a:gd name="connsiteY12" fmla="*/ 374851 h 374850"/>
                <a:gd name="connsiteX13" fmla="*/ 31238 w 177225"/>
                <a:gd name="connsiteY13" fmla="*/ 374851 h 374850"/>
                <a:gd name="connsiteX14" fmla="*/ 58013 w 177225"/>
                <a:gd name="connsiteY14" fmla="*/ 366563 h 374850"/>
                <a:gd name="connsiteX15" fmla="*/ 138976 w 177225"/>
                <a:gd name="connsiteY15" fmla="*/ 339151 h 374850"/>
                <a:gd name="connsiteX16" fmla="*/ 175313 w 177225"/>
                <a:gd name="connsiteY16" fmla="*/ 299626 h 374850"/>
                <a:gd name="connsiteX17" fmla="*/ 175313 w 177225"/>
                <a:gd name="connsiteY17" fmla="*/ 299626 h 374850"/>
                <a:gd name="connsiteX18" fmla="*/ 175313 w 177225"/>
                <a:gd name="connsiteY18" fmla="*/ 291338 h 374850"/>
                <a:gd name="connsiteX19" fmla="*/ 177226 w 177225"/>
                <a:gd name="connsiteY19" fmla="*/ 274763 h 374850"/>
                <a:gd name="connsiteX20" fmla="*/ 172763 w 177225"/>
                <a:gd name="connsiteY20" fmla="*/ 276676 h 374850"/>
                <a:gd name="connsiteX21" fmla="*/ 172125 w 177225"/>
                <a:gd name="connsiteY21" fmla="*/ 272851 h 374850"/>
                <a:gd name="connsiteX22" fmla="*/ 131963 w 177225"/>
                <a:gd name="connsiteY22" fmla="*/ 223125 h 374850"/>
                <a:gd name="connsiteX23" fmla="*/ 131963 w 177225"/>
                <a:gd name="connsiteY23" fmla="*/ 218663 h 374850"/>
                <a:gd name="connsiteX24" fmla="*/ 37613 w 177225"/>
                <a:gd name="connsiteY24" fmla="*/ 0 h 374850"/>
                <a:gd name="connsiteX25" fmla="*/ 37613 w 177225"/>
                <a:gd name="connsiteY25" fmla="*/ 0 h 3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225" h="374850">
                  <a:moveTo>
                    <a:pt x="37613" y="0"/>
                  </a:moveTo>
                  <a:lnTo>
                    <a:pt x="29325" y="10838"/>
                  </a:lnTo>
                  <a:lnTo>
                    <a:pt x="19125" y="8925"/>
                  </a:lnTo>
                  <a:lnTo>
                    <a:pt x="14025" y="51000"/>
                  </a:lnTo>
                  <a:lnTo>
                    <a:pt x="14025" y="51638"/>
                  </a:lnTo>
                  <a:lnTo>
                    <a:pt x="29325" y="109013"/>
                  </a:lnTo>
                  <a:lnTo>
                    <a:pt x="28050" y="120488"/>
                  </a:lnTo>
                  <a:lnTo>
                    <a:pt x="0" y="156825"/>
                  </a:lnTo>
                  <a:lnTo>
                    <a:pt x="7013" y="189976"/>
                  </a:lnTo>
                  <a:lnTo>
                    <a:pt x="7013" y="231413"/>
                  </a:lnTo>
                  <a:lnTo>
                    <a:pt x="1913" y="269663"/>
                  </a:lnTo>
                  <a:lnTo>
                    <a:pt x="31238" y="374851"/>
                  </a:lnTo>
                  <a:lnTo>
                    <a:pt x="31238" y="374851"/>
                  </a:lnTo>
                  <a:lnTo>
                    <a:pt x="31238" y="374851"/>
                  </a:lnTo>
                  <a:lnTo>
                    <a:pt x="58013" y="366563"/>
                  </a:lnTo>
                  <a:lnTo>
                    <a:pt x="138976" y="339151"/>
                  </a:lnTo>
                  <a:lnTo>
                    <a:pt x="175313" y="299626"/>
                  </a:lnTo>
                  <a:lnTo>
                    <a:pt x="175313" y="299626"/>
                  </a:lnTo>
                  <a:lnTo>
                    <a:pt x="175313" y="291338"/>
                  </a:lnTo>
                  <a:lnTo>
                    <a:pt x="177226" y="274763"/>
                  </a:lnTo>
                  <a:lnTo>
                    <a:pt x="172763" y="276676"/>
                  </a:lnTo>
                  <a:lnTo>
                    <a:pt x="172125" y="272851"/>
                  </a:lnTo>
                  <a:lnTo>
                    <a:pt x="131963" y="223125"/>
                  </a:lnTo>
                  <a:lnTo>
                    <a:pt x="131963" y="218663"/>
                  </a:lnTo>
                  <a:lnTo>
                    <a:pt x="37613" y="0"/>
                  </a:lnTo>
                  <a:lnTo>
                    <a:pt x="37613"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05" name="Freeform 44">
              <a:extLst>
                <a:ext uri="{FF2B5EF4-FFF2-40B4-BE49-F238E27FC236}">
                  <a16:creationId xmlns:a16="http://schemas.microsoft.com/office/drawing/2014/main" id="{FF042926-794B-A076-28D0-7FF1534DB18E}"/>
                </a:ext>
              </a:extLst>
            </p:cNvPr>
            <p:cNvSpPr/>
            <p:nvPr/>
          </p:nvSpPr>
          <p:spPr>
            <a:xfrm>
              <a:off x="7108969" y="1795185"/>
              <a:ext cx="85424" cy="106462"/>
            </a:xfrm>
            <a:custGeom>
              <a:avLst/>
              <a:gdLst>
                <a:gd name="connsiteX0" fmla="*/ 62475 w 85424"/>
                <a:gd name="connsiteY0" fmla="*/ 72038 h 106462"/>
                <a:gd name="connsiteX1" fmla="*/ 61838 w 85424"/>
                <a:gd name="connsiteY1" fmla="*/ 58650 h 106462"/>
                <a:gd name="connsiteX2" fmla="*/ 59925 w 85424"/>
                <a:gd name="connsiteY2" fmla="*/ 63750 h 106462"/>
                <a:gd name="connsiteX3" fmla="*/ 62475 w 85424"/>
                <a:gd name="connsiteY3" fmla="*/ 72038 h 106462"/>
                <a:gd name="connsiteX4" fmla="*/ 62475 w 85424"/>
                <a:gd name="connsiteY4" fmla="*/ 72038 h 106462"/>
                <a:gd name="connsiteX5" fmla="*/ 74588 w 85424"/>
                <a:gd name="connsiteY5" fmla="*/ 61838 h 106462"/>
                <a:gd name="connsiteX6" fmla="*/ 66300 w 85424"/>
                <a:gd name="connsiteY6" fmla="*/ 45900 h 106462"/>
                <a:gd name="connsiteX7" fmla="*/ 65663 w 85424"/>
                <a:gd name="connsiteY7" fmla="*/ 62475 h 106462"/>
                <a:gd name="connsiteX8" fmla="*/ 74588 w 85424"/>
                <a:gd name="connsiteY8" fmla="*/ 61838 h 106462"/>
                <a:gd name="connsiteX9" fmla="*/ 74588 w 85424"/>
                <a:gd name="connsiteY9" fmla="*/ 61838 h 106462"/>
                <a:gd name="connsiteX10" fmla="*/ 71400 w 85424"/>
                <a:gd name="connsiteY10" fmla="*/ 42075 h 106462"/>
                <a:gd name="connsiteX11" fmla="*/ 75862 w 85424"/>
                <a:gd name="connsiteY11" fmla="*/ 53550 h 106462"/>
                <a:gd name="connsiteX12" fmla="*/ 81600 w 85424"/>
                <a:gd name="connsiteY12" fmla="*/ 64388 h 106462"/>
                <a:gd name="connsiteX13" fmla="*/ 85425 w 85424"/>
                <a:gd name="connsiteY13" fmla="*/ 56738 h 106462"/>
                <a:gd name="connsiteX14" fmla="*/ 79688 w 85424"/>
                <a:gd name="connsiteY14" fmla="*/ 45263 h 106462"/>
                <a:gd name="connsiteX15" fmla="*/ 77775 w 85424"/>
                <a:gd name="connsiteY15" fmla="*/ 37613 h 106462"/>
                <a:gd name="connsiteX16" fmla="*/ 71400 w 85424"/>
                <a:gd name="connsiteY16" fmla="*/ 37613 h 106462"/>
                <a:gd name="connsiteX17" fmla="*/ 71400 w 85424"/>
                <a:gd name="connsiteY17" fmla="*/ 42075 h 106462"/>
                <a:gd name="connsiteX18" fmla="*/ 0 w 85424"/>
                <a:gd name="connsiteY18" fmla="*/ 15300 h 106462"/>
                <a:gd name="connsiteX19" fmla="*/ 2550 w 85424"/>
                <a:gd name="connsiteY19" fmla="*/ 22313 h 106462"/>
                <a:gd name="connsiteX20" fmla="*/ 22313 w 85424"/>
                <a:gd name="connsiteY20" fmla="*/ 77775 h 106462"/>
                <a:gd name="connsiteX21" fmla="*/ 26137 w 85424"/>
                <a:gd name="connsiteY21" fmla="*/ 91163 h 106462"/>
                <a:gd name="connsiteX22" fmla="*/ 26775 w 85424"/>
                <a:gd name="connsiteY22" fmla="*/ 106463 h 106462"/>
                <a:gd name="connsiteX23" fmla="*/ 28050 w 85424"/>
                <a:gd name="connsiteY23" fmla="*/ 104550 h 106462"/>
                <a:gd name="connsiteX24" fmla="*/ 59288 w 85424"/>
                <a:gd name="connsiteY24" fmla="*/ 80325 h 106462"/>
                <a:gd name="connsiteX25" fmla="*/ 53550 w 85424"/>
                <a:gd name="connsiteY25" fmla="*/ 36338 h 106462"/>
                <a:gd name="connsiteX26" fmla="*/ 66300 w 85424"/>
                <a:gd name="connsiteY26" fmla="*/ 33788 h 106462"/>
                <a:gd name="connsiteX27" fmla="*/ 66300 w 85424"/>
                <a:gd name="connsiteY27" fmla="*/ 33788 h 106462"/>
                <a:gd name="connsiteX28" fmla="*/ 37612 w 85424"/>
                <a:gd name="connsiteY28" fmla="*/ 0 h 106462"/>
                <a:gd name="connsiteX29" fmla="*/ 7650 w 85424"/>
                <a:gd name="connsiteY29" fmla="*/ 11475 h 106462"/>
                <a:gd name="connsiteX30" fmla="*/ 0 w 85424"/>
                <a:gd name="connsiteY30" fmla="*/ 15300 h 106462"/>
                <a:gd name="connsiteX31" fmla="*/ 0 w 85424"/>
                <a:gd name="connsiteY31" fmla="*/ 15300 h 1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424" h="106462">
                  <a:moveTo>
                    <a:pt x="62475" y="72038"/>
                  </a:moveTo>
                  <a:lnTo>
                    <a:pt x="61838" y="58650"/>
                  </a:lnTo>
                  <a:lnTo>
                    <a:pt x="59925" y="63750"/>
                  </a:lnTo>
                  <a:lnTo>
                    <a:pt x="62475" y="72038"/>
                  </a:lnTo>
                  <a:lnTo>
                    <a:pt x="62475" y="72038"/>
                  </a:lnTo>
                  <a:close/>
                  <a:moveTo>
                    <a:pt x="74588" y="61838"/>
                  </a:moveTo>
                  <a:lnTo>
                    <a:pt x="66300" y="45900"/>
                  </a:lnTo>
                  <a:lnTo>
                    <a:pt x="65663" y="62475"/>
                  </a:lnTo>
                  <a:lnTo>
                    <a:pt x="74588" y="61838"/>
                  </a:lnTo>
                  <a:lnTo>
                    <a:pt x="74588" y="61838"/>
                  </a:lnTo>
                  <a:close/>
                  <a:moveTo>
                    <a:pt x="71400" y="42075"/>
                  </a:moveTo>
                  <a:lnTo>
                    <a:pt x="75862" y="53550"/>
                  </a:lnTo>
                  <a:lnTo>
                    <a:pt x="81600" y="64388"/>
                  </a:lnTo>
                  <a:lnTo>
                    <a:pt x="85425" y="56738"/>
                  </a:lnTo>
                  <a:lnTo>
                    <a:pt x="79688" y="45263"/>
                  </a:lnTo>
                  <a:lnTo>
                    <a:pt x="77775" y="37613"/>
                  </a:lnTo>
                  <a:lnTo>
                    <a:pt x="71400" y="37613"/>
                  </a:lnTo>
                  <a:lnTo>
                    <a:pt x="71400" y="42075"/>
                  </a:lnTo>
                  <a:close/>
                  <a:moveTo>
                    <a:pt x="0" y="15300"/>
                  </a:moveTo>
                  <a:lnTo>
                    <a:pt x="2550" y="22313"/>
                  </a:lnTo>
                  <a:lnTo>
                    <a:pt x="22313" y="77775"/>
                  </a:lnTo>
                  <a:lnTo>
                    <a:pt x="26137" y="91163"/>
                  </a:lnTo>
                  <a:lnTo>
                    <a:pt x="26775" y="106463"/>
                  </a:lnTo>
                  <a:lnTo>
                    <a:pt x="28050" y="104550"/>
                  </a:lnTo>
                  <a:lnTo>
                    <a:pt x="59288" y="80325"/>
                  </a:lnTo>
                  <a:lnTo>
                    <a:pt x="53550" y="36338"/>
                  </a:lnTo>
                  <a:lnTo>
                    <a:pt x="66300" y="33788"/>
                  </a:lnTo>
                  <a:lnTo>
                    <a:pt x="66300" y="33788"/>
                  </a:lnTo>
                  <a:lnTo>
                    <a:pt x="37612" y="0"/>
                  </a:lnTo>
                  <a:lnTo>
                    <a:pt x="7650" y="11475"/>
                  </a:lnTo>
                  <a:lnTo>
                    <a:pt x="0" y="15300"/>
                  </a:lnTo>
                  <a:lnTo>
                    <a:pt x="0" y="1530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06" name="Freeform 45">
              <a:extLst>
                <a:ext uri="{FF2B5EF4-FFF2-40B4-BE49-F238E27FC236}">
                  <a16:creationId xmlns:a16="http://schemas.microsoft.com/office/drawing/2014/main" id="{3E6D42D6-0CFB-6A85-7B1C-06AA5AB456F2}"/>
                </a:ext>
              </a:extLst>
            </p:cNvPr>
            <p:cNvSpPr/>
            <p:nvPr/>
          </p:nvSpPr>
          <p:spPr>
            <a:xfrm>
              <a:off x="6836756" y="1417147"/>
              <a:ext cx="179137" cy="349988"/>
            </a:xfrm>
            <a:custGeom>
              <a:avLst/>
              <a:gdLst>
                <a:gd name="connsiteX0" fmla="*/ 179138 w 179137"/>
                <a:gd name="connsiteY0" fmla="*/ 323213 h 349988"/>
                <a:gd name="connsiteX1" fmla="*/ 149813 w 179137"/>
                <a:gd name="connsiteY1" fmla="*/ 218025 h 349988"/>
                <a:gd name="connsiteX2" fmla="*/ 154913 w 179137"/>
                <a:gd name="connsiteY2" fmla="*/ 179775 h 349988"/>
                <a:gd name="connsiteX3" fmla="*/ 154913 w 179137"/>
                <a:gd name="connsiteY3" fmla="*/ 138338 h 349988"/>
                <a:gd name="connsiteX4" fmla="*/ 147900 w 179137"/>
                <a:gd name="connsiteY4" fmla="*/ 105188 h 349988"/>
                <a:gd name="connsiteX5" fmla="*/ 175950 w 179137"/>
                <a:gd name="connsiteY5" fmla="*/ 68850 h 349988"/>
                <a:gd name="connsiteX6" fmla="*/ 177225 w 179137"/>
                <a:gd name="connsiteY6" fmla="*/ 57375 h 349988"/>
                <a:gd name="connsiteX7" fmla="*/ 161925 w 179137"/>
                <a:gd name="connsiteY7" fmla="*/ 0 h 349988"/>
                <a:gd name="connsiteX8" fmla="*/ 153638 w 179137"/>
                <a:gd name="connsiteY8" fmla="*/ 3188 h 349988"/>
                <a:gd name="connsiteX9" fmla="*/ 118575 w 179137"/>
                <a:gd name="connsiteY9" fmla="*/ 15938 h 349988"/>
                <a:gd name="connsiteX10" fmla="*/ 84150 w 179137"/>
                <a:gd name="connsiteY10" fmla="*/ 29325 h 349988"/>
                <a:gd name="connsiteX11" fmla="*/ 4463 w 179137"/>
                <a:gd name="connsiteY11" fmla="*/ 58650 h 349988"/>
                <a:gd name="connsiteX12" fmla="*/ 0 w 179137"/>
                <a:gd name="connsiteY12" fmla="*/ 59925 h 349988"/>
                <a:gd name="connsiteX13" fmla="*/ 29325 w 179137"/>
                <a:gd name="connsiteY13" fmla="*/ 127500 h 349988"/>
                <a:gd name="connsiteX14" fmla="*/ 39525 w 179137"/>
                <a:gd name="connsiteY14" fmla="*/ 191250 h 349988"/>
                <a:gd name="connsiteX15" fmla="*/ 73313 w 179137"/>
                <a:gd name="connsiteY15" fmla="*/ 244800 h 349988"/>
                <a:gd name="connsiteX16" fmla="*/ 105825 w 179137"/>
                <a:gd name="connsiteY16" fmla="*/ 349988 h 349988"/>
                <a:gd name="connsiteX17" fmla="*/ 107100 w 179137"/>
                <a:gd name="connsiteY17" fmla="*/ 349351 h 349988"/>
                <a:gd name="connsiteX18" fmla="*/ 112200 w 179137"/>
                <a:gd name="connsiteY18" fmla="*/ 347438 h 349988"/>
                <a:gd name="connsiteX19" fmla="*/ 126863 w 179137"/>
                <a:gd name="connsiteY19" fmla="*/ 342976 h 349988"/>
                <a:gd name="connsiteX20" fmla="*/ 139613 w 179137"/>
                <a:gd name="connsiteY20" fmla="*/ 338513 h 349988"/>
                <a:gd name="connsiteX21" fmla="*/ 175950 w 179137"/>
                <a:gd name="connsiteY21" fmla="*/ 327038 h 349988"/>
                <a:gd name="connsiteX22" fmla="*/ 179138 w 179137"/>
                <a:gd name="connsiteY22" fmla="*/ 323213 h 349988"/>
                <a:gd name="connsiteX23" fmla="*/ 179138 w 179137"/>
                <a:gd name="connsiteY23" fmla="*/ 323213 h 349988"/>
                <a:gd name="connsiteX24" fmla="*/ 179138 w 179137"/>
                <a:gd name="connsiteY24" fmla="*/ 323213 h 34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137" h="349988">
                  <a:moveTo>
                    <a:pt x="179138" y="323213"/>
                  </a:moveTo>
                  <a:lnTo>
                    <a:pt x="149813" y="218025"/>
                  </a:lnTo>
                  <a:lnTo>
                    <a:pt x="154913" y="179775"/>
                  </a:lnTo>
                  <a:lnTo>
                    <a:pt x="154913" y="138338"/>
                  </a:lnTo>
                  <a:lnTo>
                    <a:pt x="147900" y="105188"/>
                  </a:lnTo>
                  <a:lnTo>
                    <a:pt x="175950" y="68850"/>
                  </a:lnTo>
                  <a:lnTo>
                    <a:pt x="177225" y="57375"/>
                  </a:lnTo>
                  <a:lnTo>
                    <a:pt x="161925" y="0"/>
                  </a:lnTo>
                  <a:lnTo>
                    <a:pt x="153638" y="3188"/>
                  </a:lnTo>
                  <a:lnTo>
                    <a:pt x="118575" y="15938"/>
                  </a:lnTo>
                  <a:lnTo>
                    <a:pt x="84150" y="29325"/>
                  </a:lnTo>
                  <a:lnTo>
                    <a:pt x="4463" y="58650"/>
                  </a:lnTo>
                  <a:lnTo>
                    <a:pt x="0" y="59925"/>
                  </a:lnTo>
                  <a:lnTo>
                    <a:pt x="29325" y="127500"/>
                  </a:lnTo>
                  <a:lnTo>
                    <a:pt x="39525" y="191250"/>
                  </a:lnTo>
                  <a:lnTo>
                    <a:pt x="73313" y="244800"/>
                  </a:lnTo>
                  <a:lnTo>
                    <a:pt x="105825" y="349988"/>
                  </a:lnTo>
                  <a:lnTo>
                    <a:pt x="107100" y="349351"/>
                  </a:lnTo>
                  <a:lnTo>
                    <a:pt x="112200" y="347438"/>
                  </a:lnTo>
                  <a:lnTo>
                    <a:pt x="126863" y="342976"/>
                  </a:lnTo>
                  <a:lnTo>
                    <a:pt x="139613" y="338513"/>
                  </a:lnTo>
                  <a:lnTo>
                    <a:pt x="175950" y="327038"/>
                  </a:lnTo>
                  <a:lnTo>
                    <a:pt x="179138" y="323213"/>
                  </a:lnTo>
                  <a:lnTo>
                    <a:pt x="179138" y="323213"/>
                  </a:lnTo>
                  <a:lnTo>
                    <a:pt x="179138" y="3232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07" name="Freeform 46">
              <a:extLst>
                <a:ext uri="{FF2B5EF4-FFF2-40B4-BE49-F238E27FC236}">
                  <a16:creationId xmlns:a16="http://schemas.microsoft.com/office/drawing/2014/main" id="{E882DE3D-530E-B20E-A3C4-B4A873589E9B}"/>
                </a:ext>
              </a:extLst>
            </p:cNvPr>
            <p:cNvSpPr/>
            <p:nvPr/>
          </p:nvSpPr>
          <p:spPr>
            <a:xfrm>
              <a:off x="5660566" y="3099513"/>
              <a:ext cx="429676" cy="664276"/>
            </a:xfrm>
            <a:custGeom>
              <a:avLst/>
              <a:gdLst>
                <a:gd name="connsiteX0" fmla="*/ 637 w 429676"/>
                <a:gd name="connsiteY0" fmla="*/ 43350 h 664276"/>
                <a:gd name="connsiteX1" fmla="*/ 3188 w 429676"/>
                <a:gd name="connsiteY1" fmla="*/ 48450 h 664276"/>
                <a:gd name="connsiteX2" fmla="*/ 12750 w 429676"/>
                <a:gd name="connsiteY2" fmla="*/ 54188 h 664276"/>
                <a:gd name="connsiteX3" fmla="*/ 16575 w 429676"/>
                <a:gd name="connsiteY3" fmla="*/ 317476 h 664276"/>
                <a:gd name="connsiteX4" fmla="*/ 17850 w 429676"/>
                <a:gd name="connsiteY4" fmla="*/ 461551 h 664276"/>
                <a:gd name="connsiteX5" fmla="*/ 51000 w 429676"/>
                <a:gd name="connsiteY5" fmla="*/ 659177 h 664276"/>
                <a:gd name="connsiteX6" fmla="*/ 53550 w 429676"/>
                <a:gd name="connsiteY6" fmla="*/ 658539 h 664276"/>
                <a:gd name="connsiteX7" fmla="*/ 82875 w 429676"/>
                <a:gd name="connsiteY7" fmla="*/ 664276 h 664276"/>
                <a:gd name="connsiteX8" fmla="*/ 90525 w 429676"/>
                <a:gd name="connsiteY8" fmla="*/ 607539 h 664276"/>
                <a:gd name="connsiteX9" fmla="*/ 103275 w 429676"/>
                <a:gd name="connsiteY9" fmla="*/ 640051 h 664276"/>
                <a:gd name="connsiteX10" fmla="*/ 124950 w 429676"/>
                <a:gd name="connsiteY10" fmla="*/ 659814 h 664276"/>
                <a:gd name="connsiteX11" fmla="*/ 166388 w 429676"/>
                <a:gd name="connsiteY11" fmla="*/ 635589 h 664276"/>
                <a:gd name="connsiteX12" fmla="*/ 161925 w 429676"/>
                <a:gd name="connsiteY12" fmla="*/ 631764 h 664276"/>
                <a:gd name="connsiteX13" fmla="*/ 163200 w 429676"/>
                <a:gd name="connsiteY13" fmla="*/ 632401 h 664276"/>
                <a:gd name="connsiteX14" fmla="*/ 133875 w 429676"/>
                <a:gd name="connsiteY14" fmla="*/ 566101 h 664276"/>
                <a:gd name="connsiteX15" fmla="*/ 411188 w 429676"/>
                <a:gd name="connsiteY15" fmla="*/ 520839 h 664276"/>
                <a:gd name="connsiteX16" fmla="*/ 429676 w 429676"/>
                <a:gd name="connsiteY16" fmla="*/ 517651 h 664276"/>
                <a:gd name="connsiteX17" fmla="*/ 429676 w 429676"/>
                <a:gd name="connsiteY17" fmla="*/ 517013 h 664276"/>
                <a:gd name="connsiteX18" fmla="*/ 412463 w 429676"/>
                <a:gd name="connsiteY18" fmla="*/ 483864 h 664276"/>
                <a:gd name="connsiteX19" fmla="*/ 411188 w 429676"/>
                <a:gd name="connsiteY19" fmla="*/ 436688 h 664276"/>
                <a:gd name="connsiteX20" fmla="*/ 397163 w 429676"/>
                <a:gd name="connsiteY20" fmla="*/ 411188 h 664276"/>
                <a:gd name="connsiteX21" fmla="*/ 404176 w 429676"/>
                <a:gd name="connsiteY21" fmla="*/ 360826 h 664276"/>
                <a:gd name="connsiteX22" fmla="*/ 415651 w 429676"/>
                <a:gd name="connsiteY22" fmla="*/ 348076 h 664276"/>
                <a:gd name="connsiteX23" fmla="*/ 367838 w 429676"/>
                <a:gd name="connsiteY23" fmla="*/ 263288 h 664276"/>
                <a:gd name="connsiteX24" fmla="*/ 281776 w 429676"/>
                <a:gd name="connsiteY24" fmla="*/ 1275 h 664276"/>
                <a:gd name="connsiteX25" fmla="*/ 281138 w 429676"/>
                <a:gd name="connsiteY25" fmla="*/ 0 h 664276"/>
                <a:gd name="connsiteX26" fmla="*/ 262013 w 429676"/>
                <a:gd name="connsiteY26" fmla="*/ 3188 h 664276"/>
                <a:gd name="connsiteX27" fmla="*/ 159375 w 429676"/>
                <a:gd name="connsiteY27" fmla="*/ 19762 h 664276"/>
                <a:gd name="connsiteX28" fmla="*/ 107738 w 429676"/>
                <a:gd name="connsiteY28" fmla="*/ 26137 h 664276"/>
                <a:gd name="connsiteX29" fmla="*/ 0 w 429676"/>
                <a:gd name="connsiteY29" fmla="*/ 40800 h 664276"/>
                <a:gd name="connsiteX30" fmla="*/ 637 w 429676"/>
                <a:gd name="connsiteY30" fmla="*/ 43350 h 664276"/>
                <a:gd name="connsiteX31" fmla="*/ 637 w 429676"/>
                <a:gd name="connsiteY31" fmla="*/ 43350 h 66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9676" h="664276">
                  <a:moveTo>
                    <a:pt x="637" y="43350"/>
                  </a:moveTo>
                  <a:lnTo>
                    <a:pt x="3188" y="48450"/>
                  </a:lnTo>
                  <a:lnTo>
                    <a:pt x="12750" y="54188"/>
                  </a:lnTo>
                  <a:lnTo>
                    <a:pt x="16575" y="317476"/>
                  </a:lnTo>
                  <a:lnTo>
                    <a:pt x="17850" y="461551"/>
                  </a:lnTo>
                  <a:lnTo>
                    <a:pt x="51000" y="659177"/>
                  </a:lnTo>
                  <a:lnTo>
                    <a:pt x="53550" y="658539"/>
                  </a:lnTo>
                  <a:lnTo>
                    <a:pt x="82875" y="664276"/>
                  </a:lnTo>
                  <a:lnTo>
                    <a:pt x="90525" y="607539"/>
                  </a:lnTo>
                  <a:lnTo>
                    <a:pt x="103275" y="640051"/>
                  </a:lnTo>
                  <a:lnTo>
                    <a:pt x="124950" y="659814"/>
                  </a:lnTo>
                  <a:lnTo>
                    <a:pt x="166388" y="635589"/>
                  </a:lnTo>
                  <a:lnTo>
                    <a:pt x="161925" y="631764"/>
                  </a:lnTo>
                  <a:lnTo>
                    <a:pt x="163200" y="632401"/>
                  </a:lnTo>
                  <a:lnTo>
                    <a:pt x="133875" y="566101"/>
                  </a:lnTo>
                  <a:lnTo>
                    <a:pt x="411188" y="520839"/>
                  </a:lnTo>
                  <a:lnTo>
                    <a:pt x="429676" y="517651"/>
                  </a:lnTo>
                  <a:lnTo>
                    <a:pt x="429676" y="517013"/>
                  </a:lnTo>
                  <a:lnTo>
                    <a:pt x="412463" y="483864"/>
                  </a:lnTo>
                  <a:lnTo>
                    <a:pt x="411188" y="436688"/>
                  </a:lnTo>
                  <a:lnTo>
                    <a:pt x="397163" y="411188"/>
                  </a:lnTo>
                  <a:lnTo>
                    <a:pt x="404176" y="360826"/>
                  </a:lnTo>
                  <a:lnTo>
                    <a:pt x="415651" y="348076"/>
                  </a:lnTo>
                  <a:lnTo>
                    <a:pt x="367838" y="263288"/>
                  </a:lnTo>
                  <a:lnTo>
                    <a:pt x="281776" y="1275"/>
                  </a:lnTo>
                  <a:lnTo>
                    <a:pt x="281138" y="0"/>
                  </a:lnTo>
                  <a:lnTo>
                    <a:pt x="262013" y="3188"/>
                  </a:lnTo>
                  <a:lnTo>
                    <a:pt x="159375" y="19762"/>
                  </a:lnTo>
                  <a:lnTo>
                    <a:pt x="107738" y="26137"/>
                  </a:lnTo>
                  <a:lnTo>
                    <a:pt x="0" y="40800"/>
                  </a:lnTo>
                  <a:lnTo>
                    <a:pt x="637" y="43350"/>
                  </a:lnTo>
                  <a:lnTo>
                    <a:pt x="637" y="433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08" name="Freeform 47">
              <a:extLst>
                <a:ext uri="{FF2B5EF4-FFF2-40B4-BE49-F238E27FC236}">
                  <a16:creationId xmlns:a16="http://schemas.microsoft.com/office/drawing/2014/main" id="{E6F4BD43-0290-ACB7-9144-AFCF92C281BE}"/>
                </a:ext>
              </a:extLst>
            </p:cNvPr>
            <p:cNvSpPr/>
            <p:nvPr/>
          </p:nvSpPr>
          <p:spPr>
            <a:xfrm>
              <a:off x="5794442" y="3573814"/>
              <a:ext cx="981751" cy="838314"/>
            </a:xfrm>
            <a:custGeom>
              <a:avLst/>
              <a:gdLst>
                <a:gd name="connsiteX0" fmla="*/ 769464 w 981751"/>
                <a:gd name="connsiteY0" fmla="*/ 829389 h 838314"/>
                <a:gd name="connsiteX1" fmla="*/ 768189 w 981751"/>
                <a:gd name="connsiteY1" fmla="*/ 829389 h 838314"/>
                <a:gd name="connsiteX2" fmla="*/ 769464 w 981751"/>
                <a:gd name="connsiteY2" fmla="*/ 829389 h 838314"/>
                <a:gd name="connsiteX3" fmla="*/ 769464 w 981751"/>
                <a:gd name="connsiteY3" fmla="*/ 829389 h 838314"/>
                <a:gd name="connsiteX4" fmla="*/ 769464 w 981751"/>
                <a:gd name="connsiteY4" fmla="*/ 829389 h 838314"/>
                <a:gd name="connsiteX5" fmla="*/ 763089 w 981751"/>
                <a:gd name="connsiteY5" fmla="*/ 828752 h 838314"/>
                <a:gd name="connsiteX6" fmla="*/ 763089 w 981751"/>
                <a:gd name="connsiteY6" fmla="*/ 828752 h 838314"/>
                <a:gd name="connsiteX7" fmla="*/ 763089 w 981751"/>
                <a:gd name="connsiteY7" fmla="*/ 828752 h 838314"/>
                <a:gd name="connsiteX8" fmla="*/ 763089 w 981751"/>
                <a:gd name="connsiteY8" fmla="*/ 828752 h 838314"/>
                <a:gd name="connsiteX9" fmla="*/ 764364 w 981751"/>
                <a:gd name="connsiteY9" fmla="*/ 828114 h 838314"/>
                <a:gd name="connsiteX10" fmla="*/ 764364 w 981751"/>
                <a:gd name="connsiteY10" fmla="*/ 828114 h 838314"/>
                <a:gd name="connsiteX11" fmla="*/ 764364 w 981751"/>
                <a:gd name="connsiteY11" fmla="*/ 828114 h 838314"/>
                <a:gd name="connsiteX12" fmla="*/ 764364 w 981751"/>
                <a:gd name="connsiteY12" fmla="*/ 828114 h 838314"/>
                <a:gd name="connsiteX13" fmla="*/ 677026 w 981751"/>
                <a:gd name="connsiteY13" fmla="*/ 837676 h 838314"/>
                <a:gd name="connsiteX14" fmla="*/ 677026 w 981751"/>
                <a:gd name="connsiteY14" fmla="*/ 837676 h 838314"/>
                <a:gd name="connsiteX15" fmla="*/ 677026 w 981751"/>
                <a:gd name="connsiteY15" fmla="*/ 837676 h 838314"/>
                <a:gd name="connsiteX16" fmla="*/ 677026 w 981751"/>
                <a:gd name="connsiteY16" fmla="*/ 837676 h 838314"/>
                <a:gd name="connsiteX17" fmla="*/ 675751 w 981751"/>
                <a:gd name="connsiteY17" fmla="*/ 838314 h 838314"/>
                <a:gd name="connsiteX18" fmla="*/ 675751 w 981751"/>
                <a:gd name="connsiteY18" fmla="*/ 838314 h 838314"/>
                <a:gd name="connsiteX19" fmla="*/ 675751 w 981751"/>
                <a:gd name="connsiteY19" fmla="*/ 838314 h 838314"/>
                <a:gd name="connsiteX20" fmla="*/ 675751 w 981751"/>
                <a:gd name="connsiteY20" fmla="*/ 838314 h 838314"/>
                <a:gd name="connsiteX21" fmla="*/ 676389 w 981751"/>
                <a:gd name="connsiteY21" fmla="*/ 837676 h 838314"/>
                <a:gd name="connsiteX22" fmla="*/ 676389 w 981751"/>
                <a:gd name="connsiteY22" fmla="*/ 837676 h 838314"/>
                <a:gd name="connsiteX23" fmla="*/ 676389 w 981751"/>
                <a:gd name="connsiteY23" fmla="*/ 837676 h 838314"/>
                <a:gd name="connsiteX24" fmla="*/ 676389 w 981751"/>
                <a:gd name="connsiteY24" fmla="*/ 837676 h 838314"/>
                <a:gd name="connsiteX25" fmla="*/ 670014 w 981751"/>
                <a:gd name="connsiteY25" fmla="*/ 838314 h 838314"/>
                <a:gd name="connsiteX26" fmla="*/ 670014 w 981751"/>
                <a:gd name="connsiteY26" fmla="*/ 838314 h 838314"/>
                <a:gd name="connsiteX27" fmla="*/ 670014 w 981751"/>
                <a:gd name="connsiteY27" fmla="*/ 838314 h 838314"/>
                <a:gd name="connsiteX28" fmla="*/ 670014 w 981751"/>
                <a:gd name="connsiteY28" fmla="*/ 838314 h 838314"/>
                <a:gd name="connsiteX29" fmla="*/ 852339 w 981751"/>
                <a:gd name="connsiteY29" fmla="*/ 797514 h 838314"/>
                <a:gd name="connsiteX30" fmla="*/ 852339 w 981751"/>
                <a:gd name="connsiteY30" fmla="*/ 797514 h 838314"/>
                <a:gd name="connsiteX31" fmla="*/ 852339 w 981751"/>
                <a:gd name="connsiteY31" fmla="*/ 798789 h 838314"/>
                <a:gd name="connsiteX32" fmla="*/ 852339 w 981751"/>
                <a:gd name="connsiteY32" fmla="*/ 797514 h 838314"/>
                <a:gd name="connsiteX33" fmla="*/ 869552 w 981751"/>
                <a:gd name="connsiteY33" fmla="*/ 793051 h 838314"/>
                <a:gd name="connsiteX34" fmla="*/ 869552 w 981751"/>
                <a:gd name="connsiteY34" fmla="*/ 791776 h 838314"/>
                <a:gd name="connsiteX35" fmla="*/ 868277 w 981751"/>
                <a:gd name="connsiteY35" fmla="*/ 793689 h 838314"/>
                <a:gd name="connsiteX36" fmla="*/ 869552 w 981751"/>
                <a:gd name="connsiteY36" fmla="*/ 793051 h 838314"/>
                <a:gd name="connsiteX37" fmla="*/ 869552 w 981751"/>
                <a:gd name="connsiteY37" fmla="*/ 793051 h 838314"/>
                <a:gd name="connsiteX38" fmla="*/ 863814 w 981751"/>
                <a:gd name="connsiteY38" fmla="*/ 792414 h 838314"/>
                <a:gd name="connsiteX39" fmla="*/ 861264 w 981751"/>
                <a:gd name="connsiteY39" fmla="*/ 789864 h 838314"/>
                <a:gd name="connsiteX40" fmla="*/ 860627 w 981751"/>
                <a:gd name="connsiteY40" fmla="*/ 790502 h 838314"/>
                <a:gd name="connsiteX41" fmla="*/ 863814 w 981751"/>
                <a:gd name="connsiteY41" fmla="*/ 792414 h 838314"/>
                <a:gd name="connsiteX42" fmla="*/ 863814 w 981751"/>
                <a:gd name="connsiteY42" fmla="*/ 792414 h 838314"/>
                <a:gd name="connsiteX43" fmla="*/ 861902 w 981751"/>
                <a:gd name="connsiteY43" fmla="*/ 796877 h 838314"/>
                <a:gd name="connsiteX44" fmla="*/ 854252 w 981751"/>
                <a:gd name="connsiteY44" fmla="*/ 786676 h 838314"/>
                <a:gd name="connsiteX45" fmla="*/ 858714 w 981751"/>
                <a:gd name="connsiteY45" fmla="*/ 794964 h 838314"/>
                <a:gd name="connsiteX46" fmla="*/ 861902 w 981751"/>
                <a:gd name="connsiteY46" fmla="*/ 796877 h 838314"/>
                <a:gd name="connsiteX47" fmla="*/ 861902 w 981751"/>
                <a:gd name="connsiteY47" fmla="*/ 796877 h 838314"/>
                <a:gd name="connsiteX48" fmla="*/ 922464 w 981751"/>
                <a:gd name="connsiteY48" fmla="*/ 759264 h 838314"/>
                <a:gd name="connsiteX49" fmla="*/ 922464 w 981751"/>
                <a:gd name="connsiteY49" fmla="*/ 761814 h 838314"/>
                <a:gd name="connsiteX50" fmla="*/ 923740 w 981751"/>
                <a:gd name="connsiteY50" fmla="*/ 760539 h 838314"/>
                <a:gd name="connsiteX51" fmla="*/ 922464 w 981751"/>
                <a:gd name="connsiteY51" fmla="*/ 759264 h 838314"/>
                <a:gd name="connsiteX52" fmla="*/ 931389 w 981751"/>
                <a:gd name="connsiteY52" fmla="*/ 752889 h 838314"/>
                <a:gd name="connsiteX53" fmla="*/ 933302 w 981751"/>
                <a:gd name="connsiteY53" fmla="*/ 749701 h 838314"/>
                <a:gd name="connsiteX54" fmla="*/ 931389 w 981751"/>
                <a:gd name="connsiteY54" fmla="*/ 752889 h 838314"/>
                <a:gd name="connsiteX55" fmla="*/ 931389 w 981751"/>
                <a:gd name="connsiteY55" fmla="*/ 752889 h 838314"/>
                <a:gd name="connsiteX56" fmla="*/ 931389 w 981751"/>
                <a:gd name="connsiteY56" fmla="*/ 752889 h 838314"/>
                <a:gd name="connsiteX57" fmla="*/ 933302 w 981751"/>
                <a:gd name="connsiteY57" fmla="*/ 746514 h 838314"/>
                <a:gd name="connsiteX58" fmla="*/ 933302 w 981751"/>
                <a:gd name="connsiteY58" fmla="*/ 746514 h 838314"/>
                <a:gd name="connsiteX59" fmla="*/ 933302 w 981751"/>
                <a:gd name="connsiteY59" fmla="*/ 746514 h 838314"/>
                <a:gd name="connsiteX60" fmla="*/ 933302 w 981751"/>
                <a:gd name="connsiteY60" fmla="*/ 746514 h 838314"/>
                <a:gd name="connsiteX61" fmla="*/ 921827 w 981751"/>
                <a:gd name="connsiteY61" fmla="*/ 744601 h 838314"/>
                <a:gd name="connsiteX62" fmla="*/ 921827 w 981751"/>
                <a:gd name="connsiteY62" fmla="*/ 744601 h 838314"/>
                <a:gd name="connsiteX63" fmla="*/ 921827 w 981751"/>
                <a:gd name="connsiteY63" fmla="*/ 744601 h 838314"/>
                <a:gd name="connsiteX64" fmla="*/ 921827 w 981751"/>
                <a:gd name="connsiteY64" fmla="*/ 744601 h 838314"/>
                <a:gd name="connsiteX65" fmla="*/ 928202 w 981751"/>
                <a:gd name="connsiteY65" fmla="*/ 735039 h 838314"/>
                <a:gd name="connsiteX66" fmla="*/ 928202 w 981751"/>
                <a:gd name="connsiteY66" fmla="*/ 735039 h 838314"/>
                <a:gd name="connsiteX67" fmla="*/ 928202 w 981751"/>
                <a:gd name="connsiteY67" fmla="*/ 735039 h 838314"/>
                <a:gd name="connsiteX68" fmla="*/ 928202 w 981751"/>
                <a:gd name="connsiteY68" fmla="*/ 735039 h 838314"/>
                <a:gd name="connsiteX69" fmla="*/ 928202 w 981751"/>
                <a:gd name="connsiteY69" fmla="*/ 735039 h 838314"/>
                <a:gd name="connsiteX70" fmla="*/ 910352 w 981751"/>
                <a:gd name="connsiteY70" fmla="*/ 734401 h 838314"/>
                <a:gd name="connsiteX71" fmla="*/ 910352 w 981751"/>
                <a:gd name="connsiteY71" fmla="*/ 734401 h 838314"/>
                <a:gd name="connsiteX72" fmla="*/ 910352 w 981751"/>
                <a:gd name="connsiteY72" fmla="*/ 734401 h 838314"/>
                <a:gd name="connsiteX73" fmla="*/ 910352 w 981751"/>
                <a:gd name="connsiteY73" fmla="*/ 734401 h 838314"/>
                <a:gd name="connsiteX74" fmla="*/ 932027 w 981751"/>
                <a:gd name="connsiteY74" fmla="*/ 719739 h 838314"/>
                <a:gd name="connsiteX75" fmla="*/ 930752 w 981751"/>
                <a:gd name="connsiteY75" fmla="*/ 720376 h 838314"/>
                <a:gd name="connsiteX76" fmla="*/ 932664 w 981751"/>
                <a:gd name="connsiteY76" fmla="*/ 721014 h 838314"/>
                <a:gd name="connsiteX77" fmla="*/ 932027 w 981751"/>
                <a:gd name="connsiteY77" fmla="*/ 719739 h 838314"/>
                <a:gd name="connsiteX78" fmla="*/ 932027 w 981751"/>
                <a:gd name="connsiteY78" fmla="*/ 719739 h 838314"/>
                <a:gd name="connsiteX79" fmla="*/ 934577 w 981751"/>
                <a:gd name="connsiteY79" fmla="*/ 719739 h 838314"/>
                <a:gd name="connsiteX80" fmla="*/ 933302 w 981751"/>
                <a:gd name="connsiteY80" fmla="*/ 718464 h 838314"/>
                <a:gd name="connsiteX81" fmla="*/ 934577 w 981751"/>
                <a:gd name="connsiteY81" fmla="*/ 719739 h 838314"/>
                <a:gd name="connsiteX82" fmla="*/ 934577 w 981751"/>
                <a:gd name="connsiteY82" fmla="*/ 719739 h 838314"/>
                <a:gd name="connsiteX83" fmla="*/ 934577 w 981751"/>
                <a:gd name="connsiteY83" fmla="*/ 719739 h 838314"/>
                <a:gd name="connsiteX84" fmla="*/ 930115 w 981751"/>
                <a:gd name="connsiteY84" fmla="*/ 718464 h 838314"/>
                <a:gd name="connsiteX85" fmla="*/ 930115 w 981751"/>
                <a:gd name="connsiteY85" fmla="*/ 718464 h 838314"/>
                <a:gd name="connsiteX86" fmla="*/ 930115 w 981751"/>
                <a:gd name="connsiteY86" fmla="*/ 718464 h 838314"/>
                <a:gd name="connsiteX87" fmla="*/ 930115 w 981751"/>
                <a:gd name="connsiteY87" fmla="*/ 718464 h 838314"/>
                <a:gd name="connsiteX88" fmla="*/ 930115 w 981751"/>
                <a:gd name="connsiteY88" fmla="*/ 718464 h 838314"/>
                <a:gd name="connsiteX89" fmla="*/ 953702 w 981751"/>
                <a:gd name="connsiteY89" fmla="*/ 714001 h 838314"/>
                <a:gd name="connsiteX90" fmla="*/ 953702 w 981751"/>
                <a:gd name="connsiteY90" fmla="*/ 714001 h 838314"/>
                <a:gd name="connsiteX91" fmla="*/ 952427 w 981751"/>
                <a:gd name="connsiteY91" fmla="*/ 715914 h 838314"/>
                <a:gd name="connsiteX92" fmla="*/ 953702 w 981751"/>
                <a:gd name="connsiteY92" fmla="*/ 714001 h 838314"/>
                <a:gd name="connsiteX93" fmla="*/ 953702 w 981751"/>
                <a:gd name="connsiteY93" fmla="*/ 714001 h 838314"/>
                <a:gd name="connsiteX94" fmla="*/ 927564 w 981751"/>
                <a:gd name="connsiteY94" fmla="*/ 716551 h 838314"/>
                <a:gd name="connsiteX95" fmla="*/ 926289 w 981751"/>
                <a:gd name="connsiteY95" fmla="*/ 716551 h 838314"/>
                <a:gd name="connsiteX96" fmla="*/ 927564 w 981751"/>
                <a:gd name="connsiteY96" fmla="*/ 716551 h 838314"/>
                <a:gd name="connsiteX97" fmla="*/ 927564 w 981751"/>
                <a:gd name="connsiteY97" fmla="*/ 716551 h 838314"/>
                <a:gd name="connsiteX98" fmla="*/ 940952 w 981751"/>
                <a:gd name="connsiteY98" fmla="*/ 708264 h 838314"/>
                <a:gd name="connsiteX99" fmla="*/ 939039 w 981751"/>
                <a:gd name="connsiteY99" fmla="*/ 708264 h 838314"/>
                <a:gd name="connsiteX100" fmla="*/ 938402 w 981751"/>
                <a:gd name="connsiteY100" fmla="*/ 708901 h 838314"/>
                <a:gd name="connsiteX101" fmla="*/ 940952 w 981751"/>
                <a:gd name="connsiteY101" fmla="*/ 708264 h 838314"/>
                <a:gd name="connsiteX102" fmla="*/ 940952 w 981751"/>
                <a:gd name="connsiteY102" fmla="*/ 708264 h 838314"/>
                <a:gd name="connsiteX103" fmla="*/ 946052 w 981751"/>
                <a:gd name="connsiteY103" fmla="*/ 705714 h 838314"/>
                <a:gd name="connsiteX104" fmla="*/ 946052 w 981751"/>
                <a:gd name="connsiteY104" fmla="*/ 705714 h 838314"/>
                <a:gd name="connsiteX105" fmla="*/ 946052 w 981751"/>
                <a:gd name="connsiteY105" fmla="*/ 705714 h 838314"/>
                <a:gd name="connsiteX106" fmla="*/ 946052 w 981751"/>
                <a:gd name="connsiteY106" fmla="*/ 705714 h 838314"/>
                <a:gd name="connsiteX107" fmla="*/ 891864 w 981751"/>
                <a:gd name="connsiteY107" fmla="*/ 707626 h 838314"/>
                <a:gd name="connsiteX108" fmla="*/ 891864 w 981751"/>
                <a:gd name="connsiteY108" fmla="*/ 706351 h 838314"/>
                <a:gd name="connsiteX109" fmla="*/ 891864 w 981751"/>
                <a:gd name="connsiteY109" fmla="*/ 707626 h 838314"/>
                <a:gd name="connsiteX110" fmla="*/ 891864 w 981751"/>
                <a:gd name="connsiteY110" fmla="*/ 707626 h 838314"/>
                <a:gd name="connsiteX111" fmla="*/ 897602 w 981751"/>
                <a:gd name="connsiteY111" fmla="*/ 705714 h 838314"/>
                <a:gd name="connsiteX112" fmla="*/ 895689 w 981751"/>
                <a:gd name="connsiteY112" fmla="*/ 705714 h 838314"/>
                <a:gd name="connsiteX113" fmla="*/ 897602 w 981751"/>
                <a:gd name="connsiteY113" fmla="*/ 709539 h 838314"/>
                <a:gd name="connsiteX114" fmla="*/ 897602 w 981751"/>
                <a:gd name="connsiteY114" fmla="*/ 705714 h 838314"/>
                <a:gd name="connsiteX115" fmla="*/ 882302 w 981751"/>
                <a:gd name="connsiteY115" fmla="*/ 706351 h 838314"/>
                <a:gd name="connsiteX116" fmla="*/ 882302 w 981751"/>
                <a:gd name="connsiteY116" fmla="*/ 702526 h 838314"/>
                <a:gd name="connsiteX117" fmla="*/ 879114 w 981751"/>
                <a:gd name="connsiteY117" fmla="*/ 703164 h 838314"/>
                <a:gd name="connsiteX118" fmla="*/ 882302 w 981751"/>
                <a:gd name="connsiteY118" fmla="*/ 706351 h 838314"/>
                <a:gd name="connsiteX119" fmla="*/ 873377 w 981751"/>
                <a:gd name="connsiteY119" fmla="*/ 700614 h 838314"/>
                <a:gd name="connsiteX120" fmla="*/ 876564 w 981751"/>
                <a:gd name="connsiteY120" fmla="*/ 703801 h 838314"/>
                <a:gd name="connsiteX121" fmla="*/ 876564 w 981751"/>
                <a:gd name="connsiteY121" fmla="*/ 702526 h 838314"/>
                <a:gd name="connsiteX122" fmla="*/ 873377 w 981751"/>
                <a:gd name="connsiteY122" fmla="*/ 700614 h 838314"/>
                <a:gd name="connsiteX123" fmla="*/ 873377 w 981751"/>
                <a:gd name="connsiteY123" fmla="*/ 700614 h 838314"/>
                <a:gd name="connsiteX124" fmla="*/ 967727 w 981751"/>
                <a:gd name="connsiteY124" fmla="*/ 704439 h 838314"/>
                <a:gd name="connsiteX125" fmla="*/ 956252 w 981751"/>
                <a:gd name="connsiteY125" fmla="*/ 709539 h 838314"/>
                <a:gd name="connsiteX126" fmla="*/ 960077 w 981751"/>
                <a:gd name="connsiteY126" fmla="*/ 710176 h 838314"/>
                <a:gd name="connsiteX127" fmla="*/ 967727 w 981751"/>
                <a:gd name="connsiteY127" fmla="*/ 704439 h 838314"/>
                <a:gd name="connsiteX128" fmla="*/ 877839 w 981751"/>
                <a:gd name="connsiteY128" fmla="*/ 698701 h 838314"/>
                <a:gd name="connsiteX129" fmla="*/ 874014 w 981751"/>
                <a:gd name="connsiteY129" fmla="*/ 698701 h 838314"/>
                <a:gd name="connsiteX130" fmla="*/ 874014 w 981751"/>
                <a:gd name="connsiteY130" fmla="*/ 699976 h 838314"/>
                <a:gd name="connsiteX131" fmla="*/ 877839 w 981751"/>
                <a:gd name="connsiteY131" fmla="*/ 698701 h 838314"/>
                <a:gd name="connsiteX132" fmla="*/ 979202 w 981751"/>
                <a:gd name="connsiteY132" fmla="*/ 666189 h 838314"/>
                <a:gd name="connsiteX133" fmla="*/ 979840 w 981751"/>
                <a:gd name="connsiteY133" fmla="*/ 663001 h 838314"/>
                <a:gd name="connsiteX134" fmla="*/ 980477 w 981751"/>
                <a:gd name="connsiteY134" fmla="*/ 654714 h 838314"/>
                <a:gd name="connsiteX135" fmla="*/ 979202 w 981751"/>
                <a:gd name="connsiteY135" fmla="*/ 666189 h 838314"/>
                <a:gd name="connsiteX136" fmla="*/ 979202 w 981751"/>
                <a:gd name="connsiteY136" fmla="*/ 666189 h 838314"/>
                <a:gd name="connsiteX137" fmla="*/ 979840 w 981751"/>
                <a:gd name="connsiteY137" fmla="*/ 630489 h 838314"/>
                <a:gd name="connsiteX138" fmla="*/ 977289 w 981751"/>
                <a:gd name="connsiteY138" fmla="*/ 624114 h 838314"/>
                <a:gd name="connsiteX139" fmla="*/ 976014 w 981751"/>
                <a:gd name="connsiteY139" fmla="*/ 626664 h 838314"/>
                <a:gd name="connsiteX140" fmla="*/ 979840 w 981751"/>
                <a:gd name="connsiteY140" fmla="*/ 630489 h 838314"/>
                <a:gd name="connsiteX141" fmla="*/ 831302 w 981751"/>
                <a:gd name="connsiteY141" fmla="*/ 646426 h 838314"/>
                <a:gd name="connsiteX142" fmla="*/ 830027 w 981751"/>
                <a:gd name="connsiteY142" fmla="*/ 648339 h 838314"/>
                <a:gd name="connsiteX143" fmla="*/ 833214 w 981751"/>
                <a:gd name="connsiteY143" fmla="*/ 648976 h 838314"/>
                <a:gd name="connsiteX144" fmla="*/ 831302 w 981751"/>
                <a:gd name="connsiteY144" fmla="*/ 646426 h 838314"/>
                <a:gd name="connsiteX145" fmla="*/ 831302 w 981751"/>
                <a:gd name="connsiteY145" fmla="*/ 646426 h 838314"/>
                <a:gd name="connsiteX146" fmla="*/ 819827 w 981751"/>
                <a:gd name="connsiteY146" fmla="*/ 640051 h 838314"/>
                <a:gd name="connsiteX147" fmla="*/ 814089 w 981751"/>
                <a:gd name="connsiteY147" fmla="*/ 641964 h 838314"/>
                <a:gd name="connsiteX148" fmla="*/ 818552 w 981751"/>
                <a:gd name="connsiteY148" fmla="*/ 642601 h 838314"/>
                <a:gd name="connsiteX149" fmla="*/ 819827 w 981751"/>
                <a:gd name="connsiteY149" fmla="*/ 640051 h 838314"/>
                <a:gd name="connsiteX150" fmla="*/ 819827 w 981751"/>
                <a:gd name="connsiteY150" fmla="*/ 640051 h 838314"/>
                <a:gd name="connsiteX151" fmla="*/ 806439 w 981751"/>
                <a:gd name="connsiteY151" fmla="*/ 641326 h 838314"/>
                <a:gd name="connsiteX152" fmla="*/ 806439 w 981751"/>
                <a:gd name="connsiteY152" fmla="*/ 639414 h 838314"/>
                <a:gd name="connsiteX153" fmla="*/ 805802 w 981751"/>
                <a:gd name="connsiteY153" fmla="*/ 640051 h 838314"/>
                <a:gd name="connsiteX154" fmla="*/ 806439 w 981751"/>
                <a:gd name="connsiteY154" fmla="*/ 641326 h 838314"/>
                <a:gd name="connsiteX155" fmla="*/ 806439 w 981751"/>
                <a:gd name="connsiteY155" fmla="*/ 641326 h 838314"/>
                <a:gd name="connsiteX156" fmla="*/ 793052 w 981751"/>
                <a:gd name="connsiteY156" fmla="*/ 640689 h 838314"/>
                <a:gd name="connsiteX157" fmla="*/ 789227 w 981751"/>
                <a:gd name="connsiteY157" fmla="*/ 643239 h 838314"/>
                <a:gd name="connsiteX158" fmla="*/ 794326 w 981751"/>
                <a:gd name="connsiteY158" fmla="*/ 645789 h 838314"/>
                <a:gd name="connsiteX159" fmla="*/ 793052 w 981751"/>
                <a:gd name="connsiteY159" fmla="*/ 640689 h 838314"/>
                <a:gd name="connsiteX160" fmla="*/ 793052 w 981751"/>
                <a:gd name="connsiteY160" fmla="*/ 640689 h 838314"/>
                <a:gd name="connsiteX161" fmla="*/ 810902 w 981751"/>
                <a:gd name="connsiteY161" fmla="*/ 641326 h 838314"/>
                <a:gd name="connsiteX162" fmla="*/ 810264 w 981751"/>
                <a:gd name="connsiteY162" fmla="*/ 639414 h 838314"/>
                <a:gd name="connsiteX163" fmla="*/ 807076 w 981751"/>
                <a:gd name="connsiteY163" fmla="*/ 638776 h 838314"/>
                <a:gd name="connsiteX164" fmla="*/ 810902 w 981751"/>
                <a:gd name="connsiteY164" fmla="*/ 641326 h 838314"/>
                <a:gd name="connsiteX165" fmla="*/ 810902 w 981751"/>
                <a:gd name="connsiteY165" fmla="*/ 641326 h 838314"/>
                <a:gd name="connsiteX166" fmla="*/ 726751 w 981751"/>
                <a:gd name="connsiteY166" fmla="*/ 578851 h 838314"/>
                <a:gd name="connsiteX167" fmla="*/ 722927 w 981751"/>
                <a:gd name="connsiteY167" fmla="*/ 580764 h 838314"/>
                <a:gd name="connsiteX168" fmla="*/ 730576 w 981751"/>
                <a:gd name="connsiteY168" fmla="*/ 583314 h 838314"/>
                <a:gd name="connsiteX169" fmla="*/ 726751 w 981751"/>
                <a:gd name="connsiteY169" fmla="*/ 578851 h 838314"/>
                <a:gd name="connsiteX170" fmla="*/ 726751 w 981751"/>
                <a:gd name="connsiteY170" fmla="*/ 578851 h 838314"/>
                <a:gd name="connsiteX171" fmla="*/ 711451 w 981751"/>
                <a:gd name="connsiteY171" fmla="*/ 558451 h 838314"/>
                <a:gd name="connsiteX172" fmla="*/ 706351 w 981751"/>
                <a:gd name="connsiteY172" fmla="*/ 550801 h 838314"/>
                <a:gd name="connsiteX173" fmla="*/ 708264 w 981751"/>
                <a:gd name="connsiteY173" fmla="*/ 556539 h 838314"/>
                <a:gd name="connsiteX174" fmla="*/ 711451 w 981751"/>
                <a:gd name="connsiteY174" fmla="*/ 558451 h 838314"/>
                <a:gd name="connsiteX175" fmla="*/ 711451 w 981751"/>
                <a:gd name="connsiteY175" fmla="*/ 558451 h 838314"/>
                <a:gd name="connsiteX176" fmla="*/ 731214 w 981751"/>
                <a:gd name="connsiteY176" fmla="*/ 571201 h 838314"/>
                <a:gd name="connsiteX177" fmla="*/ 721652 w 981751"/>
                <a:gd name="connsiteY177" fmla="*/ 550801 h 838314"/>
                <a:gd name="connsiteX178" fmla="*/ 715277 w 981751"/>
                <a:gd name="connsiteY178" fmla="*/ 548888 h 838314"/>
                <a:gd name="connsiteX179" fmla="*/ 731214 w 981751"/>
                <a:gd name="connsiteY179" fmla="*/ 571201 h 838314"/>
                <a:gd name="connsiteX180" fmla="*/ 705714 w 981751"/>
                <a:gd name="connsiteY180" fmla="*/ 545701 h 838314"/>
                <a:gd name="connsiteX181" fmla="*/ 703802 w 981751"/>
                <a:gd name="connsiteY181" fmla="*/ 540601 h 838314"/>
                <a:gd name="connsiteX182" fmla="*/ 702527 w 981751"/>
                <a:gd name="connsiteY182" fmla="*/ 537414 h 838314"/>
                <a:gd name="connsiteX183" fmla="*/ 705714 w 981751"/>
                <a:gd name="connsiteY183" fmla="*/ 545701 h 838314"/>
                <a:gd name="connsiteX184" fmla="*/ 705714 w 981751"/>
                <a:gd name="connsiteY184" fmla="*/ 545701 h 838314"/>
                <a:gd name="connsiteX185" fmla="*/ 652164 w 981751"/>
                <a:gd name="connsiteY185" fmla="*/ 474301 h 838314"/>
                <a:gd name="connsiteX186" fmla="*/ 640689 w 981751"/>
                <a:gd name="connsiteY186" fmla="*/ 466013 h 838314"/>
                <a:gd name="connsiteX187" fmla="*/ 645151 w 981751"/>
                <a:gd name="connsiteY187" fmla="*/ 470476 h 838314"/>
                <a:gd name="connsiteX188" fmla="*/ 652164 w 981751"/>
                <a:gd name="connsiteY188" fmla="*/ 474301 h 838314"/>
                <a:gd name="connsiteX189" fmla="*/ 941589 w 981751"/>
                <a:gd name="connsiteY189" fmla="*/ 430951 h 838314"/>
                <a:gd name="connsiteX190" fmla="*/ 894414 w 981751"/>
                <a:gd name="connsiteY190" fmla="*/ 353175 h 838314"/>
                <a:gd name="connsiteX191" fmla="*/ 891864 w 981751"/>
                <a:gd name="connsiteY191" fmla="*/ 353175 h 838314"/>
                <a:gd name="connsiteX192" fmla="*/ 941589 w 981751"/>
                <a:gd name="connsiteY192" fmla="*/ 430951 h 838314"/>
                <a:gd name="connsiteX193" fmla="*/ 941589 w 981751"/>
                <a:gd name="connsiteY193" fmla="*/ 430951 h 838314"/>
                <a:gd name="connsiteX194" fmla="*/ 617101 w 981751"/>
                <a:gd name="connsiteY194" fmla="*/ 306001 h 838314"/>
                <a:gd name="connsiteX195" fmla="*/ 615189 w 981751"/>
                <a:gd name="connsiteY195" fmla="*/ 305363 h 838314"/>
                <a:gd name="connsiteX196" fmla="*/ 617101 w 981751"/>
                <a:gd name="connsiteY196" fmla="*/ 306001 h 838314"/>
                <a:gd name="connsiteX197" fmla="*/ 617101 w 981751"/>
                <a:gd name="connsiteY197" fmla="*/ 306001 h 838314"/>
                <a:gd name="connsiteX198" fmla="*/ 617101 w 981751"/>
                <a:gd name="connsiteY198" fmla="*/ 306001 h 838314"/>
                <a:gd name="connsiteX199" fmla="*/ 613276 w 981751"/>
                <a:gd name="connsiteY199" fmla="*/ 301538 h 838314"/>
                <a:gd name="connsiteX200" fmla="*/ 613276 w 981751"/>
                <a:gd name="connsiteY200" fmla="*/ 301538 h 838314"/>
                <a:gd name="connsiteX201" fmla="*/ 613276 w 981751"/>
                <a:gd name="connsiteY201" fmla="*/ 302813 h 838314"/>
                <a:gd name="connsiteX202" fmla="*/ 613276 w 981751"/>
                <a:gd name="connsiteY202" fmla="*/ 301538 h 838314"/>
                <a:gd name="connsiteX203" fmla="*/ 613276 w 981751"/>
                <a:gd name="connsiteY203" fmla="*/ 301538 h 838314"/>
                <a:gd name="connsiteX204" fmla="*/ 608176 w 981751"/>
                <a:gd name="connsiteY204" fmla="*/ 294525 h 838314"/>
                <a:gd name="connsiteX205" fmla="*/ 608176 w 981751"/>
                <a:gd name="connsiteY205" fmla="*/ 294525 h 838314"/>
                <a:gd name="connsiteX206" fmla="*/ 608176 w 981751"/>
                <a:gd name="connsiteY206" fmla="*/ 294525 h 838314"/>
                <a:gd name="connsiteX207" fmla="*/ 608176 w 981751"/>
                <a:gd name="connsiteY207" fmla="*/ 294525 h 838314"/>
                <a:gd name="connsiteX208" fmla="*/ 611364 w 981751"/>
                <a:gd name="connsiteY208" fmla="*/ 291976 h 838314"/>
                <a:gd name="connsiteX209" fmla="*/ 613276 w 981751"/>
                <a:gd name="connsiteY209" fmla="*/ 293251 h 838314"/>
                <a:gd name="connsiteX210" fmla="*/ 613276 w 981751"/>
                <a:gd name="connsiteY210" fmla="*/ 291976 h 838314"/>
                <a:gd name="connsiteX211" fmla="*/ 611364 w 981751"/>
                <a:gd name="connsiteY211" fmla="*/ 291976 h 838314"/>
                <a:gd name="connsiteX212" fmla="*/ 615189 w 981751"/>
                <a:gd name="connsiteY212" fmla="*/ 290063 h 838314"/>
                <a:gd name="connsiteX213" fmla="*/ 612639 w 981751"/>
                <a:gd name="connsiteY213" fmla="*/ 290700 h 838314"/>
                <a:gd name="connsiteX214" fmla="*/ 613276 w 981751"/>
                <a:gd name="connsiteY214" fmla="*/ 290700 h 838314"/>
                <a:gd name="connsiteX215" fmla="*/ 615189 w 981751"/>
                <a:gd name="connsiteY215" fmla="*/ 290063 h 838314"/>
                <a:gd name="connsiteX216" fmla="*/ 615189 w 981751"/>
                <a:gd name="connsiteY216" fmla="*/ 290063 h 838314"/>
                <a:gd name="connsiteX217" fmla="*/ 610726 w 981751"/>
                <a:gd name="connsiteY217" fmla="*/ 289425 h 838314"/>
                <a:gd name="connsiteX218" fmla="*/ 608814 w 981751"/>
                <a:gd name="connsiteY218" fmla="*/ 287513 h 838314"/>
                <a:gd name="connsiteX219" fmla="*/ 609451 w 981751"/>
                <a:gd name="connsiteY219" fmla="*/ 288150 h 838314"/>
                <a:gd name="connsiteX220" fmla="*/ 610726 w 981751"/>
                <a:gd name="connsiteY220" fmla="*/ 289425 h 838314"/>
                <a:gd name="connsiteX221" fmla="*/ 610726 w 981751"/>
                <a:gd name="connsiteY221" fmla="*/ 289425 h 838314"/>
                <a:gd name="connsiteX222" fmla="*/ 605626 w 981751"/>
                <a:gd name="connsiteY222" fmla="*/ 282413 h 838314"/>
                <a:gd name="connsiteX223" fmla="*/ 604351 w 981751"/>
                <a:gd name="connsiteY223" fmla="*/ 282413 h 838314"/>
                <a:gd name="connsiteX224" fmla="*/ 605626 w 981751"/>
                <a:gd name="connsiteY224" fmla="*/ 282413 h 838314"/>
                <a:gd name="connsiteX225" fmla="*/ 605626 w 981751"/>
                <a:gd name="connsiteY225" fmla="*/ 282413 h 838314"/>
                <a:gd name="connsiteX226" fmla="*/ 605626 w 981751"/>
                <a:gd name="connsiteY226" fmla="*/ 282413 h 838314"/>
                <a:gd name="connsiteX227" fmla="*/ 610726 w 981751"/>
                <a:gd name="connsiteY227" fmla="*/ 274126 h 838314"/>
                <a:gd name="connsiteX228" fmla="*/ 608176 w 981751"/>
                <a:gd name="connsiteY228" fmla="*/ 274126 h 838314"/>
                <a:gd name="connsiteX229" fmla="*/ 607539 w 981751"/>
                <a:gd name="connsiteY229" fmla="*/ 274763 h 838314"/>
                <a:gd name="connsiteX230" fmla="*/ 610726 w 981751"/>
                <a:gd name="connsiteY230" fmla="*/ 274126 h 838314"/>
                <a:gd name="connsiteX231" fmla="*/ 610726 w 981751"/>
                <a:gd name="connsiteY231" fmla="*/ 274126 h 838314"/>
                <a:gd name="connsiteX232" fmla="*/ 613276 w 981751"/>
                <a:gd name="connsiteY232" fmla="*/ 275400 h 838314"/>
                <a:gd name="connsiteX233" fmla="*/ 610089 w 981751"/>
                <a:gd name="connsiteY233" fmla="*/ 272213 h 838314"/>
                <a:gd name="connsiteX234" fmla="*/ 611364 w 981751"/>
                <a:gd name="connsiteY234" fmla="*/ 272850 h 838314"/>
                <a:gd name="connsiteX235" fmla="*/ 613276 w 981751"/>
                <a:gd name="connsiteY235" fmla="*/ 275400 h 838314"/>
                <a:gd name="connsiteX236" fmla="*/ 613276 w 981751"/>
                <a:gd name="connsiteY236" fmla="*/ 275400 h 838314"/>
                <a:gd name="connsiteX237" fmla="*/ 588414 w 981751"/>
                <a:gd name="connsiteY237" fmla="*/ 247988 h 838314"/>
                <a:gd name="connsiteX238" fmla="*/ 587139 w 981751"/>
                <a:gd name="connsiteY238" fmla="*/ 247350 h 838314"/>
                <a:gd name="connsiteX239" fmla="*/ 587139 w 981751"/>
                <a:gd name="connsiteY239" fmla="*/ 247988 h 838314"/>
                <a:gd name="connsiteX240" fmla="*/ 588414 w 981751"/>
                <a:gd name="connsiteY240" fmla="*/ 247988 h 838314"/>
                <a:gd name="connsiteX241" fmla="*/ 561001 w 981751"/>
                <a:gd name="connsiteY241" fmla="*/ 247988 h 838314"/>
                <a:gd name="connsiteX242" fmla="*/ 559089 w 981751"/>
                <a:gd name="connsiteY242" fmla="*/ 245438 h 838314"/>
                <a:gd name="connsiteX243" fmla="*/ 559726 w 981751"/>
                <a:gd name="connsiteY243" fmla="*/ 248626 h 838314"/>
                <a:gd name="connsiteX244" fmla="*/ 561001 w 981751"/>
                <a:gd name="connsiteY244" fmla="*/ 247988 h 838314"/>
                <a:gd name="connsiteX245" fmla="*/ 561001 w 981751"/>
                <a:gd name="connsiteY245" fmla="*/ 247988 h 838314"/>
                <a:gd name="connsiteX246" fmla="*/ 327038 w 981751"/>
                <a:gd name="connsiteY246" fmla="*/ 226950 h 838314"/>
                <a:gd name="connsiteX247" fmla="*/ 346163 w 981751"/>
                <a:gd name="connsiteY247" fmla="*/ 212288 h 838314"/>
                <a:gd name="connsiteX248" fmla="*/ 325126 w 981751"/>
                <a:gd name="connsiteY248" fmla="*/ 226313 h 838314"/>
                <a:gd name="connsiteX249" fmla="*/ 327038 w 981751"/>
                <a:gd name="connsiteY249" fmla="*/ 226950 h 838314"/>
                <a:gd name="connsiteX250" fmla="*/ 327038 w 981751"/>
                <a:gd name="connsiteY250" fmla="*/ 226950 h 838314"/>
                <a:gd name="connsiteX251" fmla="*/ 365288 w 981751"/>
                <a:gd name="connsiteY251" fmla="*/ 196350 h 838314"/>
                <a:gd name="connsiteX252" fmla="*/ 367201 w 981751"/>
                <a:gd name="connsiteY252" fmla="*/ 194438 h 838314"/>
                <a:gd name="connsiteX253" fmla="*/ 359551 w 981751"/>
                <a:gd name="connsiteY253" fmla="*/ 197625 h 838314"/>
                <a:gd name="connsiteX254" fmla="*/ 365288 w 981751"/>
                <a:gd name="connsiteY254" fmla="*/ 196350 h 838314"/>
                <a:gd name="connsiteX255" fmla="*/ 365288 w 981751"/>
                <a:gd name="connsiteY255" fmla="*/ 196350 h 838314"/>
                <a:gd name="connsiteX256" fmla="*/ 121125 w 981751"/>
                <a:gd name="connsiteY256" fmla="*/ 153000 h 838314"/>
                <a:gd name="connsiteX257" fmla="*/ 51000 w 981751"/>
                <a:gd name="connsiteY257" fmla="*/ 175313 h 838314"/>
                <a:gd name="connsiteX258" fmla="*/ 89250 w 981751"/>
                <a:gd name="connsiteY258" fmla="*/ 163838 h 838314"/>
                <a:gd name="connsiteX259" fmla="*/ 121125 w 981751"/>
                <a:gd name="connsiteY259" fmla="*/ 153000 h 838314"/>
                <a:gd name="connsiteX260" fmla="*/ 295801 w 981751"/>
                <a:gd name="connsiteY260" fmla="*/ 43987 h 838314"/>
                <a:gd name="connsiteX261" fmla="*/ 277313 w 981751"/>
                <a:gd name="connsiteY261" fmla="*/ 47175 h 838314"/>
                <a:gd name="connsiteX262" fmla="*/ 0 w 981751"/>
                <a:gd name="connsiteY262" fmla="*/ 92438 h 838314"/>
                <a:gd name="connsiteX263" fmla="*/ 29325 w 981751"/>
                <a:gd name="connsiteY263" fmla="*/ 158738 h 838314"/>
                <a:gd name="connsiteX264" fmla="*/ 31238 w 981751"/>
                <a:gd name="connsiteY264" fmla="*/ 159375 h 838314"/>
                <a:gd name="connsiteX265" fmla="*/ 24225 w 981751"/>
                <a:gd name="connsiteY265" fmla="*/ 186150 h 838314"/>
                <a:gd name="connsiteX266" fmla="*/ 44625 w 981751"/>
                <a:gd name="connsiteY266" fmla="*/ 176588 h 838314"/>
                <a:gd name="connsiteX267" fmla="*/ 66938 w 981751"/>
                <a:gd name="connsiteY267" fmla="*/ 156825 h 838314"/>
                <a:gd name="connsiteX268" fmla="*/ 105188 w 981751"/>
                <a:gd name="connsiteY268" fmla="*/ 155550 h 838314"/>
                <a:gd name="connsiteX269" fmla="*/ 149813 w 981751"/>
                <a:gd name="connsiteY269" fmla="*/ 139613 h 838314"/>
                <a:gd name="connsiteX270" fmla="*/ 180413 w 981751"/>
                <a:gd name="connsiteY270" fmla="*/ 144075 h 838314"/>
                <a:gd name="connsiteX271" fmla="*/ 173400 w 981751"/>
                <a:gd name="connsiteY271" fmla="*/ 155550 h 838314"/>
                <a:gd name="connsiteX272" fmla="*/ 228225 w 981751"/>
                <a:gd name="connsiteY272" fmla="*/ 174038 h 838314"/>
                <a:gd name="connsiteX273" fmla="*/ 276038 w 981751"/>
                <a:gd name="connsiteY273" fmla="*/ 196988 h 838314"/>
                <a:gd name="connsiteX274" fmla="*/ 287513 w 981751"/>
                <a:gd name="connsiteY274" fmla="*/ 222488 h 838314"/>
                <a:gd name="connsiteX275" fmla="*/ 322576 w 981751"/>
                <a:gd name="connsiteY275" fmla="*/ 214838 h 838314"/>
                <a:gd name="connsiteX276" fmla="*/ 406088 w 981751"/>
                <a:gd name="connsiteY276" fmla="*/ 146625 h 838314"/>
                <a:gd name="connsiteX277" fmla="*/ 437326 w 981751"/>
                <a:gd name="connsiteY277" fmla="*/ 147900 h 838314"/>
                <a:gd name="connsiteX278" fmla="*/ 562914 w 981751"/>
                <a:gd name="connsiteY278" fmla="*/ 242888 h 838314"/>
                <a:gd name="connsiteX279" fmla="*/ 588414 w 981751"/>
                <a:gd name="connsiteY279" fmla="*/ 237788 h 838314"/>
                <a:gd name="connsiteX280" fmla="*/ 615826 w 981751"/>
                <a:gd name="connsiteY280" fmla="*/ 273488 h 838314"/>
                <a:gd name="connsiteX281" fmla="*/ 620926 w 981751"/>
                <a:gd name="connsiteY281" fmla="*/ 330226 h 838314"/>
                <a:gd name="connsiteX282" fmla="*/ 612639 w 981751"/>
                <a:gd name="connsiteY282" fmla="*/ 365926 h 838314"/>
                <a:gd name="connsiteX283" fmla="*/ 616464 w 981751"/>
                <a:gd name="connsiteY283" fmla="*/ 383775 h 838314"/>
                <a:gd name="connsiteX284" fmla="*/ 638776 w 981751"/>
                <a:gd name="connsiteY284" fmla="*/ 429038 h 838314"/>
                <a:gd name="connsiteX285" fmla="*/ 627939 w 981751"/>
                <a:gd name="connsiteY285" fmla="*/ 393976 h 838314"/>
                <a:gd name="connsiteX286" fmla="*/ 657264 w 981751"/>
                <a:gd name="connsiteY286" fmla="*/ 393338 h 838314"/>
                <a:gd name="connsiteX287" fmla="*/ 659814 w 981751"/>
                <a:gd name="connsiteY287" fmla="*/ 418838 h 838314"/>
                <a:gd name="connsiteX288" fmla="*/ 644514 w 981751"/>
                <a:gd name="connsiteY288" fmla="*/ 458363 h 838314"/>
                <a:gd name="connsiteX289" fmla="*/ 698064 w 981751"/>
                <a:gd name="connsiteY289" fmla="*/ 531676 h 838314"/>
                <a:gd name="connsiteX290" fmla="*/ 717826 w 981751"/>
                <a:gd name="connsiteY290" fmla="*/ 532314 h 838314"/>
                <a:gd name="connsiteX291" fmla="*/ 701251 w 981751"/>
                <a:gd name="connsiteY291" fmla="*/ 510001 h 838314"/>
                <a:gd name="connsiteX292" fmla="*/ 721652 w 981751"/>
                <a:gd name="connsiteY292" fmla="*/ 512551 h 838314"/>
                <a:gd name="connsiteX293" fmla="*/ 733764 w 981751"/>
                <a:gd name="connsiteY293" fmla="*/ 504901 h 838314"/>
                <a:gd name="connsiteX294" fmla="*/ 728664 w 981751"/>
                <a:gd name="connsiteY294" fmla="*/ 545701 h 838314"/>
                <a:gd name="connsiteX295" fmla="*/ 756714 w 981751"/>
                <a:gd name="connsiteY295" fmla="*/ 567376 h 838314"/>
                <a:gd name="connsiteX296" fmla="*/ 775201 w 981751"/>
                <a:gd name="connsiteY296" fmla="*/ 617739 h 838314"/>
                <a:gd name="connsiteX297" fmla="*/ 800064 w 981751"/>
                <a:gd name="connsiteY297" fmla="*/ 633039 h 838314"/>
                <a:gd name="connsiteX298" fmla="*/ 832577 w 981751"/>
                <a:gd name="connsiteY298" fmla="*/ 641326 h 838314"/>
                <a:gd name="connsiteX299" fmla="*/ 877202 w 981751"/>
                <a:gd name="connsiteY299" fmla="*/ 697426 h 838314"/>
                <a:gd name="connsiteX300" fmla="*/ 900152 w 981751"/>
                <a:gd name="connsiteY300" fmla="*/ 709539 h 838314"/>
                <a:gd name="connsiteX301" fmla="*/ 868914 w 981751"/>
                <a:gd name="connsiteY301" fmla="*/ 711451 h 838314"/>
                <a:gd name="connsiteX302" fmla="*/ 882939 w 981751"/>
                <a:gd name="connsiteY302" fmla="*/ 727389 h 838314"/>
                <a:gd name="connsiteX303" fmla="*/ 933939 w 981751"/>
                <a:gd name="connsiteY303" fmla="*/ 710814 h 838314"/>
                <a:gd name="connsiteX304" fmla="*/ 958802 w 981751"/>
                <a:gd name="connsiteY304" fmla="*/ 696789 h 838314"/>
                <a:gd name="connsiteX305" fmla="*/ 981752 w 981751"/>
                <a:gd name="connsiteY305" fmla="*/ 615826 h 838314"/>
                <a:gd name="connsiteX306" fmla="*/ 970277 w 981751"/>
                <a:gd name="connsiteY306" fmla="*/ 490238 h 838314"/>
                <a:gd name="connsiteX307" fmla="*/ 967727 w 981751"/>
                <a:gd name="connsiteY307" fmla="*/ 477488 h 838314"/>
                <a:gd name="connsiteX308" fmla="*/ 905889 w 981751"/>
                <a:gd name="connsiteY308" fmla="*/ 374851 h 838314"/>
                <a:gd name="connsiteX309" fmla="*/ 852977 w 981751"/>
                <a:gd name="connsiteY309" fmla="*/ 300263 h 838314"/>
                <a:gd name="connsiteX310" fmla="*/ 823014 w 981751"/>
                <a:gd name="connsiteY310" fmla="*/ 239700 h 838314"/>
                <a:gd name="connsiteX311" fmla="*/ 847877 w 981751"/>
                <a:gd name="connsiteY311" fmla="*/ 260738 h 838314"/>
                <a:gd name="connsiteX312" fmla="*/ 852977 w 981751"/>
                <a:gd name="connsiteY312" fmla="*/ 256913 h 838314"/>
                <a:gd name="connsiteX313" fmla="*/ 864452 w 981751"/>
                <a:gd name="connsiteY313" fmla="*/ 310463 h 838314"/>
                <a:gd name="connsiteX314" fmla="*/ 893139 w 981751"/>
                <a:gd name="connsiteY314" fmla="*/ 350626 h 838314"/>
                <a:gd name="connsiteX315" fmla="*/ 865089 w 981751"/>
                <a:gd name="connsiteY315" fmla="*/ 296438 h 838314"/>
                <a:gd name="connsiteX316" fmla="*/ 866364 w 981751"/>
                <a:gd name="connsiteY316" fmla="*/ 270938 h 838314"/>
                <a:gd name="connsiteX317" fmla="*/ 783489 w 981751"/>
                <a:gd name="connsiteY317" fmla="*/ 170213 h 838314"/>
                <a:gd name="connsiteX318" fmla="*/ 763726 w 981751"/>
                <a:gd name="connsiteY318" fmla="*/ 138337 h 838314"/>
                <a:gd name="connsiteX319" fmla="*/ 736951 w 981751"/>
                <a:gd name="connsiteY319" fmla="*/ 84788 h 838314"/>
                <a:gd name="connsiteX320" fmla="*/ 719101 w 981751"/>
                <a:gd name="connsiteY320" fmla="*/ 39525 h 838314"/>
                <a:gd name="connsiteX321" fmla="*/ 705076 w 981751"/>
                <a:gd name="connsiteY321" fmla="*/ 23587 h 838314"/>
                <a:gd name="connsiteX322" fmla="*/ 701889 w 981751"/>
                <a:gd name="connsiteY322" fmla="*/ 3188 h 838314"/>
                <a:gd name="connsiteX323" fmla="*/ 701251 w 981751"/>
                <a:gd name="connsiteY323" fmla="*/ 2550 h 838314"/>
                <a:gd name="connsiteX324" fmla="*/ 656626 w 981751"/>
                <a:gd name="connsiteY324" fmla="*/ 0 h 838314"/>
                <a:gd name="connsiteX325" fmla="*/ 639414 w 981751"/>
                <a:gd name="connsiteY325" fmla="*/ 13387 h 838314"/>
                <a:gd name="connsiteX326" fmla="*/ 629214 w 981751"/>
                <a:gd name="connsiteY326" fmla="*/ 63112 h 838314"/>
                <a:gd name="connsiteX327" fmla="*/ 619651 w 981751"/>
                <a:gd name="connsiteY327" fmla="*/ 40163 h 838314"/>
                <a:gd name="connsiteX328" fmla="*/ 316838 w 981751"/>
                <a:gd name="connsiteY328" fmla="*/ 77775 h 838314"/>
                <a:gd name="connsiteX329" fmla="*/ 295801 w 981751"/>
                <a:gd name="connsiteY329" fmla="*/ 43987 h 838314"/>
                <a:gd name="connsiteX330" fmla="*/ 295801 w 981751"/>
                <a:gd name="connsiteY330" fmla="*/ 43987 h 838314"/>
                <a:gd name="connsiteX331" fmla="*/ 295801 w 981751"/>
                <a:gd name="connsiteY331" fmla="*/ 43987 h 83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981751" h="838314">
                  <a:moveTo>
                    <a:pt x="769464" y="829389"/>
                  </a:moveTo>
                  <a:lnTo>
                    <a:pt x="768189" y="829389"/>
                  </a:lnTo>
                  <a:lnTo>
                    <a:pt x="769464" y="829389"/>
                  </a:lnTo>
                  <a:lnTo>
                    <a:pt x="769464" y="829389"/>
                  </a:lnTo>
                  <a:lnTo>
                    <a:pt x="769464" y="829389"/>
                  </a:lnTo>
                  <a:close/>
                  <a:moveTo>
                    <a:pt x="763089" y="828752"/>
                  </a:moveTo>
                  <a:lnTo>
                    <a:pt x="763089" y="828752"/>
                  </a:lnTo>
                  <a:lnTo>
                    <a:pt x="763089" y="828752"/>
                  </a:lnTo>
                  <a:lnTo>
                    <a:pt x="763089" y="828752"/>
                  </a:lnTo>
                  <a:close/>
                  <a:moveTo>
                    <a:pt x="764364" y="828114"/>
                  </a:moveTo>
                  <a:lnTo>
                    <a:pt x="764364" y="828114"/>
                  </a:lnTo>
                  <a:lnTo>
                    <a:pt x="764364" y="828114"/>
                  </a:lnTo>
                  <a:lnTo>
                    <a:pt x="764364" y="828114"/>
                  </a:lnTo>
                  <a:close/>
                  <a:moveTo>
                    <a:pt x="677026" y="837676"/>
                  </a:moveTo>
                  <a:lnTo>
                    <a:pt x="677026" y="837676"/>
                  </a:lnTo>
                  <a:lnTo>
                    <a:pt x="677026" y="837676"/>
                  </a:lnTo>
                  <a:lnTo>
                    <a:pt x="677026" y="837676"/>
                  </a:lnTo>
                  <a:close/>
                  <a:moveTo>
                    <a:pt x="675751" y="838314"/>
                  </a:moveTo>
                  <a:lnTo>
                    <a:pt x="675751" y="838314"/>
                  </a:lnTo>
                  <a:lnTo>
                    <a:pt x="675751" y="838314"/>
                  </a:lnTo>
                  <a:lnTo>
                    <a:pt x="675751" y="838314"/>
                  </a:lnTo>
                  <a:close/>
                  <a:moveTo>
                    <a:pt x="676389" y="837676"/>
                  </a:moveTo>
                  <a:lnTo>
                    <a:pt x="676389" y="837676"/>
                  </a:lnTo>
                  <a:lnTo>
                    <a:pt x="676389" y="837676"/>
                  </a:lnTo>
                  <a:lnTo>
                    <a:pt x="676389" y="837676"/>
                  </a:lnTo>
                  <a:close/>
                  <a:moveTo>
                    <a:pt x="670014" y="838314"/>
                  </a:moveTo>
                  <a:lnTo>
                    <a:pt x="670014" y="838314"/>
                  </a:lnTo>
                  <a:lnTo>
                    <a:pt x="670014" y="838314"/>
                  </a:lnTo>
                  <a:lnTo>
                    <a:pt x="670014" y="838314"/>
                  </a:lnTo>
                  <a:close/>
                  <a:moveTo>
                    <a:pt x="852339" y="797514"/>
                  </a:moveTo>
                  <a:lnTo>
                    <a:pt x="852339" y="797514"/>
                  </a:lnTo>
                  <a:lnTo>
                    <a:pt x="852339" y="798789"/>
                  </a:lnTo>
                  <a:lnTo>
                    <a:pt x="852339" y="797514"/>
                  </a:lnTo>
                  <a:close/>
                  <a:moveTo>
                    <a:pt x="869552" y="793051"/>
                  </a:moveTo>
                  <a:lnTo>
                    <a:pt x="869552" y="791776"/>
                  </a:lnTo>
                  <a:lnTo>
                    <a:pt x="868277" y="793689"/>
                  </a:lnTo>
                  <a:lnTo>
                    <a:pt x="869552" y="793051"/>
                  </a:lnTo>
                  <a:lnTo>
                    <a:pt x="869552" y="793051"/>
                  </a:lnTo>
                  <a:close/>
                  <a:moveTo>
                    <a:pt x="863814" y="792414"/>
                  </a:moveTo>
                  <a:lnTo>
                    <a:pt x="861264" y="789864"/>
                  </a:lnTo>
                  <a:lnTo>
                    <a:pt x="860627" y="790502"/>
                  </a:lnTo>
                  <a:lnTo>
                    <a:pt x="863814" y="792414"/>
                  </a:lnTo>
                  <a:lnTo>
                    <a:pt x="863814" y="792414"/>
                  </a:lnTo>
                  <a:close/>
                  <a:moveTo>
                    <a:pt x="861902" y="796877"/>
                  </a:moveTo>
                  <a:lnTo>
                    <a:pt x="854252" y="786676"/>
                  </a:lnTo>
                  <a:lnTo>
                    <a:pt x="858714" y="794964"/>
                  </a:lnTo>
                  <a:lnTo>
                    <a:pt x="861902" y="796877"/>
                  </a:lnTo>
                  <a:lnTo>
                    <a:pt x="861902" y="796877"/>
                  </a:lnTo>
                  <a:close/>
                  <a:moveTo>
                    <a:pt x="922464" y="759264"/>
                  </a:moveTo>
                  <a:lnTo>
                    <a:pt x="922464" y="761814"/>
                  </a:lnTo>
                  <a:lnTo>
                    <a:pt x="923740" y="760539"/>
                  </a:lnTo>
                  <a:lnTo>
                    <a:pt x="922464" y="759264"/>
                  </a:lnTo>
                  <a:close/>
                  <a:moveTo>
                    <a:pt x="931389" y="752889"/>
                  </a:moveTo>
                  <a:lnTo>
                    <a:pt x="933302" y="749701"/>
                  </a:lnTo>
                  <a:lnTo>
                    <a:pt x="931389" y="752889"/>
                  </a:lnTo>
                  <a:lnTo>
                    <a:pt x="931389" y="752889"/>
                  </a:lnTo>
                  <a:lnTo>
                    <a:pt x="931389" y="752889"/>
                  </a:lnTo>
                  <a:close/>
                  <a:moveTo>
                    <a:pt x="933302" y="746514"/>
                  </a:moveTo>
                  <a:lnTo>
                    <a:pt x="933302" y="746514"/>
                  </a:lnTo>
                  <a:lnTo>
                    <a:pt x="933302" y="746514"/>
                  </a:lnTo>
                  <a:lnTo>
                    <a:pt x="933302" y="746514"/>
                  </a:lnTo>
                  <a:close/>
                  <a:moveTo>
                    <a:pt x="921827" y="744601"/>
                  </a:moveTo>
                  <a:lnTo>
                    <a:pt x="921827" y="744601"/>
                  </a:lnTo>
                  <a:lnTo>
                    <a:pt x="921827" y="744601"/>
                  </a:lnTo>
                  <a:lnTo>
                    <a:pt x="921827" y="744601"/>
                  </a:lnTo>
                  <a:close/>
                  <a:moveTo>
                    <a:pt x="928202" y="735039"/>
                  </a:moveTo>
                  <a:lnTo>
                    <a:pt x="928202" y="735039"/>
                  </a:lnTo>
                  <a:lnTo>
                    <a:pt x="928202" y="735039"/>
                  </a:lnTo>
                  <a:lnTo>
                    <a:pt x="928202" y="735039"/>
                  </a:lnTo>
                  <a:lnTo>
                    <a:pt x="928202" y="735039"/>
                  </a:lnTo>
                  <a:close/>
                  <a:moveTo>
                    <a:pt x="910352" y="734401"/>
                  </a:moveTo>
                  <a:lnTo>
                    <a:pt x="910352" y="734401"/>
                  </a:lnTo>
                  <a:lnTo>
                    <a:pt x="910352" y="734401"/>
                  </a:lnTo>
                  <a:lnTo>
                    <a:pt x="910352" y="734401"/>
                  </a:lnTo>
                  <a:close/>
                  <a:moveTo>
                    <a:pt x="932027" y="719739"/>
                  </a:moveTo>
                  <a:lnTo>
                    <a:pt x="930752" y="720376"/>
                  </a:lnTo>
                  <a:lnTo>
                    <a:pt x="932664" y="721014"/>
                  </a:lnTo>
                  <a:lnTo>
                    <a:pt x="932027" y="719739"/>
                  </a:lnTo>
                  <a:lnTo>
                    <a:pt x="932027" y="719739"/>
                  </a:lnTo>
                  <a:close/>
                  <a:moveTo>
                    <a:pt x="934577" y="719739"/>
                  </a:moveTo>
                  <a:lnTo>
                    <a:pt x="933302" y="718464"/>
                  </a:lnTo>
                  <a:lnTo>
                    <a:pt x="934577" y="719739"/>
                  </a:lnTo>
                  <a:lnTo>
                    <a:pt x="934577" y="719739"/>
                  </a:lnTo>
                  <a:lnTo>
                    <a:pt x="934577" y="719739"/>
                  </a:lnTo>
                  <a:close/>
                  <a:moveTo>
                    <a:pt x="930115" y="718464"/>
                  </a:moveTo>
                  <a:lnTo>
                    <a:pt x="930115" y="718464"/>
                  </a:lnTo>
                  <a:lnTo>
                    <a:pt x="930115" y="718464"/>
                  </a:lnTo>
                  <a:lnTo>
                    <a:pt x="930115" y="718464"/>
                  </a:lnTo>
                  <a:lnTo>
                    <a:pt x="930115" y="718464"/>
                  </a:lnTo>
                  <a:close/>
                  <a:moveTo>
                    <a:pt x="953702" y="714001"/>
                  </a:moveTo>
                  <a:lnTo>
                    <a:pt x="953702" y="714001"/>
                  </a:lnTo>
                  <a:lnTo>
                    <a:pt x="952427" y="715914"/>
                  </a:lnTo>
                  <a:lnTo>
                    <a:pt x="953702" y="714001"/>
                  </a:lnTo>
                  <a:lnTo>
                    <a:pt x="953702" y="714001"/>
                  </a:lnTo>
                  <a:close/>
                  <a:moveTo>
                    <a:pt x="927564" y="716551"/>
                  </a:moveTo>
                  <a:lnTo>
                    <a:pt x="926289" y="716551"/>
                  </a:lnTo>
                  <a:lnTo>
                    <a:pt x="927564" y="716551"/>
                  </a:lnTo>
                  <a:lnTo>
                    <a:pt x="927564" y="716551"/>
                  </a:lnTo>
                  <a:close/>
                  <a:moveTo>
                    <a:pt x="940952" y="708264"/>
                  </a:moveTo>
                  <a:lnTo>
                    <a:pt x="939039" y="708264"/>
                  </a:lnTo>
                  <a:lnTo>
                    <a:pt x="938402" y="708901"/>
                  </a:lnTo>
                  <a:lnTo>
                    <a:pt x="940952" y="708264"/>
                  </a:lnTo>
                  <a:lnTo>
                    <a:pt x="940952" y="708264"/>
                  </a:lnTo>
                  <a:close/>
                  <a:moveTo>
                    <a:pt x="946052" y="705714"/>
                  </a:moveTo>
                  <a:lnTo>
                    <a:pt x="946052" y="705714"/>
                  </a:lnTo>
                  <a:lnTo>
                    <a:pt x="946052" y="705714"/>
                  </a:lnTo>
                  <a:lnTo>
                    <a:pt x="946052" y="705714"/>
                  </a:lnTo>
                  <a:close/>
                  <a:moveTo>
                    <a:pt x="891864" y="707626"/>
                  </a:moveTo>
                  <a:lnTo>
                    <a:pt x="891864" y="706351"/>
                  </a:lnTo>
                  <a:lnTo>
                    <a:pt x="891864" y="707626"/>
                  </a:lnTo>
                  <a:lnTo>
                    <a:pt x="891864" y="707626"/>
                  </a:lnTo>
                  <a:close/>
                  <a:moveTo>
                    <a:pt x="897602" y="705714"/>
                  </a:moveTo>
                  <a:lnTo>
                    <a:pt x="895689" y="705714"/>
                  </a:lnTo>
                  <a:lnTo>
                    <a:pt x="897602" y="709539"/>
                  </a:lnTo>
                  <a:lnTo>
                    <a:pt x="897602" y="705714"/>
                  </a:lnTo>
                  <a:close/>
                  <a:moveTo>
                    <a:pt x="882302" y="706351"/>
                  </a:moveTo>
                  <a:lnTo>
                    <a:pt x="882302" y="702526"/>
                  </a:lnTo>
                  <a:lnTo>
                    <a:pt x="879114" y="703164"/>
                  </a:lnTo>
                  <a:lnTo>
                    <a:pt x="882302" y="706351"/>
                  </a:lnTo>
                  <a:close/>
                  <a:moveTo>
                    <a:pt x="873377" y="700614"/>
                  </a:moveTo>
                  <a:lnTo>
                    <a:pt x="876564" y="703801"/>
                  </a:lnTo>
                  <a:lnTo>
                    <a:pt x="876564" y="702526"/>
                  </a:lnTo>
                  <a:lnTo>
                    <a:pt x="873377" y="700614"/>
                  </a:lnTo>
                  <a:lnTo>
                    <a:pt x="873377" y="700614"/>
                  </a:lnTo>
                  <a:close/>
                  <a:moveTo>
                    <a:pt x="967727" y="704439"/>
                  </a:moveTo>
                  <a:lnTo>
                    <a:pt x="956252" y="709539"/>
                  </a:lnTo>
                  <a:lnTo>
                    <a:pt x="960077" y="710176"/>
                  </a:lnTo>
                  <a:lnTo>
                    <a:pt x="967727" y="704439"/>
                  </a:lnTo>
                  <a:close/>
                  <a:moveTo>
                    <a:pt x="877839" y="698701"/>
                  </a:moveTo>
                  <a:lnTo>
                    <a:pt x="874014" y="698701"/>
                  </a:lnTo>
                  <a:lnTo>
                    <a:pt x="874014" y="699976"/>
                  </a:lnTo>
                  <a:lnTo>
                    <a:pt x="877839" y="698701"/>
                  </a:lnTo>
                  <a:close/>
                  <a:moveTo>
                    <a:pt x="979202" y="666189"/>
                  </a:moveTo>
                  <a:lnTo>
                    <a:pt x="979840" y="663001"/>
                  </a:lnTo>
                  <a:lnTo>
                    <a:pt x="980477" y="654714"/>
                  </a:lnTo>
                  <a:lnTo>
                    <a:pt x="979202" y="666189"/>
                  </a:lnTo>
                  <a:lnTo>
                    <a:pt x="979202" y="666189"/>
                  </a:lnTo>
                  <a:close/>
                  <a:moveTo>
                    <a:pt x="979840" y="630489"/>
                  </a:moveTo>
                  <a:lnTo>
                    <a:pt x="977289" y="624114"/>
                  </a:lnTo>
                  <a:lnTo>
                    <a:pt x="976014" y="626664"/>
                  </a:lnTo>
                  <a:lnTo>
                    <a:pt x="979840" y="630489"/>
                  </a:lnTo>
                  <a:close/>
                  <a:moveTo>
                    <a:pt x="831302" y="646426"/>
                  </a:moveTo>
                  <a:lnTo>
                    <a:pt x="830027" y="648339"/>
                  </a:lnTo>
                  <a:lnTo>
                    <a:pt x="833214" y="648976"/>
                  </a:lnTo>
                  <a:lnTo>
                    <a:pt x="831302" y="646426"/>
                  </a:lnTo>
                  <a:lnTo>
                    <a:pt x="831302" y="646426"/>
                  </a:lnTo>
                  <a:close/>
                  <a:moveTo>
                    <a:pt x="819827" y="640051"/>
                  </a:moveTo>
                  <a:lnTo>
                    <a:pt x="814089" y="641964"/>
                  </a:lnTo>
                  <a:lnTo>
                    <a:pt x="818552" y="642601"/>
                  </a:lnTo>
                  <a:lnTo>
                    <a:pt x="819827" y="640051"/>
                  </a:lnTo>
                  <a:lnTo>
                    <a:pt x="819827" y="640051"/>
                  </a:lnTo>
                  <a:close/>
                  <a:moveTo>
                    <a:pt x="806439" y="641326"/>
                  </a:moveTo>
                  <a:lnTo>
                    <a:pt x="806439" y="639414"/>
                  </a:lnTo>
                  <a:lnTo>
                    <a:pt x="805802" y="640051"/>
                  </a:lnTo>
                  <a:lnTo>
                    <a:pt x="806439" y="641326"/>
                  </a:lnTo>
                  <a:lnTo>
                    <a:pt x="806439" y="641326"/>
                  </a:lnTo>
                  <a:close/>
                  <a:moveTo>
                    <a:pt x="793052" y="640689"/>
                  </a:moveTo>
                  <a:lnTo>
                    <a:pt x="789227" y="643239"/>
                  </a:lnTo>
                  <a:lnTo>
                    <a:pt x="794326" y="645789"/>
                  </a:lnTo>
                  <a:lnTo>
                    <a:pt x="793052" y="640689"/>
                  </a:lnTo>
                  <a:lnTo>
                    <a:pt x="793052" y="640689"/>
                  </a:lnTo>
                  <a:close/>
                  <a:moveTo>
                    <a:pt x="810902" y="641326"/>
                  </a:moveTo>
                  <a:lnTo>
                    <a:pt x="810264" y="639414"/>
                  </a:lnTo>
                  <a:lnTo>
                    <a:pt x="807076" y="638776"/>
                  </a:lnTo>
                  <a:lnTo>
                    <a:pt x="810902" y="641326"/>
                  </a:lnTo>
                  <a:lnTo>
                    <a:pt x="810902" y="641326"/>
                  </a:lnTo>
                  <a:close/>
                  <a:moveTo>
                    <a:pt x="726751" y="578851"/>
                  </a:moveTo>
                  <a:lnTo>
                    <a:pt x="722927" y="580764"/>
                  </a:lnTo>
                  <a:lnTo>
                    <a:pt x="730576" y="583314"/>
                  </a:lnTo>
                  <a:lnTo>
                    <a:pt x="726751" y="578851"/>
                  </a:lnTo>
                  <a:lnTo>
                    <a:pt x="726751" y="578851"/>
                  </a:lnTo>
                  <a:close/>
                  <a:moveTo>
                    <a:pt x="711451" y="558451"/>
                  </a:moveTo>
                  <a:lnTo>
                    <a:pt x="706351" y="550801"/>
                  </a:lnTo>
                  <a:lnTo>
                    <a:pt x="708264" y="556539"/>
                  </a:lnTo>
                  <a:lnTo>
                    <a:pt x="711451" y="558451"/>
                  </a:lnTo>
                  <a:lnTo>
                    <a:pt x="711451" y="558451"/>
                  </a:lnTo>
                  <a:close/>
                  <a:moveTo>
                    <a:pt x="731214" y="571201"/>
                  </a:moveTo>
                  <a:lnTo>
                    <a:pt x="721652" y="550801"/>
                  </a:lnTo>
                  <a:lnTo>
                    <a:pt x="715277" y="548888"/>
                  </a:lnTo>
                  <a:lnTo>
                    <a:pt x="731214" y="571201"/>
                  </a:lnTo>
                  <a:close/>
                  <a:moveTo>
                    <a:pt x="705714" y="545701"/>
                  </a:moveTo>
                  <a:lnTo>
                    <a:pt x="703802" y="540601"/>
                  </a:lnTo>
                  <a:lnTo>
                    <a:pt x="702527" y="537414"/>
                  </a:lnTo>
                  <a:lnTo>
                    <a:pt x="705714" y="545701"/>
                  </a:lnTo>
                  <a:lnTo>
                    <a:pt x="705714" y="545701"/>
                  </a:lnTo>
                  <a:close/>
                  <a:moveTo>
                    <a:pt x="652164" y="474301"/>
                  </a:moveTo>
                  <a:lnTo>
                    <a:pt x="640689" y="466013"/>
                  </a:lnTo>
                  <a:lnTo>
                    <a:pt x="645151" y="470476"/>
                  </a:lnTo>
                  <a:lnTo>
                    <a:pt x="652164" y="474301"/>
                  </a:lnTo>
                  <a:close/>
                  <a:moveTo>
                    <a:pt x="941589" y="430951"/>
                  </a:moveTo>
                  <a:lnTo>
                    <a:pt x="894414" y="353175"/>
                  </a:lnTo>
                  <a:lnTo>
                    <a:pt x="891864" y="353175"/>
                  </a:lnTo>
                  <a:lnTo>
                    <a:pt x="941589" y="430951"/>
                  </a:lnTo>
                  <a:lnTo>
                    <a:pt x="941589" y="430951"/>
                  </a:lnTo>
                  <a:close/>
                  <a:moveTo>
                    <a:pt x="617101" y="306001"/>
                  </a:moveTo>
                  <a:lnTo>
                    <a:pt x="615189" y="305363"/>
                  </a:lnTo>
                  <a:lnTo>
                    <a:pt x="617101" y="306001"/>
                  </a:lnTo>
                  <a:lnTo>
                    <a:pt x="617101" y="306001"/>
                  </a:lnTo>
                  <a:lnTo>
                    <a:pt x="617101" y="306001"/>
                  </a:lnTo>
                  <a:close/>
                  <a:moveTo>
                    <a:pt x="613276" y="301538"/>
                  </a:moveTo>
                  <a:lnTo>
                    <a:pt x="613276" y="301538"/>
                  </a:lnTo>
                  <a:lnTo>
                    <a:pt x="613276" y="302813"/>
                  </a:lnTo>
                  <a:lnTo>
                    <a:pt x="613276" y="301538"/>
                  </a:lnTo>
                  <a:lnTo>
                    <a:pt x="613276" y="301538"/>
                  </a:lnTo>
                  <a:close/>
                  <a:moveTo>
                    <a:pt x="608176" y="294525"/>
                  </a:moveTo>
                  <a:lnTo>
                    <a:pt x="608176" y="294525"/>
                  </a:lnTo>
                  <a:lnTo>
                    <a:pt x="608176" y="294525"/>
                  </a:lnTo>
                  <a:lnTo>
                    <a:pt x="608176" y="294525"/>
                  </a:lnTo>
                  <a:close/>
                  <a:moveTo>
                    <a:pt x="611364" y="291976"/>
                  </a:moveTo>
                  <a:lnTo>
                    <a:pt x="613276" y="293251"/>
                  </a:lnTo>
                  <a:lnTo>
                    <a:pt x="613276" y="291976"/>
                  </a:lnTo>
                  <a:lnTo>
                    <a:pt x="611364" y="291976"/>
                  </a:lnTo>
                  <a:close/>
                  <a:moveTo>
                    <a:pt x="615189" y="290063"/>
                  </a:moveTo>
                  <a:lnTo>
                    <a:pt x="612639" y="290700"/>
                  </a:lnTo>
                  <a:lnTo>
                    <a:pt x="613276" y="290700"/>
                  </a:lnTo>
                  <a:lnTo>
                    <a:pt x="615189" y="290063"/>
                  </a:lnTo>
                  <a:lnTo>
                    <a:pt x="615189" y="290063"/>
                  </a:lnTo>
                  <a:close/>
                  <a:moveTo>
                    <a:pt x="610726" y="289425"/>
                  </a:moveTo>
                  <a:lnTo>
                    <a:pt x="608814" y="287513"/>
                  </a:lnTo>
                  <a:lnTo>
                    <a:pt x="609451" y="288150"/>
                  </a:lnTo>
                  <a:lnTo>
                    <a:pt x="610726" y="289425"/>
                  </a:lnTo>
                  <a:lnTo>
                    <a:pt x="610726" y="289425"/>
                  </a:lnTo>
                  <a:close/>
                  <a:moveTo>
                    <a:pt x="605626" y="282413"/>
                  </a:moveTo>
                  <a:lnTo>
                    <a:pt x="604351" y="282413"/>
                  </a:lnTo>
                  <a:lnTo>
                    <a:pt x="605626" y="282413"/>
                  </a:lnTo>
                  <a:lnTo>
                    <a:pt x="605626" y="282413"/>
                  </a:lnTo>
                  <a:lnTo>
                    <a:pt x="605626" y="282413"/>
                  </a:lnTo>
                  <a:close/>
                  <a:moveTo>
                    <a:pt x="610726" y="274126"/>
                  </a:moveTo>
                  <a:lnTo>
                    <a:pt x="608176" y="274126"/>
                  </a:lnTo>
                  <a:lnTo>
                    <a:pt x="607539" y="274763"/>
                  </a:lnTo>
                  <a:lnTo>
                    <a:pt x="610726" y="274126"/>
                  </a:lnTo>
                  <a:lnTo>
                    <a:pt x="610726" y="274126"/>
                  </a:lnTo>
                  <a:close/>
                  <a:moveTo>
                    <a:pt x="613276" y="275400"/>
                  </a:moveTo>
                  <a:lnTo>
                    <a:pt x="610089" y="272213"/>
                  </a:lnTo>
                  <a:lnTo>
                    <a:pt x="611364" y="272850"/>
                  </a:lnTo>
                  <a:lnTo>
                    <a:pt x="613276" y="275400"/>
                  </a:lnTo>
                  <a:lnTo>
                    <a:pt x="613276" y="275400"/>
                  </a:lnTo>
                  <a:close/>
                  <a:moveTo>
                    <a:pt x="588414" y="247988"/>
                  </a:moveTo>
                  <a:lnTo>
                    <a:pt x="587139" y="247350"/>
                  </a:lnTo>
                  <a:lnTo>
                    <a:pt x="587139" y="247988"/>
                  </a:lnTo>
                  <a:lnTo>
                    <a:pt x="588414" y="247988"/>
                  </a:lnTo>
                  <a:close/>
                  <a:moveTo>
                    <a:pt x="561001" y="247988"/>
                  </a:moveTo>
                  <a:lnTo>
                    <a:pt x="559089" y="245438"/>
                  </a:lnTo>
                  <a:lnTo>
                    <a:pt x="559726" y="248626"/>
                  </a:lnTo>
                  <a:lnTo>
                    <a:pt x="561001" y="247988"/>
                  </a:lnTo>
                  <a:lnTo>
                    <a:pt x="561001" y="247988"/>
                  </a:lnTo>
                  <a:close/>
                  <a:moveTo>
                    <a:pt x="327038" y="226950"/>
                  </a:moveTo>
                  <a:lnTo>
                    <a:pt x="346163" y="212288"/>
                  </a:lnTo>
                  <a:lnTo>
                    <a:pt x="325126" y="226313"/>
                  </a:lnTo>
                  <a:lnTo>
                    <a:pt x="327038" y="226950"/>
                  </a:lnTo>
                  <a:lnTo>
                    <a:pt x="327038" y="226950"/>
                  </a:lnTo>
                  <a:close/>
                  <a:moveTo>
                    <a:pt x="365288" y="196350"/>
                  </a:moveTo>
                  <a:lnTo>
                    <a:pt x="367201" y="194438"/>
                  </a:lnTo>
                  <a:lnTo>
                    <a:pt x="359551" y="197625"/>
                  </a:lnTo>
                  <a:lnTo>
                    <a:pt x="365288" y="196350"/>
                  </a:lnTo>
                  <a:lnTo>
                    <a:pt x="365288" y="196350"/>
                  </a:lnTo>
                  <a:close/>
                  <a:moveTo>
                    <a:pt x="121125" y="153000"/>
                  </a:moveTo>
                  <a:lnTo>
                    <a:pt x="51000" y="175313"/>
                  </a:lnTo>
                  <a:lnTo>
                    <a:pt x="89250" y="163838"/>
                  </a:lnTo>
                  <a:lnTo>
                    <a:pt x="121125" y="153000"/>
                  </a:lnTo>
                  <a:close/>
                  <a:moveTo>
                    <a:pt x="295801" y="43987"/>
                  </a:moveTo>
                  <a:lnTo>
                    <a:pt x="277313" y="47175"/>
                  </a:lnTo>
                  <a:lnTo>
                    <a:pt x="0" y="92438"/>
                  </a:lnTo>
                  <a:lnTo>
                    <a:pt x="29325" y="158738"/>
                  </a:lnTo>
                  <a:lnTo>
                    <a:pt x="31238" y="159375"/>
                  </a:lnTo>
                  <a:lnTo>
                    <a:pt x="24225" y="186150"/>
                  </a:lnTo>
                  <a:lnTo>
                    <a:pt x="44625" y="176588"/>
                  </a:lnTo>
                  <a:lnTo>
                    <a:pt x="66938" y="156825"/>
                  </a:lnTo>
                  <a:lnTo>
                    <a:pt x="105188" y="155550"/>
                  </a:lnTo>
                  <a:lnTo>
                    <a:pt x="149813" y="139613"/>
                  </a:lnTo>
                  <a:lnTo>
                    <a:pt x="180413" y="144075"/>
                  </a:lnTo>
                  <a:lnTo>
                    <a:pt x="173400" y="155550"/>
                  </a:lnTo>
                  <a:lnTo>
                    <a:pt x="228225" y="174038"/>
                  </a:lnTo>
                  <a:lnTo>
                    <a:pt x="276038" y="196988"/>
                  </a:lnTo>
                  <a:lnTo>
                    <a:pt x="287513" y="222488"/>
                  </a:lnTo>
                  <a:lnTo>
                    <a:pt x="322576" y="214838"/>
                  </a:lnTo>
                  <a:lnTo>
                    <a:pt x="406088" y="146625"/>
                  </a:lnTo>
                  <a:lnTo>
                    <a:pt x="437326" y="147900"/>
                  </a:lnTo>
                  <a:lnTo>
                    <a:pt x="562914" y="242888"/>
                  </a:lnTo>
                  <a:lnTo>
                    <a:pt x="588414" y="237788"/>
                  </a:lnTo>
                  <a:lnTo>
                    <a:pt x="615826" y="273488"/>
                  </a:lnTo>
                  <a:lnTo>
                    <a:pt x="620926" y="330226"/>
                  </a:lnTo>
                  <a:lnTo>
                    <a:pt x="612639" y="365926"/>
                  </a:lnTo>
                  <a:lnTo>
                    <a:pt x="616464" y="383775"/>
                  </a:lnTo>
                  <a:lnTo>
                    <a:pt x="638776" y="429038"/>
                  </a:lnTo>
                  <a:lnTo>
                    <a:pt x="627939" y="393976"/>
                  </a:lnTo>
                  <a:lnTo>
                    <a:pt x="657264" y="393338"/>
                  </a:lnTo>
                  <a:lnTo>
                    <a:pt x="659814" y="418838"/>
                  </a:lnTo>
                  <a:lnTo>
                    <a:pt x="644514" y="458363"/>
                  </a:lnTo>
                  <a:lnTo>
                    <a:pt x="698064" y="531676"/>
                  </a:lnTo>
                  <a:lnTo>
                    <a:pt x="717826" y="532314"/>
                  </a:lnTo>
                  <a:lnTo>
                    <a:pt x="701251" y="510001"/>
                  </a:lnTo>
                  <a:lnTo>
                    <a:pt x="721652" y="512551"/>
                  </a:lnTo>
                  <a:lnTo>
                    <a:pt x="733764" y="504901"/>
                  </a:lnTo>
                  <a:lnTo>
                    <a:pt x="728664" y="545701"/>
                  </a:lnTo>
                  <a:lnTo>
                    <a:pt x="756714" y="567376"/>
                  </a:lnTo>
                  <a:lnTo>
                    <a:pt x="775201" y="617739"/>
                  </a:lnTo>
                  <a:lnTo>
                    <a:pt x="800064" y="633039"/>
                  </a:lnTo>
                  <a:lnTo>
                    <a:pt x="832577" y="641326"/>
                  </a:lnTo>
                  <a:lnTo>
                    <a:pt x="877202" y="697426"/>
                  </a:lnTo>
                  <a:lnTo>
                    <a:pt x="900152" y="709539"/>
                  </a:lnTo>
                  <a:lnTo>
                    <a:pt x="868914" y="711451"/>
                  </a:lnTo>
                  <a:lnTo>
                    <a:pt x="882939" y="727389"/>
                  </a:lnTo>
                  <a:lnTo>
                    <a:pt x="933939" y="710814"/>
                  </a:lnTo>
                  <a:lnTo>
                    <a:pt x="958802" y="696789"/>
                  </a:lnTo>
                  <a:lnTo>
                    <a:pt x="981752" y="615826"/>
                  </a:lnTo>
                  <a:lnTo>
                    <a:pt x="970277" y="490238"/>
                  </a:lnTo>
                  <a:lnTo>
                    <a:pt x="967727" y="477488"/>
                  </a:lnTo>
                  <a:lnTo>
                    <a:pt x="905889" y="374851"/>
                  </a:lnTo>
                  <a:lnTo>
                    <a:pt x="852977" y="300263"/>
                  </a:lnTo>
                  <a:lnTo>
                    <a:pt x="823014" y="239700"/>
                  </a:lnTo>
                  <a:lnTo>
                    <a:pt x="847877" y="260738"/>
                  </a:lnTo>
                  <a:lnTo>
                    <a:pt x="852977" y="256913"/>
                  </a:lnTo>
                  <a:lnTo>
                    <a:pt x="864452" y="310463"/>
                  </a:lnTo>
                  <a:lnTo>
                    <a:pt x="893139" y="350626"/>
                  </a:lnTo>
                  <a:lnTo>
                    <a:pt x="865089" y="296438"/>
                  </a:lnTo>
                  <a:lnTo>
                    <a:pt x="866364" y="270938"/>
                  </a:lnTo>
                  <a:lnTo>
                    <a:pt x="783489" y="170213"/>
                  </a:lnTo>
                  <a:lnTo>
                    <a:pt x="763726" y="138337"/>
                  </a:lnTo>
                  <a:lnTo>
                    <a:pt x="736951" y="84788"/>
                  </a:lnTo>
                  <a:lnTo>
                    <a:pt x="719101" y="39525"/>
                  </a:lnTo>
                  <a:lnTo>
                    <a:pt x="705076" y="23587"/>
                  </a:lnTo>
                  <a:lnTo>
                    <a:pt x="701889" y="3188"/>
                  </a:lnTo>
                  <a:lnTo>
                    <a:pt x="701251" y="2550"/>
                  </a:lnTo>
                  <a:lnTo>
                    <a:pt x="656626" y="0"/>
                  </a:lnTo>
                  <a:lnTo>
                    <a:pt x="639414" y="13387"/>
                  </a:lnTo>
                  <a:lnTo>
                    <a:pt x="629214" y="63112"/>
                  </a:lnTo>
                  <a:lnTo>
                    <a:pt x="619651" y="40163"/>
                  </a:lnTo>
                  <a:lnTo>
                    <a:pt x="316838" y="77775"/>
                  </a:lnTo>
                  <a:lnTo>
                    <a:pt x="295801" y="43987"/>
                  </a:lnTo>
                  <a:lnTo>
                    <a:pt x="295801" y="43987"/>
                  </a:lnTo>
                  <a:lnTo>
                    <a:pt x="295801" y="43987"/>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10" name="Freeform 49">
              <a:extLst>
                <a:ext uri="{FF2B5EF4-FFF2-40B4-BE49-F238E27FC236}">
                  <a16:creationId xmlns:a16="http://schemas.microsoft.com/office/drawing/2014/main" id="{A36E4079-E869-1007-B592-EFF7E3BEA7EF}"/>
                </a:ext>
              </a:extLst>
            </p:cNvPr>
            <p:cNvSpPr/>
            <p:nvPr/>
          </p:nvSpPr>
          <p:spPr>
            <a:xfrm>
              <a:off x="5325878" y="3142225"/>
              <a:ext cx="386325" cy="659176"/>
            </a:xfrm>
            <a:custGeom>
              <a:avLst/>
              <a:gdLst>
                <a:gd name="connsiteX0" fmla="*/ 325126 w 386325"/>
                <a:gd name="connsiteY0" fmla="*/ 648976 h 659176"/>
                <a:gd name="connsiteX1" fmla="*/ 321938 w 386325"/>
                <a:gd name="connsiteY1" fmla="*/ 649614 h 659176"/>
                <a:gd name="connsiteX2" fmla="*/ 321938 w 386325"/>
                <a:gd name="connsiteY2" fmla="*/ 650251 h 659176"/>
                <a:gd name="connsiteX3" fmla="*/ 325126 w 386325"/>
                <a:gd name="connsiteY3" fmla="*/ 648976 h 659176"/>
                <a:gd name="connsiteX4" fmla="*/ 325126 w 386325"/>
                <a:gd name="connsiteY4" fmla="*/ 648976 h 659176"/>
                <a:gd name="connsiteX5" fmla="*/ 385051 w 386325"/>
                <a:gd name="connsiteY5" fmla="*/ 641326 h 659176"/>
                <a:gd name="connsiteX6" fmla="*/ 375488 w 386325"/>
                <a:gd name="connsiteY6" fmla="*/ 641326 h 659176"/>
                <a:gd name="connsiteX7" fmla="*/ 385051 w 386325"/>
                <a:gd name="connsiteY7" fmla="*/ 641326 h 659176"/>
                <a:gd name="connsiteX8" fmla="*/ 385051 w 386325"/>
                <a:gd name="connsiteY8" fmla="*/ 641326 h 659176"/>
                <a:gd name="connsiteX9" fmla="*/ 385051 w 386325"/>
                <a:gd name="connsiteY9" fmla="*/ 641326 h 659176"/>
                <a:gd name="connsiteX10" fmla="*/ 309825 w 386325"/>
                <a:gd name="connsiteY10" fmla="*/ 647701 h 659176"/>
                <a:gd name="connsiteX11" fmla="*/ 307276 w 386325"/>
                <a:gd name="connsiteY11" fmla="*/ 650251 h 659176"/>
                <a:gd name="connsiteX12" fmla="*/ 307913 w 386325"/>
                <a:gd name="connsiteY12" fmla="*/ 650889 h 659176"/>
                <a:gd name="connsiteX13" fmla="*/ 309825 w 386325"/>
                <a:gd name="connsiteY13" fmla="*/ 647701 h 659176"/>
                <a:gd name="connsiteX14" fmla="*/ 309825 w 386325"/>
                <a:gd name="connsiteY14" fmla="*/ 647701 h 659176"/>
                <a:gd name="connsiteX15" fmla="*/ 371026 w 386325"/>
                <a:gd name="connsiteY15" fmla="*/ 642601 h 659176"/>
                <a:gd name="connsiteX16" fmla="*/ 346801 w 386325"/>
                <a:gd name="connsiteY16" fmla="*/ 642601 h 659176"/>
                <a:gd name="connsiteX17" fmla="*/ 369751 w 386325"/>
                <a:gd name="connsiteY17" fmla="*/ 643239 h 659176"/>
                <a:gd name="connsiteX18" fmla="*/ 371026 w 386325"/>
                <a:gd name="connsiteY18" fmla="*/ 642601 h 659176"/>
                <a:gd name="connsiteX19" fmla="*/ 102638 w 386325"/>
                <a:gd name="connsiteY19" fmla="*/ 29963 h 659176"/>
                <a:gd name="connsiteX20" fmla="*/ 102638 w 386325"/>
                <a:gd name="connsiteY20" fmla="*/ 29963 h 659176"/>
                <a:gd name="connsiteX21" fmla="*/ 75225 w 386325"/>
                <a:gd name="connsiteY21" fmla="*/ 75862 h 659176"/>
                <a:gd name="connsiteX22" fmla="*/ 77775 w 386325"/>
                <a:gd name="connsiteY22" fmla="*/ 110288 h 659176"/>
                <a:gd name="connsiteX23" fmla="*/ 41438 w 386325"/>
                <a:gd name="connsiteY23" fmla="*/ 150450 h 659176"/>
                <a:gd name="connsiteX24" fmla="*/ 51637 w 386325"/>
                <a:gd name="connsiteY24" fmla="*/ 161925 h 659176"/>
                <a:gd name="connsiteX25" fmla="*/ 27412 w 386325"/>
                <a:gd name="connsiteY25" fmla="*/ 264563 h 659176"/>
                <a:gd name="connsiteX26" fmla="*/ 38887 w 386325"/>
                <a:gd name="connsiteY26" fmla="*/ 286238 h 659176"/>
                <a:gd name="connsiteX27" fmla="*/ 32512 w 386325"/>
                <a:gd name="connsiteY27" fmla="*/ 290700 h 659176"/>
                <a:gd name="connsiteX28" fmla="*/ 33150 w 386325"/>
                <a:gd name="connsiteY28" fmla="*/ 304726 h 659176"/>
                <a:gd name="connsiteX29" fmla="*/ 33150 w 386325"/>
                <a:gd name="connsiteY29" fmla="*/ 309188 h 659176"/>
                <a:gd name="connsiteX30" fmla="*/ 47813 w 386325"/>
                <a:gd name="connsiteY30" fmla="*/ 343613 h 659176"/>
                <a:gd name="connsiteX31" fmla="*/ 46538 w 386325"/>
                <a:gd name="connsiteY31" fmla="*/ 364651 h 659176"/>
                <a:gd name="connsiteX32" fmla="*/ 70125 w 386325"/>
                <a:gd name="connsiteY32" fmla="*/ 393976 h 659176"/>
                <a:gd name="connsiteX33" fmla="*/ 21037 w 386325"/>
                <a:gd name="connsiteY33" fmla="*/ 477488 h 659176"/>
                <a:gd name="connsiteX34" fmla="*/ 13387 w 386325"/>
                <a:gd name="connsiteY34" fmla="*/ 527851 h 659176"/>
                <a:gd name="connsiteX35" fmla="*/ 0 w 386325"/>
                <a:gd name="connsiteY35" fmla="*/ 547613 h 659176"/>
                <a:gd name="connsiteX36" fmla="*/ 9563 w 386325"/>
                <a:gd name="connsiteY36" fmla="*/ 570564 h 659176"/>
                <a:gd name="connsiteX37" fmla="*/ 1275 w 386325"/>
                <a:gd name="connsiteY37" fmla="*/ 578851 h 659176"/>
                <a:gd name="connsiteX38" fmla="*/ 223125 w 386325"/>
                <a:gd name="connsiteY38" fmla="*/ 554626 h 659176"/>
                <a:gd name="connsiteX39" fmla="*/ 215475 w 386325"/>
                <a:gd name="connsiteY39" fmla="*/ 585863 h 659176"/>
                <a:gd name="connsiteX40" fmla="*/ 244163 w 386325"/>
                <a:gd name="connsiteY40" fmla="*/ 640689 h 659176"/>
                <a:gd name="connsiteX41" fmla="*/ 258825 w 386325"/>
                <a:gd name="connsiteY41" fmla="*/ 659176 h 659176"/>
                <a:gd name="connsiteX42" fmla="*/ 258825 w 386325"/>
                <a:gd name="connsiteY42" fmla="*/ 658539 h 659176"/>
                <a:gd name="connsiteX43" fmla="*/ 282413 w 386325"/>
                <a:gd name="connsiteY43" fmla="*/ 631126 h 659176"/>
                <a:gd name="connsiteX44" fmla="*/ 332776 w 386325"/>
                <a:gd name="connsiteY44" fmla="*/ 619651 h 659176"/>
                <a:gd name="connsiteX45" fmla="*/ 379313 w 386325"/>
                <a:gd name="connsiteY45" fmla="*/ 624751 h 659176"/>
                <a:gd name="connsiteX46" fmla="*/ 386326 w 386325"/>
                <a:gd name="connsiteY46" fmla="*/ 615189 h 659176"/>
                <a:gd name="connsiteX47" fmla="*/ 386326 w 386325"/>
                <a:gd name="connsiteY47" fmla="*/ 615826 h 659176"/>
                <a:gd name="connsiteX48" fmla="*/ 353176 w 386325"/>
                <a:gd name="connsiteY48" fmla="*/ 418201 h 659176"/>
                <a:gd name="connsiteX49" fmla="*/ 351901 w 386325"/>
                <a:gd name="connsiteY49" fmla="*/ 274126 h 659176"/>
                <a:gd name="connsiteX50" fmla="*/ 348076 w 386325"/>
                <a:gd name="connsiteY50" fmla="*/ 10838 h 659176"/>
                <a:gd name="connsiteX51" fmla="*/ 338513 w 386325"/>
                <a:gd name="connsiteY51" fmla="*/ 5100 h 659176"/>
                <a:gd name="connsiteX52" fmla="*/ 335963 w 386325"/>
                <a:gd name="connsiteY52" fmla="*/ 0 h 659176"/>
                <a:gd name="connsiteX53" fmla="*/ 334688 w 386325"/>
                <a:gd name="connsiteY53" fmla="*/ 0 h 659176"/>
                <a:gd name="connsiteX54" fmla="*/ 302176 w 386325"/>
                <a:gd name="connsiteY54" fmla="*/ 4463 h 659176"/>
                <a:gd name="connsiteX55" fmla="*/ 246075 w 386325"/>
                <a:gd name="connsiteY55" fmla="*/ 12112 h 659176"/>
                <a:gd name="connsiteX56" fmla="*/ 117938 w 386325"/>
                <a:gd name="connsiteY56" fmla="*/ 28050 h 659176"/>
                <a:gd name="connsiteX57" fmla="*/ 102638 w 386325"/>
                <a:gd name="connsiteY57" fmla="*/ 29963 h 659176"/>
                <a:gd name="connsiteX58" fmla="*/ 102638 w 386325"/>
                <a:gd name="connsiteY58" fmla="*/ 29963 h 65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86325" h="659176">
                  <a:moveTo>
                    <a:pt x="325126" y="648976"/>
                  </a:moveTo>
                  <a:lnTo>
                    <a:pt x="321938" y="649614"/>
                  </a:lnTo>
                  <a:lnTo>
                    <a:pt x="321938" y="650251"/>
                  </a:lnTo>
                  <a:lnTo>
                    <a:pt x="325126" y="648976"/>
                  </a:lnTo>
                  <a:lnTo>
                    <a:pt x="325126" y="648976"/>
                  </a:lnTo>
                  <a:close/>
                  <a:moveTo>
                    <a:pt x="385051" y="641326"/>
                  </a:moveTo>
                  <a:lnTo>
                    <a:pt x="375488" y="641326"/>
                  </a:lnTo>
                  <a:lnTo>
                    <a:pt x="385051" y="641326"/>
                  </a:lnTo>
                  <a:lnTo>
                    <a:pt x="385051" y="641326"/>
                  </a:lnTo>
                  <a:lnTo>
                    <a:pt x="385051" y="641326"/>
                  </a:lnTo>
                  <a:close/>
                  <a:moveTo>
                    <a:pt x="309825" y="647701"/>
                  </a:moveTo>
                  <a:lnTo>
                    <a:pt x="307276" y="650251"/>
                  </a:lnTo>
                  <a:lnTo>
                    <a:pt x="307913" y="650889"/>
                  </a:lnTo>
                  <a:lnTo>
                    <a:pt x="309825" y="647701"/>
                  </a:lnTo>
                  <a:lnTo>
                    <a:pt x="309825" y="647701"/>
                  </a:lnTo>
                  <a:close/>
                  <a:moveTo>
                    <a:pt x="371026" y="642601"/>
                  </a:moveTo>
                  <a:lnTo>
                    <a:pt x="346801" y="642601"/>
                  </a:lnTo>
                  <a:lnTo>
                    <a:pt x="369751" y="643239"/>
                  </a:lnTo>
                  <a:lnTo>
                    <a:pt x="371026" y="642601"/>
                  </a:lnTo>
                  <a:close/>
                  <a:moveTo>
                    <a:pt x="102638" y="29963"/>
                  </a:moveTo>
                  <a:lnTo>
                    <a:pt x="102638" y="29963"/>
                  </a:lnTo>
                  <a:lnTo>
                    <a:pt x="75225" y="75862"/>
                  </a:lnTo>
                  <a:lnTo>
                    <a:pt x="77775" y="110288"/>
                  </a:lnTo>
                  <a:lnTo>
                    <a:pt x="41438" y="150450"/>
                  </a:lnTo>
                  <a:lnTo>
                    <a:pt x="51637" y="161925"/>
                  </a:lnTo>
                  <a:lnTo>
                    <a:pt x="27412" y="264563"/>
                  </a:lnTo>
                  <a:lnTo>
                    <a:pt x="38887" y="286238"/>
                  </a:lnTo>
                  <a:lnTo>
                    <a:pt x="32512" y="290700"/>
                  </a:lnTo>
                  <a:lnTo>
                    <a:pt x="33150" y="304726"/>
                  </a:lnTo>
                  <a:lnTo>
                    <a:pt x="33150" y="309188"/>
                  </a:lnTo>
                  <a:lnTo>
                    <a:pt x="47813" y="343613"/>
                  </a:lnTo>
                  <a:lnTo>
                    <a:pt x="46538" y="364651"/>
                  </a:lnTo>
                  <a:lnTo>
                    <a:pt x="70125" y="393976"/>
                  </a:lnTo>
                  <a:lnTo>
                    <a:pt x="21037" y="477488"/>
                  </a:lnTo>
                  <a:lnTo>
                    <a:pt x="13387" y="527851"/>
                  </a:lnTo>
                  <a:lnTo>
                    <a:pt x="0" y="547613"/>
                  </a:lnTo>
                  <a:lnTo>
                    <a:pt x="9563" y="570564"/>
                  </a:lnTo>
                  <a:lnTo>
                    <a:pt x="1275" y="578851"/>
                  </a:lnTo>
                  <a:lnTo>
                    <a:pt x="223125" y="554626"/>
                  </a:lnTo>
                  <a:lnTo>
                    <a:pt x="215475" y="585863"/>
                  </a:lnTo>
                  <a:lnTo>
                    <a:pt x="244163" y="640689"/>
                  </a:lnTo>
                  <a:lnTo>
                    <a:pt x="258825" y="659176"/>
                  </a:lnTo>
                  <a:lnTo>
                    <a:pt x="258825" y="658539"/>
                  </a:lnTo>
                  <a:lnTo>
                    <a:pt x="282413" y="631126"/>
                  </a:lnTo>
                  <a:lnTo>
                    <a:pt x="332776" y="619651"/>
                  </a:lnTo>
                  <a:lnTo>
                    <a:pt x="379313" y="624751"/>
                  </a:lnTo>
                  <a:lnTo>
                    <a:pt x="386326" y="615189"/>
                  </a:lnTo>
                  <a:lnTo>
                    <a:pt x="386326" y="615826"/>
                  </a:lnTo>
                  <a:lnTo>
                    <a:pt x="353176" y="418201"/>
                  </a:lnTo>
                  <a:lnTo>
                    <a:pt x="351901" y="274126"/>
                  </a:lnTo>
                  <a:lnTo>
                    <a:pt x="348076" y="10838"/>
                  </a:lnTo>
                  <a:lnTo>
                    <a:pt x="338513" y="5100"/>
                  </a:lnTo>
                  <a:lnTo>
                    <a:pt x="335963" y="0"/>
                  </a:lnTo>
                  <a:lnTo>
                    <a:pt x="334688" y="0"/>
                  </a:lnTo>
                  <a:lnTo>
                    <a:pt x="302176" y="4463"/>
                  </a:lnTo>
                  <a:lnTo>
                    <a:pt x="246075" y="12112"/>
                  </a:lnTo>
                  <a:lnTo>
                    <a:pt x="117938" y="28050"/>
                  </a:lnTo>
                  <a:lnTo>
                    <a:pt x="102638" y="29963"/>
                  </a:lnTo>
                  <a:lnTo>
                    <a:pt x="102638" y="299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11" name="Freeform 50">
              <a:extLst>
                <a:ext uri="{FF2B5EF4-FFF2-40B4-BE49-F238E27FC236}">
                  <a16:creationId xmlns:a16="http://schemas.microsoft.com/office/drawing/2014/main" id="{D073606E-7406-9F6F-8144-F5998765A556}"/>
                </a:ext>
              </a:extLst>
            </p:cNvPr>
            <p:cNvSpPr/>
            <p:nvPr/>
          </p:nvSpPr>
          <p:spPr>
            <a:xfrm>
              <a:off x="6193517" y="2978387"/>
              <a:ext cx="538051" cy="408000"/>
            </a:xfrm>
            <a:custGeom>
              <a:avLst/>
              <a:gdLst>
                <a:gd name="connsiteX0" fmla="*/ 17850 w 538051"/>
                <a:gd name="connsiteY0" fmla="*/ 69488 h 408000"/>
                <a:gd name="connsiteX1" fmla="*/ 17850 w 538051"/>
                <a:gd name="connsiteY1" fmla="*/ 69488 h 408000"/>
                <a:gd name="connsiteX2" fmla="*/ 0 w 538051"/>
                <a:gd name="connsiteY2" fmla="*/ 104550 h 408000"/>
                <a:gd name="connsiteX3" fmla="*/ 3188 w 538051"/>
                <a:gd name="connsiteY3" fmla="*/ 117300 h 408000"/>
                <a:gd name="connsiteX4" fmla="*/ 61200 w 538051"/>
                <a:gd name="connsiteY4" fmla="*/ 141525 h 408000"/>
                <a:gd name="connsiteX5" fmla="*/ 91800 w 538051"/>
                <a:gd name="connsiteY5" fmla="*/ 179775 h 408000"/>
                <a:gd name="connsiteX6" fmla="*/ 215476 w 538051"/>
                <a:gd name="connsiteY6" fmla="*/ 283688 h 408000"/>
                <a:gd name="connsiteX7" fmla="*/ 244801 w 538051"/>
                <a:gd name="connsiteY7" fmla="*/ 297075 h 408000"/>
                <a:gd name="connsiteX8" fmla="*/ 297713 w 538051"/>
                <a:gd name="connsiteY8" fmla="*/ 372301 h 408000"/>
                <a:gd name="connsiteX9" fmla="*/ 335963 w 538051"/>
                <a:gd name="connsiteY9" fmla="*/ 408001 h 408000"/>
                <a:gd name="connsiteX10" fmla="*/ 335963 w 538051"/>
                <a:gd name="connsiteY10" fmla="*/ 408001 h 408000"/>
                <a:gd name="connsiteX11" fmla="*/ 342338 w 538051"/>
                <a:gd name="connsiteY11" fmla="*/ 378038 h 408000"/>
                <a:gd name="connsiteX12" fmla="*/ 331501 w 538051"/>
                <a:gd name="connsiteY12" fmla="*/ 349351 h 408000"/>
                <a:gd name="connsiteX13" fmla="*/ 359551 w 538051"/>
                <a:gd name="connsiteY13" fmla="*/ 369751 h 408000"/>
                <a:gd name="connsiteX14" fmla="*/ 374851 w 538051"/>
                <a:gd name="connsiteY14" fmla="*/ 357638 h 408000"/>
                <a:gd name="connsiteX15" fmla="*/ 348076 w 538051"/>
                <a:gd name="connsiteY15" fmla="*/ 335963 h 408000"/>
                <a:gd name="connsiteX16" fmla="*/ 380588 w 538051"/>
                <a:gd name="connsiteY16" fmla="*/ 334051 h 408000"/>
                <a:gd name="connsiteX17" fmla="*/ 430951 w 538051"/>
                <a:gd name="connsiteY17" fmla="*/ 291976 h 408000"/>
                <a:gd name="connsiteX18" fmla="*/ 425213 w 538051"/>
                <a:gd name="connsiteY18" fmla="*/ 280501 h 408000"/>
                <a:gd name="connsiteX19" fmla="*/ 456451 w 538051"/>
                <a:gd name="connsiteY19" fmla="*/ 256913 h 408000"/>
                <a:gd name="connsiteX20" fmla="*/ 453264 w 538051"/>
                <a:gd name="connsiteY20" fmla="*/ 245438 h 408000"/>
                <a:gd name="connsiteX21" fmla="*/ 475576 w 538051"/>
                <a:gd name="connsiteY21" fmla="*/ 231413 h 408000"/>
                <a:gd name="connsiteX22" fmla="*/ 476851 w 538051"/>
                <a:gd name="connsiteY22" fmla="*/ 198263 h 408000"/>
                <a:gd name="connsiteX23" fmla="*/ 511914 w 538051"/>
                <a:gd name="connsiteY23" fmla="*/ 132600 h 408000"/>
                <a:gd name="connsiteX24" fmla="*/ 535501 w 538051"/>
                <a:gd name="connsiteY24" fmla="*/ 102000 h 408000"/>
                <a:gd name="connsiteX25" fmla="*/ 538051 w 538051"/>
                <a:gd name="connsiteY25" fmla="*/ 100725 h 408000"/>
                <a:gd name="connsiteX26" fmla="*/ 395251 w 538051"/>
                <a:gd name="connsiteY26" fmla="*/ 10200 h 408000"/>
                <a:gd name="connsiteX27" fmla="*/ 341701 w 538051"/>
                <a:gd name="connsiteY27" fmla="*/ 21037 h 408000"/>
                <a:gd name="connsiteX28" fmla="*/ 269026 w 538051"/>
                <a:gd name="connsiteY28" fmla="*/ 18488 h 408000"/>
                <a:gd name="connsiteX29" fmla="*/ 233326 w 538051"/>
                <a:gd name="connsiteY29" fmla="*/ 0 h 408000"/>
                <a:gd name="connsiteX30" fmla="*/ 20400 w 538051"/>
                <a:gd name="connsiteY30" fmla="*/ 67575 h 408000"/>
                <a:gd name="connsiteX31" fmla="*/ 17850 w 538051"/>
                <a:gd name="connsiteY31" fmla="*/ 69488 h 408000"/>
                <a:gd name="connsiteX32" fmla="*/ 17850 w 538051"/>
                <a:gd name="connsiteY32" fmla="*/ 69488 h 4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8051" h="408000">
                  <a:moveTo>
                    <a:pt x="17850" y="69488"/>
                  </a:moveTo>
                  <a:lnTo>
                    <a:pt x="17850" y="69488"/>
                  </a:lnTo>
                  <a:lnTo>
                    <a:pt x="0" y="104550"/>
                  </a:lnTo>
                  <a:lnTo>
                    <a:pt x="3188" y="117300"/>
                  </a:lnTo>
                  <a:lnTo>
                    <a:pt x="61200" y="141525"/>
                  </a:lnTo>
                  <a:lnTo>
                    <a:pt x="91800" y="179775"/>
                  </a:lnTo>
                  <a:lnTo>
                    <a:pt x="215476" y="283688"/>
                  </a:lnTo>
                  <a:lnTo>
                    <a:pt x="244801" y="297075"/>
                  </a:lnTo>
                  <a:lnTo>
                    <a:pt x="297713" y="372301"/>
                  </a:lnTo>
                  <a:lnTo>
                    <a:pt x="335963" y="408001"/>
                  </a:lnTo>
                  <a:lnTo>
                    <a:pt x="335963" y="408001"/>
                  </a:lnTo>
                  <a:lnTo>
                    <a:pt x="342338" y="378038"/>
                  </a:lnTo>
                  <a:lnTo>
                    <a:pt x="331501" y="349351"/>
                  </a:lnTo>
                  <a:lnTo>
                    <a:pt x="359551" y="369751"/>
                  </a:lnTo>
                  <a:lnTo>
                    <a:pt x="374851" y="357638"/>
                  </a:lnTo>
                  <a:lnTo>
                    <a:pt x="348076" y="335963"/>
                  </a:lnTo>
                  <a:lnTo>
                    <a:pt x="380588" y="334051"/>
                  </a:lnTo>
                  <a:lnTo>
                    <a:pt x="430951" y="291976"/>
                  </a:lnTo>
                  <a:lnTo>
                    <a:pt x="425213" y="280501"/>
                  </a:lnTo>
                  <a:lnTo>
                    <a:pt x="456451" y="256913"/>
                  </a:lnTo>
                  <a:lnTo>
                    <a:pt x="453264" y="245438"/>
                  </a:lnTo>
                  <a:lnTo>
                    <a:pt x="475576" y="231413"/>
                  </a:lnTo>
                  <a:lnTo>
                    <a:pt x="476851" y="198263"/>
                  </a:lnTo>
                  <a:lnTo>
                    <a:pt x="511914" y="132600"/>
                  </a:lnTo>
                  <a:lnTo>
                    <a:pt x="535501" y="102000"/>
                  </a:lnTo>
                  <a:lnTo>
                    <a:pt x="538051" y="100725"/>
                  </a:lnTo>
                  <a:lnTo>
                    <a:pt x="395251" y="10200"/>
                  </a:lnTo>
                  <a:lnTo>
                    <a:pt x="341701" y="21037"/>
                  </a:lnTo>
                  <a:lnTo>
                    <a:pt x="269026" y="18488"/>
                  </a:lnTo>
                  <a:lnTo>
                    <a:pt x="233326" y="0"/>
                  </a:lnTo>
                  <a:lnTo>
                    <a:pt x="20400" y="67575"/>
                  </a:lnTo>
                  <a:lnTo>
                    <a:pt x="17850" y="69488"/>
                  </a:lnTo>
                  <a:lnTo>
                    <a:pt x="17850" y="69488"/>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12" name="Freeform 51">
              <a:extLst>
                <a:ext uri="{FF2B5EF4-FFF2-40B4-BE49-F238E27FC236}">
                  <a16:creationId xmlns:a16="http://schemas.microsoft.com/office/drawing/2014/main" id="{A483E030-D43F-0C98-3E04-032032BF0596}"/>
                </a:ext>
              </a:extLst>
            </p:cNvPr>
            <p:cNvSpPr/>
            <p:nvPr/>
          </p:nvSpPr>
          <p:spPr>
            <a:xfrm>
              <a:off x="5228341" y="2138161"/>
              <a:ext cx="433500" cy="752251"/>
            </a:xfrm>
            <a:custGeom>
              <a:avLst/>
              <a:gdLst>
                <a:gd name="connsiteX0" fmla="*/ 56100 w 433500"/>
                <a:gd name="connsiteY0" fmla="*/ 34425 h 752251"/>
                <a:gd name="connsiteX1" fmla="*/ 54825 w 433500"/>
                <a:gd name="connsiteY1" fmla="*/ 37613 h 752251"/>
                <a:gd name="connsiteX2" fmla="*/ 79050 w 433500"/>
                <a:gd name="connsiteY2" fmla="*/ 52913 h 752251"/>
                <a:gd name="connsiteX3" fmla="*/ 86700 w 433500"/>
                <a:gd name="connsiteY3" fmla="*/ 68213 h 752251"/>
                <a:gd name="connsiteX4" fmla="*/ 112200 w 433500"/>
                <a:gd name="connsiteY4" fmla="*/ 92438 h 752251"/>
                <a:gd name="connsiteX5" fmla="*/ 111563 w 433500"/>
                <a:gd name="connsiteY5" fmla="*/ 112838 h 752251"/>
                <a:gd name="connsiteX6" fmla="*/ 97538 w 433500"/>
                <a:gd name="connsiteY6" fmla="*/ 153000 h 752251"/>
                <a:gd name="connsiteX7" fmla="*/ 65025 w 433500"/>
                <a:gd name="connsiteY7" fmla="*/ 175950 h 752251"/>
                <a:gd name="connsiteX8" fmla="*/ 35700 w 433500"/>
                <a:gd name="connsiteY8" fmla="*/ 181688 h 752251"/>
                <a:gd name="connsiteX9" fmla="*/ 29963 w 433500"/>
                <a:gd name="connsiteY9" fmla="*/ 214838 h 752251"/>
                <a:gd name="connsiteX10" fmla="*/ 40163 w 433500"/>
                <a:gd name="connsiteY10" fmla="*/ 219300 h 752251"/>
                <a:gd name="connsiteX11" fmla="*/ 29963 w 433500"/>
                <a:gd name="connsiteY11" fmla="*/ 284963 h 752251"/>
                <a:gd name="connsiteX12" fmla="*/ 6375 w 433500"/>
                <a:gd name="connsiteY12" fmla="*/ 299626 h 752251"/>
                <a:gd name="connsiteX13" fmla="*/ 10838 w 433500"/>
                <a:gd name="connsiteY13" fmla="*/ 324488 h 752251"/>
                <a:gd name="connsiteX14" fmla="*/ 5100 w 433500"/>
                <a:gd name="connsiteY14" fmla="*/ 327038 h 752251"/>
                <a:gd name="connsiteX15" fmla="*/ 5100 w 433500"/>
                <a:gd name="connsiteY15" fmla="*/ 327038 h 752251"/>
                <a:gd name="connsiteX16" fmla="*/ 0 w 433500"/>
                <a:gd name="connsiteY16" fmla="*/ 355726 h 752251"/>
                <a:gd name="connsiteX17" fmla="*/ 20400 w 433500"/>
                <a:gd name="connsiteY17" fmla="*/ 412463 h 752251"/>
                <a:gd name="connsiteX18" fmla="*/ 93713 w 433500"/>
                <a:gd name="connsiteY18" fmla="*/ 474301 h 752251"/>
                <a:gd name="connsiteX19" fmla="*/ 100088 w 433500"/>
                <a:gd name="connsiteY19" fmla="*/ 504263 h 752251"/>
                <a:gd name="connsiteX20" fmla="*/ 114112 w 433500"/>
                <a:gd name="connsiteY20" fmla="*/ 518926 h 752251"/>
                <a:gd name="connsiteX21" fmla="*/ 160650 w 433500"/>
                <a:gd name="connsiteY21" fmla="*/ 516376 h 752251"/>
                <a:gd name="connsiteX22" fmla="*/ 152363 w 433500"/>
                <a:gd name="connsiteY22" fmla="*/ 559089 h 752251"/>
                <a:gd name="connsiteX23" fmla="*/ 149175 w 433500"/>
                <a:gd name="connsiteY23" fmla="*/ 605626 h 752251"/>
                <a:gd name="connsiteX24" fmla="*/ 177225 w 433500"/>
                <a:gd name="connsiteY24" fmla="*/ 627939 h 752251"/>
                <a:gd name="connsiteX25" fmla="*/ 221213 w 433500"/>
                <a:gd name="connsiteY25" fmla="*/ 647064 h 752251"/>
                <a:gd name="connsiteX26" fmla="*/ 244163 w 433500"/>
                <a:gd name="connsiteY26" fmla="*/ 664914 h 752251"/>
                <a:gd name="connsiteX27" fmla="*/ 256913 w 433500"/>
                <a:gd name="connsiteY27" fmla="*/ 701251 h 752251"/>
                <a:gd name="connsiteX28" fmla="*/ 249901 w 433500"/>
                <a:gd name="connsiteY28" fmla="*/ 714639 h 752251"/>
                <a:gd name="connsiteX29" fmla="*/ 295800 w 433500"/>
                <a:gd name="connsiteY29" fmla="*/ 751614 h 752251"/>
                <a:gd name="connsiteX30" fmla="*/ 297713 w 433500"/>
                <a:gd name="connsiteY30" fmla="*/ 752252 h 752251"/>
                <a:gd name="connsiteX31" fmla="*/ 293888 w 433500"/>
                <a:gd name="connsiteY31" fmla="*/ 748426 h 752251"/>
                <a:gd name="connsiteX32" fmla="*/ 306638 w 433500"/>
                <a:gd name="connsiteY32" fmla="*/ 717826 h 752251"/>
                <a:gd name="connsiteX33" fmla="*/ 356363 w 433500"/>
                <a:gd name="connsiteY33" fmla="*/ 731214 h 752251"/>
                <a:gd name="connsiteX34" fmla="*/ 368476 w 433500"/>
                <a:gd name="connsiteY34" fmla="*/ 717189 h 752251"/>
                <a:gd name="connsiteX35" fmla="*/ 358276 w 433500"/>
                <a:gd name="connsiteY35" fmla="*/ 688501 h 752251"/>
                <a:gd name="connsiteX36" fmla="*/ 398438 w 433500"/>
                <a:gd name="connsiteY36" fmla="*/ 664914 h 752251"/>
                <a:gd name="connsiteX37" fmla="*/ 386963 w 433500"/>
                <a:gd name="connsiteY37" fmla="*/ 649614 h 752251"/>
                <a:gd name="connsiteX38" fmla="*/ 397163 w 433500"/>
                <a:gd name="connsiteY38" fmla="*/ 627939 h 752251"/>
                <a:gd name="connsiteX39" fmla="*/ 397163 w 433500"/>
                <a:gd name="connsiteY39" fmla="*/ 627939 h 752251"/>
                <a:gd name="connsiteX40" fmla="*/ 394613 w 433500"/>
                <a:gd name="connsiteY40" fmla="*/ 627301 h 752251"/>
                <a:gd name="connsiteX41" fmla="*/ 395251 w 433500"/>
                <a:gd name="connsiteY41" fmla="*/ 570564 h 752251"/>
                <a:gd name="connsiteX42" fmla="*/ 409276 w 433500"/>
                <a:gd name="connsiteY42" fmla="*/ 559726 h 752251"/>
                <a:gd name="connsiteX43" fmla="*/ 433501 w 433500"/>
                <a:gd name="connsiteY43" fmla="*/ 502988 h 752251"/>
                <a:gd name="connsiteX44" fmla="*/ 428401 w 433500"/>
                <a:gd name="connsiteY44" fmla="*/ 478126 h 752251"/>
                <a:gd name="connsiteX45" fmla="*/ 412463 w 433500"/>
                <a:gd name="connsiteY45" fmla="*/ 447526 h 752251"/>
                <a:gd name="connsiteX46" fmla="*/ 422026 w 433500"/>
                <a:gd name="connsiteY46" fmla="*/ 413738 h 752251"/>
                <a:gd name="connsiteX47" fmla="*/ 376763 w 433500"/>
                <a:gd name="connsiteY47" fmla="*/ 96900 h 752251"/>
                <a:gd name="connsiteX48" fmla="*/ 370388 w 433500"/>
                <a:gd name="connsiteY48" fmla="*/ 89888 h 752251"/>
                <a:gd name="connsiteX49" fmla="*/ 353813 w 433500"/>
                <a:gd name="connsiteY49" fmla="*/ 52275 h 752251"/>
                <a:gd name="connsiteX50" fmla="*/ 340425 w 433500"/>
                <a:gd name="connsiteY50" fmla="*/ 38250 h 752251"/>
                <a:gd name="connsiteX51" fmla="*/ 334688 w 433500"/>
                <a:gd name="connsiteY51" fmla="*/ 1275 h 752251"/>
                <a:gd name="connsiteX52" fmla="*/ 334688 w 433500"/>
                <a:gd name="connsiteY52" fmla="*/ 0 h 752251"/>
                <a:gd name="connsiteX53" fmla="*/ 247988 w 433500"/>
                <a:gd name="connsiteY53" fmla="*/ 12112 h 752251"/>
                <a:gd name="connsiteX54" fmla="*/ 195713 w 433500"/>
                <a:gd name="connsiteY54" fmla="*/ 18487 h 752251"/>
                <a:gd name="connsiteX55" fmla="*/ 56100 w 433500"/>
                <a:gd name="connsiteY55" fmla="*/ 34425 h 752251"/>
                <a:gd name="connsiteX56" fmla="*/ 56100 w 433500"/>
                <a:gd name="connsiteY56" fmla="*/ 34425 h 752251"/>
                <a:gd name="connsiteX57" fmla="*/ 56100 w 433500"/>
                <a:gd name="connsiteY57" fmla="*/ 34425 h 75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33500" h="752251">
                  <a:moveTo>
                    <a:pt x="56100" y="34425"/>
                  </a:moveTo>
                  <a:lnTo>
                    <a:pt x="54825" y="37613"/>
                  </a:lnTo>
                  <a:lnTo>
                    <a:pt x="79050" y="52913"/>
                  </a:lnTo>
                  <a:lnTo>
                    <a:pt x="86700" y="68213"/>
                  </a:lnTo>
                  <a:lnTo>
                    <a:pt x="112200" y="92438"/>
                  </a:lnTo>
                  <a:lnTo>
                    <a:pt x="111563" y="112838"/>
                  </a:lnTo>
                  <a:lnTo>
                    <a:pt x="97538" y="153000"/>
                  </a:lnTo>
                  <a:lnTo>
                    <a:pt x="65025" y="175950"/>
                  </a:lnTo>
                  <a:lnTo>
                    <a:pt x="35700" y="181688"/>
                  </a:lnTo>
                  <a:lnTo>
                    <a:pt x="29963" y="214838"/>
                  </a:lnTo>
                  <a:lnTo>
                    <a:pt x="40163" y="219300"/>
                  </a:lnTo>
                  <a:lnTo>
                    <a:pt x="29963" y="284963"/>
                  </a:lnTo>
                  <a:lnTo>
                    <a:pt x="6375" y="299626"/>
                  </a:lnTo>
                  <a:lnTo>
                    <a:pt x="10838" y="324488"/>
                  </a:lnTo>
                  <a:lnTo>
                    <a:pt x="5100" y="327038"/>
                  </a:lnTo>
                  <a:lnTo>
                    <a:pt x="5100" y="327038"/>
                  </a:lnTo>
                  <a:lnTo>
                    <a:pt x="0" y="355726"/>
                  </a:lnTo>
                  <a:lnTo>
                    <a:pt x="20400" y="412463"/>
                  </a:lnTo>
                  <a:lnTo>
                    <a:pt x="93713" y="474301"/>
                  </a:lnTo>
                  <a:lnTo>
                    <a:pt x="100088" y="504263"/>
                  </a:lnTo>
                  <a:lnTo>
                    <a:pt x="114112" y="518926"/>
                  </a:lnTo>
                  <a:lnTo>
                    <a:pt x="160650" y="516376"/>
                  </a:lnTo>
                  <a:lnTo>
                    <a:pt x="152363" y="559089"/>
                  </a:lnTo>
                  <a:lnTo>
                    <a:pt x="149175" y="605626"/>
                  </a:lnTo>
                  <a:lnTo>
                    <a:pt x="177225" y="627939"/>
                  </a:lnTo>
                  <a:lnTo>
                    <a:pt x="221213" y="647064"/>
                  </a:lnTo>
                  <a:lnTo>
                    <a:pt x="244163" y="664914"/>
                  </a:lnTo>
                  <a:lnTo>
                    <a:pt x="256913" y="701251"/>
                  </a:lnTo>
                  <a:lnTo>
                    <a:pt x="249901" y="714639"/>
                  </a:lnTo>
                  <a:lnTo>
                    <a:pt x="295800" y="751614"/>
                  </a:lnTo>
                  <a:lnTo>
                    <a:pt x="297713" y="752252"/>
                  </a:lnTo>
                  <a:lnTo>
                    <a:pt x="293888" y="748426"/>
                  </a:lnTo>
                  <a:lnTo>
                    <a:pt x="306638" y="717826"/>
                  </a:lnTo>
                  <a:lnTo>
                    <a:pt x="356363" y="731214"/>
                  </a:lnTo>
                  <a:lnTo>
                    <a:pt x="368476" y="717189"/>
                  </a:lnTo>
                  <a:lnTo>
                    <a:pt x="358276" y="688501"/>
                  </a:lnTo>
                  <a:lnTo>
                    <a:pt x="398438" y="664914"/>
                  </a:lnTo>
                  <a:lnTo>
                    <a:pt x="386963" y="649614"/>
                  </a:lnTo>
                  <a:lnTo>
                    <a:pt x="397163" y="627939"/>
                  </a:lnTo>
                  <a:lnTo>
                    <a:pt x="397163" y="627939"/>
                  </a:lnTo>
                  <a:lnTo>
                    <a:pt x="394613" y="627301"/>
                  </a:lnTo>
                  <a:lnTo>
                    <a:pt x="395251" y="570564"/>
                  </a:lnTo>
                  <a:lnTo>
                    <a:pt x="409276" y="559726"/>
                  </a:lnTo>
                  <a:lnTo>
                    <a:pt x="433501" y="502988"/>
                  </a:lnTo>
                  <a:lnTo>
                    <a:pt x="428401" y="478126"/>
                  </a:lnTo>
                  <a:lnTo>
                    <a:pt x="412463" y="447526"/>
                  </a:lnTo>
                  <a:lnTo>
                    <a:pt x="422026" y="413738"/>
                  </a:lnTo>
                  <a:lnTo>
                    <a:pt x="376763" y="96900"/>
                  </a:lnTo>
                  <a:lnTo>
                    <a:pt x="370388" y="89888"/>
                  </a:lnTo>
                  <a:lnTo>
                    <a:pt x="353813" y="52275"/>
                  </a:lnTo>
                  <a:lnTo>
                    <a:pt x="340425" y="38250"/>
                  </a:lnTo>
                  <a:lnTo>
                    <a:pt x="334688" y="1275"/>
                  </a:lnTo>
                  <a:lnTo>
                    <a:pt x="334688" y="0"/>
                  </a:lnTo>
                  <a:lnTo>
                    <a:pt x="247988" y="12112"/>
                  </a:lnTo>
                  <a:lnTo>
                    <a:pt x="195713" y="18487"/>
                  </a:lnTo>
                  <a:lnTo>
                    <a:pt x="56100" y="34425"/>
                  </a:lnTo>
                  <a:lnTo>
                    <a:pt x="56100" y="34425"/>
                  </a:lnTo>
                  <a:lnTo>
                    <a:pt x="56100" y="34425"/>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13" name="Freeform 52">
              <a:extLst>
                <a:ext uri="{FF2B5EF4-FFF2-40B4-BE49-F238E27FC236}">
                  <a16:creationId xmlns:a16="http://schemas.microsoft.com/office/drawing/2014/main" id="{F43F2CC9-FA70-26F0-6E2C-C7417170B62D}"/>
                </a:ext>
              </a:extLst>
            </p:cNvPr>
            <p:cNvSpPr/>
            <p:nvPr/>
          </p:nvSpPr>
          <p:spPr>
            <a:xfrm>
              <a:off x="5605104" y="2185973"/>
              <a:ext cx="335963" cy="580126"/>
            </a:xfrm>
            <a:custGeom>
              <a:avLst/>
              <a:gdLst>
                <a:gd name="connsiteX0" fmla="*/ 267751 w 335963"/>
                <a:gd name="connsiteY0" fmla="*/ 0 h 580126"/>
                <a:gd name="connsiteX1" fmla="*/ 168938 w 335963"/>
                <a:gd name="connsiteY1" fmla="*/ 17212 h 580126"/>
                <a:gd name="connsiteX2" fmla="*/ 146625 w 335963"/>
                <a:gd name="connsiteY2" fmla="*/ 21675 h 580126"/>
                <a:gd name="connsiteX3" fmla="*/ 66938 w 335963"/>
                <a:gd name="connsiteY3" fmla="*/ 34425 h 580126"/>
                <a:gd name="connsiteX4" fmla="*/ 50363 w 335963"/>
                <a:gd name="connsiteY4" fmla="*/ 47813 h 580126"/>
                <a:gd name="connsiteX5" fmla="*/ 25500 w 335963"/>
                <a:gd name="connsiteY5" fmla="*/ 59288 h 580126"/>
                <a:gd name="connsiteX6" fmla="*/ 15300 w 335963"/>
                <a:gd name="connsiteY6" fmla="*/ 58650 h 580126"/>
                <a:gd name="connsiteX7" fmla="*/ 3825 w 335963"/>
                <a:gd name="connsiteY7" fmla="*/ 52913 h 580126"/>
                <a:gd name="connsiteX8" fmla="*/ 0 w 335963"/>
                <a:gd name="connsiteY8" fmla="*/ 49087 h 580126"/>
                <a:gd name="connsiteX9" fmla="*/ 45263 w 335963"/>
                <a:gd name="connsiteY9" fmla="*/ 365926 h 580126"/>
                <a:gd name="connsiteX10" fmla="*/ 35700 w 335963"/>
                <a:gd name="connsiteY10" fmla="*/ 399713 h 580126"/>
                <a:gd name="connsiteX11" fmla="*/ 51638 w 335963"/>
                <a:gd name="connsiteY11" fmla="*/ 430313 h 580126"/>
                <a:gd name="connsiteX12" fmla="*/ 56738 w 335963"/>
                <a:gd name="connsiteY12" fmla="*/ 455176 h 580126"/>
                <a:gd name="connsiteX13" fmla="*/ 32513 w 335963"/>
                <a:gd name="connsiteY13" fmla="*/ 511913 h 580126"/>
                <a:gd name="connsiteX14" fmla="*/ 18488 w 335963"/>
                <a:gd name="connsiteY14" fmla="*/ 522751 h 580126"/>
                <a:gd name="connsiteX15" fmla="*/ 17850 w 335963"/>
                <a:gd name="connsiteY15" fmla="*/ 579489 h 580126"/>
                <a:gd name="connsiteX16" fmla="*/ 20400 w 335963"/>
                <a:gd name="connsiteY16" fmla="*/ 580126 h 580126"/>
                <a:gd name="connsiteX17" fmla="*/ 22950 w 335963"/>
                <a:gd name="connsiteY17" fmla="*/ 579489 h 580126"/>
                <a:gd name="connsiteX18" fmla="*/ 33150 w 335963"/>
                <a:gd name="connsiteY18" fmla="*/ 561638 h 580126"/>
                <a:gd name="connsiteX19" fmla="*/ 56738 w 335963"/>
                <a:gd name="connsiteY19" fmla="*/ 561638 h 580126"/>
                <a:gd name="connsiteX20" fmla="*/ 86063 w 335963"/>
                <a:gd name="connsiteY20" fmla="*/ 551439 h 580126"/>
                <a:gd name="connsiteX21" fmla="*/ 121763 w 335963"/>
                <a:gd name="connsiteY21" fmla="*/ 564826 h 580126"/>
                <a:gd name="connsiteX22" fmla="*/ 125588 w 335963"/>
                <a:gd name="connsiteY22" fmla="*/ 550164 h 580126"/>
                <a:gd name="connsiteX23" fmla="*/ 145988 w 335963"/>
                <a:gd name="connsiteY23" fmla="*/ 534864 h 580126"/>
                <a:gd name="connsiteX24" fmla="*/ 177225 w 335963"/>
                <a:gd name="connsiteY24" fmla="*/ 539326 h 580126"/>
                <a:gd name="connsiteX25" fmla="*/ 193801 w 335963"/>
                <a:gd name="connsiteY25" fmla="*/ 506176 h 580126"/>
                <a:gd name="connsiteX26" fmla="*/ 239701 w 335963"/>
                <a:gd name="connsiteY26" fmla="*/ 510001 h 580126"/>
                <a:gd name="connsiteX27" fmla="*/ 239063 w 335963"/>
                <a:gd name="connsiteY27" fmla="*/ 491513 h 580126"/>
                <a:gd name="connsiteX28" fmla="*/ 279225 w 335963"/>
                <a:gd name="connsiteY28" fmla="*/ 437963 h 580126"/>
                <a:gd name="connsiteX29" fmla="*/ 272850 w 335963"/>
                <a:gd name="connsiteY29" fmla="*/ 413738 h 580126"/>
                <a:gd name="connsiteX30" fmla="*/ 301538 w 335963"/>
                <a:gd name="connsiteY30" fmla="*/ 413101 h 580126"/>
                <a:gd name="connsiteX31" fmla="*/ 335963 w 335963"/>
                <a:gd name="connsiteY31" fmla="*/ 385051 h 580126"/>
                <a:gd name="connsiteX32" fmla="*/ 327676 w 335963"/>
                <a:gd name="connsiteY32" fmla="*/ 353176 h 580126"/>
                <a:gd name="connsiteX33" fmla="*/ 328951 w 335963"/>
                <a:gd name="connsiteY33" fmla="*/ 351901 h 580126"/>
                <a:gd name="connsiteX34" fmla="*/ 327676 w 335963"/>
                <a:gd name="connsiteY34" fmla="*/ 340426 h 580126"/>
                <a:gd name="connsiteX35" fmla="*/ 289426 w 335963"/>
                <a:gd name="connsiteY35" fmla="*/ 112838 h 580126"/>
                <a:gd name="connsiteX36" fmla="*/ 272213 w 335963"/>
                <a:gd name="connsiteY36" fmla="*/ 15300 h 580126"/>
                <a:gd name="connsiteX37" fmla="*/ 270301 w 335963"/>
                <a:gd name="connsiteY37" fmla="*/ 4462 h 580126"/>
                <a:gd name="connsiteX38" fmla="*/ 267751 w 335963"/>
                <a:gd name="connsiteY38" fmla="*/ 0 h 580126"/>
                <a:gd name="connsiteX39" fmla="*/ 267751 w 335963"/>
                <a:gd name="connsiteY39" fmla="*/ 0 h 5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5963" h="580126">
                  <a:moveTo>
                    <a:pt x="267751" y="0"/>
                  </a:moveTo>
                  <a:lnTo>
                    <a:pt x="168938" y="17212"/>
                  </a:lnTo>
                  <a:lnTo>
                    <a:pt x="146625" y="21675"/>
                  </a:lnTo>
                  <a:lnTo>
                    <a:pt x="66938" y="34425"/>
                  </a:lnTo>
                  <a:lnTo>
                    <a:pt x="50363" y="47813"/>
                  </a:lnTo>
                  <a:lnTo>
                    <a:pt x="25500" y="59288"/>
                  </a:lnTo>
                  <a:lnTo>
                    <a:pt x="15300" y="58650"/>
                  </a:lnTo>
                  <a:lnTo>
                    <a:pt x="3825" y="52913"/>
                  </a:lnTo>
                  <a:lnTo>
                    <a:pt x="0" y="49087"/>
                  </a:lnTo>
                  <a:lnTo>
                    <a:pt x="45263" y="365926"/>
                  </a:lnTo>
                  <a:lnTo>
                    <a:pt x="35700" y="399713"/>
                  </a:lnTo>
                  <a:lnTo>
                    <a:pt x="51638" y="430313"/>
                  </a:lnTo>
                  <a:lnTo>
                    <a:pt x="56738" y="455176"/>
                  </a:lnTo>
                  <a:lnTo>
                    <a:pt x="32513" y="511913"/>
                  </a:lnTo>
                  <a:lnTo>
                    <a:pt x="18488" y="522751"/>
                  </a:lnTo>
                  <a:lnTo>
                    <a:pt x="17850" y="579489"/>
                  </a:lnTo>
                  <a:lnTo>
                    <a:pt x="20400" y="580126"/>
                  </a:lnTo>
                  <a:lnTo>
                    <a:pt x="22950" y="579489"/>
                  </a:lnTo>
                  <a:lnTo>
                    <a:pt x="33150" y="561638"/>
                  </a:lnTo>
                  <a:lnTo>
                    <a:pt x="56738" y="561638"/>
                  </a:lnTo>
                  <a:lnTo>
                    <a:pt x="86063" y="551439"/>
                  </a:lnTo>
                  <a:lnTo>
                    <a:pt x="121763" y="564826"/>
                  </a:lnTo>
                  <a:lnTo>
                    <a:pt x="125588" y="550164"/>
                  </a:lnTo>
                  <a:lnTo>
                    <a:pt x="145988" y="534864"/>
                  </a:lnTo>
                  <a:lnTo>
                    <a:pt x="177225" y="539326"/>
                  </a:lnTo>
                  <a:lnTo>
                    <a:pt x="193801" y="506176"/>
                  </a:lnTo>
                  <a:lnTo>
                    <a:pt x="239701" y="510001"/>
                  </a:lnTo>
                  <a:lnTo>
                    <a:pt x="239063" y="491513"/>
                  </a:lnTo>
                  <a:lnTo>
                    <a:pt x="279225" y="437963"/>
                  </a:lnTo>
                  <a:lnTo>
                    <a:pt x="272850" y="413738"/>
                  </a:lnTo>
                  <a:lnTo>
                    <a:pt x="301538" y="413101"/>
                  </a:lnTo>
                  <a:lnTo>
                    <a:pt x="335963" y="385051"/>
                  </a:lnTo>
                  <a:lnTo>
                    <a:pt x="327676" y="353176"/>
                  </a:lnTo>
                  <a:lnTo>
                    <a:pt x="328951" y="351901"/>
                  </a:lnTo>
                  <a:lnTo>
                    <a:pt x="327676" y="340426"/>
                  </a:lnTo>
                  <a:lnTo>
                    <a:pt x="289426" y="112838"/>
                  </a:lnTo>
                  <a:lnTo>
                    <a:pt x="272213" y="15300"/>
                  </a:lnTo>
                  <a:lnTo>
                    <a:pt x="270301" y="4462"/>
                  </a:lnTo>
                  <a:lnTo>
                    <a:pt x="267751" y="0"/>
                  </a:lnTo>
                  <a:lnTo>
                    <a:pt x="267751" y="0"/>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14" name="Freeform 53">
              <a:extLst>
                <a:ext uri="{FF2B5EF4-FFF2-40B4-BE49-F238E27FC236}">
                  <a16:creationId xmlns:a16="http://schemas.microsoft.com/office/drawing/2014/main" id="{62D490C3-8E0A-6F49-B45D-CF60CE428420}"/>
                </a:ext>
              </a:extLst>
            </p:cNvPr>
            <p:cNvSpPr/>
            <p:nvPr/>
          </p:nvSpPr>
          <p:spPr>
            <a:xfrm>
              <a:off x="5486529" y="2533411"/>
              <a:ext cx="781576" cy="430313"/>
            </a:xfrm>
            <a:custGeom>
              <a:avLst/>
              <a:gdLst>
                <a:gd name="connsiteX0" fmla="*/ 8287 w 781576"/>
                <a:gd name="connsiteY0" fmla="*/ 426488 h 430313"/>
                <a:gd name="connsiteX1" fmla="*/ 6375 w 781576"/>
                <a:gd name="connsiteY1" fmla="*/ 421388 h 430313"/>
                <a:gd name="connsiteX2" fmla="*/ 2550 w 781576"/>
                <a:gd name="connsiteY2" fmla="*/ 420113 h 430313"/>
                <a:gd name="connsiteX3" fmla="*/ 0 w 781576"/>
                <a:gd name="connsiteY3" fmla="*/ 428401 h 430313"/>
                <a:gd name="connsiteX4" fmla="*/ 637 w 781576"/>
                <a:gd name="connsiteY4" fmla="*/ 429038 h 430313"/>
                <a:gd name="connsiteX5" fmla="*/ 7650 w 781576"/>
                <a:gd name="connsiteY5" fmla="*/ 428401 h 430313"/>
                <a:gd name="connsiteX6" fmla="*/ 8287 w 781576"/>
                <a:gd name="connsiteY6" fmla="*/ 426488 h 430313"/>
                <a:gd name="connsiteX7" fmla="*/ 8287 w 781576"/>
                <a:gd name="connsiteY7" fmla="*/ 426488 h 430313"/>
                <a:gd name="connsiteX8" fmla="*/ 447526 w 781576"/>
                <a:gd name="connsiteY8" fmla="*/ 6375 h 430313"/>
                <a:gd name="connsiteX9" fmla="*/ 446251 w 781576"/>
                <a:gd name="connsiteY9" fmla="*/ 7650 h 430313"/>
                <a:gd name="connsiteX10" fmla="*/ 454538 w 781576"/>
                <a:gd name="connsiteY10" fmla="*/ 39525 h 430313"/>
                <a:gd name="connsiteX11" fmla="*/ 420113 w 781576"/>
                <a:gd name="connsiteY11" fmla="*/ 67575 h 430313"/>
                <a:gd name="connsiteX12" fmla="*/ 391426 w 781576"/>
                <a:gd name="connsiteY12" fmla="*/ 68213 h 430313"/>
                <a:gd name="connsiteX13" fmla="*/ 397801 w 781576"/>
                <a:gd name="connsiteY13" fmla="*/ 92438 h 430313"/>
                <a:gd name="connsiteX14" fmla="*/ 357638 w 781576"/>
                <a:gd name="connsiteY14" fmla="*/ 145988 h 430313"/>
                <a:gd name="connsiteX15" fmla="*/ 358276 w 781576"/>
                <a:gd name="connsiteY15" fmla="*/ 164475 h 430313"/>
                <a:gd name="connsiteX16" fmla="*/ 312376 w 781576"/>
                <a:gd name="connsiteY16" fmla="*/ 160650 h 430313"/>
                <a:gd name="connsiteX17" fmla="*/ 295800 w 781576"/>
                <a:gd name="connsiteY17" fmla="*/ 193800 h 430313"/>
                <a:gd name="connsiteX18" fmla="*/ 264563 w 781576"/>
                <a:gd name="connsiteY18" fmla="*/ 189338 h 430313"/>
                <a:gd name="connsiteX19" fmla="*/ 244163 w 781576"/>
                <a:gd name="connsiteY19" fmla="*/ 204638 h 430313"/>
                <a:gd name="connsiteX20" fmla="*/ 240338 w 781576"/>
                <a:gd name="connsiteY20" fmla="*/ 219300 h 430313"/>
                <a:gd name="connsiteX21" fmla="*/ 204638 w 781576"/>
                <a:gd name="connsiteY21" fmla="*/ 205913 h 430313"/>
                <a:gd name="connsiteX22" fmla="*/ 175313 w 781576"/>
                <a:gd name="connsiteY22" fmla="*/ 216113 h 430313"/>
                <a:gd name="connsiteX23" fmla="*/ 151725 w 781576"/>
                <a:gd name="connsiteY23" fmla="*/ 216113 h 430313"/>
                <a:gd name="connsiteX24" fmla="*/ 141525 w 781576"/>
                <a:gd name="connsiteY24" fmla="*/ 233963 h 430313"/>
                <a:gd name="connsiteX25" fmla="*/ 138975 w 781576"/>
                <a:gd name="connsiteY25" fmla="*/ 234600 h 430313"/>
                <a:gd name="connsiteX26" fmla="*/ 138975 w 781576"/>
                <a:gd name="connsiteY26" fmla="*/ 236513 h 430313"/>
                <a:gd name="connsiteX27" fmla="*/ 128775 w 781576"/>
                <a:gd name="connsiteY27" fmla="*/ 258188 h 430313"/>
                <a:gd name="connsiteX28" fmla="*/ 140250 w 781576"/>
                <a:gd name="connsiteY28" fmla="*/ 273488 h 430313"/>
                <a:gd name="connsiteX29" fmla="*/ 100088 w 781576"/>
                <a:gd name="connsiteY29" fmla="*/ 297075 h 430313"/>
                <a:gd name="connsiteX30" fmla="*/ 110288 w 781576"/>
                <a:gd name="connsiteY30" fmla="*/ 325763 h 430313"/>
                <a:gd name="connsiteX31" fmla="*/ 98175 w 781576"/>
                <a:gd name="connsiteY31" fmla="*/ 339788 h 430313"/>
                <a:gd name="connsiteX32" fmla="*/ 48450 w 781576"/>
                <a:gd name="connsiteY32" fmla="*/ 326401 h 430313"/>
                <a:gd name="connsiteX33" fmla="*/ 35700 w 781576"/>
                <a:gd name="connsiteY33" fmla="*/ 357001 h 430313"/>
                <a:gd name="connsiteX34" fmla="*/ 39525 w 781576"/>
                <a:gd name="connsiteY34" fmla="*/ 360826 h 430313"/>
                <a:gd name="connsiteX35" fmla="*/ 40800 w 781576"/>
                <a:gd name="connsiteY35" fmla="*/ 363376 h 430313"/>
                <a:gd name="connsiteX36" fmla="*/ 35063 w 781576"/>
                <a:gd name="connsiteY36" fmla="*/ 416288 h 430313"/>
                <a:gd name="connsiteX37" fmla="*/ 32512 w 781576"/>
                <a:gd name="connsiteY37" fmla="*/ 417563 h 430313"/>
                <a:gd name="connsiteX38" fmla="*/ 15938 w 781576"/>
                <a:gd name="connsiteY38" fmla="*/ 428401 h 430313"/>
                <a:gd name="connsiteX39" fmla="*/ 15300 w 781576"/>
                <a:gd name="connsiteY39" fmla="*/ 430313 h 430313"/>
                <a:gd name="connsiteX40" fmla="*/ 33787 w 781576"/>
                <a:gd name="connsiteY40" fmla="*/ 427763 h 430313"/>
                <a:gd name="connsiteX41" fmla="*/ 163200 w 781576"/>
                <a:gd name="connsiteY41" fmla="*/ 410551 h 430313"/>
                <a:gd name="connsiteX42" fmla="*/ 156825 w 781576"/>
                <a:gd name="connsiteY42" fmla="*/ 385051 h 430313"/>
                <a:gd name="connsiteX43" fmla="*/ 178500 w 781576"/>
                <a:gd name="connsiteY43" fmla="*/ 384413 h 430313"/>
                <a:gd name="connsiteX44" fmla="*/ 439876 w 781576"/>
                <a:gd name="connsiteY44" fmla="*/ 349988 h 430313"/>
                <a:gd name="connsiteX45" fmla="*/ 624114 w 781576"/>
                <a:gd name="connsiteY45" fmla="*/ 318751 h 430313"/>
                <a:gd name="connsiteX46" fmla="*/ 626664 w 781576"/>
                <a:gd name="connsiteY46" fmla="*/ 316838 h 430313"/>
                <a:gd name="connsiteX47" fmla="*/ 631126 w 781576"/>
                <a:gd name="connsiteY47" fmla="*/ 311738 h 430313"/>
                <a:gd name="connsiteX48" fmla="*/ 679576 w 781576"/>
                <a:gd name="connsiteY48" fmla="*/ 286238 h 430313"/>
                <a:gd name="connsiteX49" fmla="*/ 716551 w 781576"/>
                <a:gd name="connsiteY49" fmla="*/ 237150 h 430313"/>
                <a:gd name="connsiteX50" fmla="*/ 721652 w 781576"/>
                <a:gd name="connsiteY50" fmla="*/ 220575 h 430313"/>
                <a:gd name="connsiteX51" fmla="*/ 745877 w 781576"/>
                <a:gd name="connsiteY51" fmla="*/ 201450 h 430313"/>
                <a:gd name="connsiteX52" fmla="*/ 777114 w 781576"/>
                <a:gd name="connsiteY52" fmla="*/ 162563 h 430313"/>
                <a:gd name="connsiteX53" fmla="*/ 781576 w 781576"/>
                <a:gd name="connsiteY53" fmla="*/ 156188 h 430313"/>
                <a:gd name="connsiteX54" fmla="*/ 779664 w 781576"/>
                <a:gd name="connsiteY54" fmla="*/ 155550 h 430313"/>
                <a:gd name="connsiteX55" fmla="*/ 763726 w 781576"/>
                <a:gd name="connsiteY55" fmla="*/ 155550 h 430313"/>
                <a:gd name="connsiteX56" fmla="*/ 743326 w 781576"/>
                <a:gd name="connsiteY56" fmla="*/ 144075 h 430313"/>
                <a:gd name="connsiteX57" fmla="*/ 706989 w 781576"/>
                <a:gd name="connsiteY57" fmla="*/ 99450 h 430313"/>
                <a:gd name="connsiteX58" fmla="*/ 694239 w 781576"/>
                <a:gd name="connsiteY58" fmla="*/ 54188 h 430313"/>
                <a:gd name="connsiteX59" fmla="*/ 694239 w 781576"/>
                <a:gd name="connsiteY59" fmla="*/ 52913 h 430313"/>
                <a:gd name="connsiteX60" fmla="*/ 692964 w 781576"/>
                <a:gd name="connsiteY60" fmla="*/ 51637 h 430313"/>
                <a:gd name="connsiteX61" fmla="*/ 665551 w 781576"/>
                <a:gd name="connsiteY61" fmla="*/ 36337 h 430313"/>
                <a:gd name="connsiteX62" fmla="*/ 653439 w 781576"/>
                <a:gd name="connsiteY62" fmla="*/ 15938 h 430313"/>
                <a:gd name="connsiteX63" fmla="*/ 629214 w 781576"/>
                <a:gd name="connsiteY63" fmla="*/ 39525 h 430313"/>
                <a:gd name="connsiteX64" fmla="*/ 613914 w 781576"/>
                <a:gd name="connsiteY64" fmla="*/ 43350 h 430313"/>
                <a:gd name="connsiteX65" fmla="*/ 594789 w 781576"/>
                <a:gd name="connsiteY65" fmla="*/ 35700 h 430313"/>
                <a:gd name="connsiteX66" fmla="*/ 578214 w 781576"/>
                <a:gd name="connsiteY66" fmla="*/ 48450 h 430313"/>
                <a:gd name="connsiteX67" fmla="*/ 543789 w 781576"/>
                <a:gd name="connsiteY67" fmla="*/ 33150 h 430313"/>
                <a:gd name="connsiteX68" fmla="*/ 534226 w 781576"/>
                <a:gd name="connsiteY68" fmla="*/ 36975 h 430313"/>
                <a:gd name="connsiteX69" fmla="*/ 501076 w 781576"/>
                <a:gd name="connsiteY69" fmla="*/ 8287 h 430313"/>
                <a:gd name="connsiteX70" fmla="*/ 484501 w 781576"/>
                <a:gd name="connsiteY70" fmla="*/ 0 h 430313"/>
                <a:gd name="connsiteX71" fmla="*/ 452626 w 781576"/>
                <a:gd name="connsiteY71" fmla="*/ 3825 h 430313"/>
                <a:gd name="connsiteX72" fmla="*/ 447526 w 781576"/>
                <a:gd name="connsiteY72" fmla="*/ 6375 h 430313"/>
                <a:gd name="connsiteX73" fmla="*/ 447526 w 781576"/>
                <a:gd name="connsiteY73" fmla="*/ 6375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81576" h="430313">
                  <a:moveTo>
                    <a:pt x="8287" y="426488"/>
                  </a:moveTo>
                  <a:lnTo>
                    <a:pt x="6375" y="421388"/>
                  </a:lnTo>
                  <a:lnTo>
                    <a:pt x="2550" y="420113"/>
                  </a:lnTo>
                  <a:lnTo>
                    <a:pt x="0" y="428401"/>
                  </a:lnTo>
                  <a:lnTo>
                    <a:pt x="637" y="429038"/>
                  </a:lnTo>
                  <a:lnTo>
                    <a:pt x="7650" y="428401"/>
                  </a:lnTo>
                  <a:lnTo>
                    <a:pt x="8287" y="426488"/>
                  </a:lnTo>
                  <a:lnTo>
                    <a:pt x="8287" y="426488"/>
                  </a:lnTo>
                  <a:close/>
                  <a:moveTo>
                    <a:pt x="447526" y="6375"/>
                  </a:moveTo>
                  <a:lnTo>
                    <a:pt x="446251" y="7650"/>
                  </a:lnTo>
                  <a:lnTo>
                    <a:pt x="454538" y="39525"/>
                  </a:lnTo>
                  <a:lnTo>
                    <a:pt x="420113" y="67575"/>
                  </a:lnTo>
                  <a:lnTo>
                    <a:pt x="391426" y="68213"/>
                  </a:lnTo>
                  <a:lnTo>
                    <a:pt x="397801" y="92438"/>
                  </a:lnTo>
                  <a:lnTo>
                    <a:pt x="357638" y="145988"/>
                  </a:lnTo>
                  <a:lnTo>
                    <a:pt x="358276" y="164475"/>
                  </a:lnTo>
                  <a:lnTo>
                    <a:pt x="312376" y="160650"/>
                  </a:lnTo>
                  <a:lnTo>
                    <a:pt x="295800" y="193800"/>
                  </a:lnTo>
                  <a:lnTo>
                    <a:pt x="264563" y="189338"/>
                  </a:lnTo>
                  <a:lnTo>
                    <a:pt x="244163" y="204638"/>
                  </a:lnTo>
                  <a:lnTo>
                    <a:pt x="240338" y="219300"/>
                  </a:lnTo>
                  <a:lnTo>
                    <a:pt x="204638" y="205913"/>
                  </a:lnTo>
                  <a:lnTo>
                    <a:pt x="175313" y="216113"/>
                  </a:lnTo>
                  <a:lnTo>
                    <a:pt x="151725" y="216113"/>
                  </a:lnTo>
                  <a:lnTo>
                    <a:pt x="141525" y="233963"/>
                  </a:lnTo>
                  <a:lnTo>
                    <a:pt x="138975" y="234600"/>
                  </a:lnTo>
                  <a:lnTo>
                    <a:pt x="138975" y="236513"/>
                  </a:lnTo>
                  <a:lnTo>
                    <a:pt x="128775" y="258188"/>
                  </a:lnTo>
                  <a:lnTo>
                    <a:pt x="140250" y="273488"/>
                  </a:lnTo>
                  <a:lnTo>
                    <a:pt x="100088" y="297075"/>
                  </a:lnTo>
                  <a:lnTo>
                    <a:pt x="110288" y="325763"/>
                  </a:lnTo>
                  <a:lnTo>
                    <a:pt x="98175" y="339788"/>
                  </a:lnTo>
                  <a:lnTo>
                    <a:pt x="48450" y="326401"/>
                  </a:lnTo>
                  <a:lnTo>
                    <a:pt x="35700" y="357001"/>
                  </a:lnTo>
                  <a:lnTo>
                    <a:pt x="39525" y="360826"/>
                  </a:lnTo>
                  <a:lnTo>
                    <a:pt x="40800" y="363376"/>
                  </a:lnTo>
                  <a:lnTo>
                    <a:pt x="35063" y="416288"/>
                  </a:lnTo>
                  <a:lnTo>
                    <a:pt x="32512" y="417563"/>
                  </a:lnTo>
                  <a:lnTo>
                    <a:pt x="15938" y="428401"/>
                  </a:lnTo>
                  <a:lnTo>
                    <a:pt x="15300" y="430313"/>
                  </a:lnTo>
                  <a:lnTo>
                    <a:pt x="33787" y="427763"/>
                  </a:lnTo>
                  <a:lnTo>
                    <a:pt x="163200" y="410551"/>
                  </a:lnTo>
                  <a:lnTo>
                    <a:pt x="156825" y="385051"/>
                  </a:lnTo>
                  <a:lnTo>
                    <a:pt x="178500" y="384413"/>
                  </a:lnTo>
                  <a:lnTo>
                    <a:pt x="439876" y="349988"/>
                  </a:lnTo>
                  <a:lnTo>
                    <a:pt x="624114" y="318751"/>
                  </a:lnTo>
                  <a:lnTo>
                    <a:pt x="626664" y="316838"/>
                  </a:lnTo>
                  <a:lnTo>
                    <a:pt x="631126" y="311738"/>
                  </a:lnTo>
                  <a:lnTo>
                    <a:pt x="679576" y="286238"/>
                  </a:lnTo>
                  <a:lnTo>
                    <a:pt x="716551" y="237150"/>
                  </a:lnTo>
                  <a:lnTo>
                    <a:pt x="721652" y="220575"/>
                  </a:lnTo>
                  <a:lnTo>
                    <a:pt x="745877" y="201450"/>
                  </a:lnTo>
                  <a:lnTo>
                    <a:pt x="777114" y="162563"/>
                  </a:lnTo>
                  <a:lnTo>
                    <a:pt x="781576" y="156188"/>
                  </a:lnTo>
                  <a:lnTo>
                    <a:pt x="779664" y="155550"/>
                  </a:lnTo>
                  <a:lnTo>
                    <a:pt x="763726" y="155550"/>
                  </a:lnTo>
                  <a:lnTo>
                    <a:pt x="743326" y="144075"/>
                  </a:lnTo>
                  <a:lnTo>
                    <a:pt x="706989" y="99450"/>
                  </a:lnTo>
                  <a:lnTo>
                    <a:pt x="694239" y="54188"/>
                  </a:lnTo>
                  <a:lnTo>
                    <a:pt x="694239" y="52913"/>
                  </a:lnTo>
                  <a:lnTo>
                    <a:pt x="692964" y="51637"/>
                  </a:lnTo>
                  <a:lnTo>
                    <a:pt x="665551" y="36337"/>
                  </a:lnTo>
                  <a:lnTo>
                    <a:pt x="653439" y="15938"/>
                  </a:lnTo>
                  <a:lnTo>
                    <a:pt x="629214" y="39525"/>
                  </a:lnTo>
                  <a:lnTo>
                    <a:pt x="613914" y="43350"/>
                  </a:lnTo>
                  <a:lnTo>
                    <a:pt x="594789" y="35700"/>
                  </a:lnTo>
                  <a:lnTo>
                    <a:pt x="578214" y="48450"/>
                  </a:lnTo>
                  <a:lnTo>
                    <a:pt x="543789" y="33150"/>
                  </a:lnTo>
                  <a:lnTo>
                    <a:pt x="534226" y="36975"/>
                  </a:lnTo>
                  <a:lnTo>
                    <a:pt x="501076" y="8287"/>
                  </a:lnTo>
                  <a:lnTo>
                    <a:pt x="484501" y="0"/>
                  </a:lnTo>
                  <a:lnTo>
                    <a:pt x="452626" y="3825"/>
                  </a:lnTo>
                  <a:lnTo>
                    <a:pt x="447526" y="6375"/>
                  </a:lnTo>
                  <a:lnTo>
                    <a:pt x="447526" y="6375"/>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15" name="Freeform 54">
              <a:extLst>
                <a:ext uri="{FF2B5EF4-FFF2-40B4-BE49-F238E27FC236}">
                  <a16:creationId xmlns:a16="http://schemas.microsoft.com/office/drawing/2014/main" id="{8DA2FCF0-6B62-38B7-9BD3-1DD6C7D2897B}"/>
                </a:ext>
              </a:extLst>
            </p:cNvPr>
            <p:cNvSpPr/>
            <p:nvPr/>
          </p:nvSpPr>
          <p:spPr>
            <a:xfrm>
              <a:off x="6080680" y="2651987"/>
              <a:ext cx="928201" cy="430313"/>
            </a:xfrm>
            <a:custGeom>
              <a:avLst/>
              <a:gdLst>
                <a:gd name="connsiteX0" fmla="*/ 717826 w 928201"/>
                <a:gd name="connsiteY0" fmla="*/ 407363 h 430313"/>
                <a:gd name="connsiteX1" fmla="*/ 710814 w 928201"/>
                <a:gd name="connsiteY1" fmla="*/ 414376 h 430313"/>
                <a:gd name="connsiteX2" fmla="*/ 712089 w 928201"/>
                <a:gd name="connsiteY2" fmla="*/ 415651 h 430313"/>
                <a:gd name="connsiteX3" fmla="*/ 717826 w 928201"/>
                <a:gd name="connsiteY3" fmla="*/ 407363 h 430313"/>
                <a:gd name="connsiteX4" fmla="*/ 717826 w 928201"/>
                <a:gd name="connsiteY4" fmla="*/ 407363 h 430313"/>
                <a:gd name="connsiteX5" fmla="*/ 722926 w 928201"/>
                <a:gd name="connsiteY5" fmla="*/ 370388 h 430313"/>
                <a:gd name="connsiteX6" fmla="*/ 719739 w 928201"/>
                <a:gd name="connsiteY6" fmla="*/ 375488 h 430313"/>
                <a:gd name="connsiteX7" fmla="*/ 721014 w 928201"/>
                <a:gd name="connsiteY7" fmla="*/ 380588 h 430313"/>
                <a:gd name="connsiteX8" fmla="*/ 722926 w 928201"/>
                <a:gd name="connsiteY8" fmla="*/ 370388 h 430313"/>
                <a:gd name="connsiteX9" fmla="*/ 722926 w 928201"/>
                <a:gd name="connsiteY9" fmla="*/ 370388 h 430313"/>
                <a:gd name="connsiteX10" fmla="*/ 761814 w 928201"/>
                <a:gd name="connsiteY10" fmla="*/ 310463 h 430313"/>
                <a:gd name="connsiteX11" fmla="*/ 751614 w 928201"/>
                <a:gd name="connsiteY11" fmla="*/ 316838 h 430313"/>
                <a:gd name="connsiteX12" fmla="*/ 746514 w 928201"/>
                <a:gd name="connsiteY12" fmla="*/ 324488 h 430313"/>
                <a:gd name="connsiteX13" fmla="*/ 761814 w 928201"/>
                <a:gd name="connsiteY13" fmla="*/ 310463 h 430313"/>
                <a:gd name="connsiteX14" fmla="*/ 761814 w 928201"/>
                <a:gd name="connsiteY14" fmla="*/ 310463 h 430313"/>
                <a:gd name="connsiteX15" fmla="*/ 844051 w 928201"/>
                <a:gd name="connsiteY15" fmla="*/ 270301 h 430313"/>
                <a:gd name="connsiteX16" fmla="*/ 840227 w 928201"/>
                <a:gd name="connsiteY16" fmla="*/ 267751 h 430313"/>
                <a:gd name="connsiteX17" fmla="*/ 831939 w 928201"/>
                <a:gd name="connsiteY17" fmla="*/ 267113 h 430313"/>
                <a:gd name="connsiteX18" fmla="*/ 844051 w 928201"/>
                <a:gd name="connsiteY18" fmla="*/ 270301 h 430313"/>
                <a:gd name="connsiteX19" fmla="*/ 844051 w 928201"/>
                <a:gd name="connsiteY19" fmla="*/ 270301 h 430313"/>
                <a:gd name="connsiteX20" fmla="*/ 826839 w 928201"/>
                <a:gd name="connsiteY20" fmla="*/ 266475 h 430313"/>
                <a:gd name="connsiteX21" fmla="*/ 821102 w 928201"/>
                <a:gd name="connsiteY21" fmla="*/ 266475 h 430313"/>
                <a:gd name="connsiteX22" fmla="*/ 810901 w 928201"/>
                <a:gd name="connsiteY22" fmla="*/ 271576 h 430313"/>
                <a:gd name="connsiteX23" fmla="*/ 826839 w 928201"/>
                <a:gd name="connsiteY23" fmla="*/ 266475 h 430313"/>
                <a:gd name="connsiteX24" fmla="*/ 847239 w 928201"/>
                <a:gd name="connsiteY24" fmla="*/ 272850 h 430313"/>
                <a:gd name="connsiteX25" fmla="*/ 865727 w 928201"/>
                <a:gd name="connsiteY25" fmla="*/ 226313 h 430313"/>
                <a:gd name="connsiteX26" fmla="*/ 852977 w 928201"/>
                <a:gd name="connsiteY26" fmla="*/ 245438 h 430313"/>
                <a:gd name="connsiteX27" fmla="*/ 847239 w 928201"/>
                <a:gd name="connsiteY27" fmla="*/ 272850 h 430313"/>
                <a:gd name="connsiteX28" fmla="*/ 847239 w 928201"/>
                <a:gd name="connsiteY28" fmla="*/ 272850 h 430313"/>
                <a:gd name="connsiteX29" fmla="*/ 874651 w 928201"/>
                <a:gd name="connsiteY29" fmla="*/ 212288 h 430313"/>
                <a:gd name="connsiteX30" fmla="*/ 882939 w 928201"/>
                <a:gd name="connsiteY30" fmla="*/ 200176 h 430313"/>
                <a:gd name="connsiteX31" fmla="*/ 878477 w 928201"/>
                <a:gd name="connsiteY31" fmla="*/ 200176 h 430313"/>
                <a:gd name="connsiteX32" fmla="*/ 874651 w 928201"/>
                <a:gd name="connsiteY32" fmla="*/ 212288 h 430313"/>
                <a:gd name="connsiteX33" fmla="*/ 928202 w 928201"/>
                <a:gd name="connsiteY33" fmla="*/ 162563 h 430313"/>
                <a:gd name="connsiteX34" fmla="*/ 914177 w 928201"/>
                <a:gd name="connsiteY34" fmla="*/ 91163 h 430313"/>
                <a:gd name="connsiteX35" fmla="*/ 926289 w 928201"/>
                <a:gd name="connsiteY35" fmla="*/ 128138 h 430313"/>
                <a:gd name="connsiteX36" fmla="*/ 928202 w 928201"/>
                <a:gd name="connsiteY36" fmla="*/ 162563 h 430313"/>
                <a:gd name="connsiteX37" fmla="*/ 928202 w 928201"/>
                <a:gd name="connsiteY37" fmla="*/ 162563 h 430313"/>
                <a:gd name="connsiteX38" fmla="*/ 850426 w 928201"/>
                <a:gd name="connsiteY38" fmla="*/ 0 h 430313"/>
                <a:gd name="connsiteX39" fmla="*/ 849151 w 928201"/>
                <a:gd name="connsiteY39" fmla="*/ 638 h 430313"/>
                <a:gd name="connsiteX40" fmla="*/ 847239 w 928201"/>
                <a:gd name="connsiteY40" fmla="*/ 1275 h 430313"/>
                <a:gd name="connsiteX41" fmla="*/ 847239 w 928201"/>
                <a:gd name="connsiteY41" fmla="*/ 1275 h 430313"/>
                <a:gd name="connsiteX42" fmla="*/ 847877 w 928201"/>
                <a:gd name="connsiteY42" fmla="*/ 1275 h 430313"/>
                <a:gd name="connsiteX43" fmla="*/ 882939 w 928201"/>
                <a:gd name="connsiteY43" fmla="*/ 60563 h 430313"/>
                <a:gd name="connsiteX44" fmla="*/ 910989 w 928201"/>
                <a:gd name="connsiteY44" fmla="*/ 88613 h 430313"/>
                <a:gd name="connsiteX45" fmla="*/ 850426 w 928201"/>
                <a:gd name="connsiteY45" fmla="*/ 0 h 430313"/>
                <a:gd name="connsiteX46" fmla="*/ 850426 w 928201"/>
                <a:gd name="connsiteY46" fmla="*/ 0 h 430313"/>
                <a:gd name="connsiteX47" fmla="*/ 850426 w 928201"/>
                <a:gd name="connsiteY47" fmla="*/ 0 h 430313"/>
                <a:gd name="connsiteX48" fmla="*/ 838952 w 928201"/>
                <a:gd name="connsiteY48" fmla="*/ 3825 h 430313"/>
                <a:gd name="connsiteX49" fmla="*/ 833852 w 928201"/>
                <a:gd name="connsiteY49" fmla="*/ 5100 h 430313"/>
                <a:gd name="connsiteX50" fmla="*/ 833852 w 928201"/>
                <a:gd name="connsiteY50" fmla="*/ 5100 h 430313"/>
                <a:gd name="connsiteX51" fmla="*/ 835127 w 928201"/>
                <a:gd name="connsiteY51" fmla="*/ 5738 h 430313"/>
                <a:gd name="connsiteX52" fmla="*/ 846602 w 928201"/>
                <a:gd name="connsiteY52" fmla="*/ 5738 h 430313"/>
                <a:gd name="connsiteX53" fmla="*/ 845327 w 928201"/>
                <a:gd name="connsiteY53" fmla="*/ 1913 h 430313"/>
                <a:gd name="connsiteX54" fmla="*/ 845327 w 928201"/>
                <a:gd name="connsiteY54" fmla="*/ 1913 h 430313"/>
                <a:gd name="connsiteX55" fmla="*/ 842776 w 928201"/>
                <a:gd name="connsiteY55" fmla="*/ 2550 h 430313"/>
                <a:gd name="connsiteX56" fmla="*/ 840864 w 928201"/>
                <a:gd name="connsiteY56" fmla="*/ 2550 h 430313"/>
                <a:gd name="connsiteX57" fmla="*/ 840864 w 928201"/>
                <a:gd name="connsiteY57" fmla="*/ 2550 h 430313"/>
                <a:gd name="connsiteX58" fmla="*/ 840864 w 928201"/>
                <a:gd name="connsiteY58" fmla="*/ 3825 h 430313"/>
                <a:gd name="connsiteX59" fmla="*/ 838952 w 928201"/>
                <a:gd name="connsiteY59" fmla="*/ 3825 h 430313"/>
                <a:gd name="connsiteX60" fmla="*/ 838952 w 928201"/>
                <a:gd name="connsiteY60" fmla="*/ 3825 h 430313"/>
                <a:gd name="connsiteX61" fmla="*/ 838952 w 928201"/>
                <a:gd name="connsiteY61" fmla="*/ 3825 h 430313"/>
                <a:gd name="connsiteX62" fmla="*/ 838952 w 928201"/>
                <a:gd name="connsiteY62" fmla="*/ 3825 h 430313"/>
                <a:gd name="connsiteX63" fmla="*/ 244800 w 928201"/>
                <a:gd name="connsiteY63" fmla="*/ 149813 h 430313"/>
                <a:gd name="connsiteX64" fmla="*/ 241613 w 928201"/>
                <a:gd name="connsiteY64" fmla="*/ 160013 h 430313"/>
                <a:gd name="connsiteX65" fmla="*/ 242250 w 928201"/>
                <a:gd name="connsiteY65" fmla="*/ 188063 h 430313"/>
                <a:gd name="connsiteX66" fmla="*/ 235238 w 928201"/>
                <a:gd name="connsiteY66" fmla="*/ 187426 h 430313"/>
                <a:gd name="connsiteX67" fmla="*/ 218663 w 928201"/>
                <a:gd name="connsiteY67" fmla="*/ 221213 h 430313"/>
                <a:gd name="connsiteX68" fmla="*/ 200175 w 928201"/>
                <a:gd name="connsiteY68" fmla="*/ 223125 h 430313"/>
                <a:gd name="connsiteX69" fmla="*/ 165750 w 928201"/>
                <a:gd name="connsiteY69" fmla="*/ 256913 h 430313"/>
                <a:gd name="connsiteX70" fmla="*/ 150450 w 928201"/>
                <a:gd name="connsiteY70" fmla="*/ 251176 h 430313"/>
                <a:gd name="connsiteX71" fmla="*/ 130688 w 928201"/>
                <a:gd name="connsiteY71" fmla="*/ 281138 h 430313"/>
                <a:gd name="connsiteX72" fmla="*/ 77775 w 928201"/>
                <a:gd name="connsiteY72" fmla="*/ 328951 h 430313"/>
                <a:gd name="connsiteX73" fmla="*/ 52275 w 928201"/>
                <a:gd name="connsiteY73" fmla="*/ 335326 h 430313"/>
                <a:gd name="connsiteX74" fmla="*/ 24862 w 928201"/>
                <a:gd name="connsiteY74" fmla="*/ 360188 h 430313"/>
                <a:gd name="connsiteX75" fmla="*/ 23587 w 928201"/>
                <a:gd name="connsiteY75" fmla="*/ 376764 h 430313"/>
                <a:gd name="connsiteX76" fmla="*/ 0 w 928201"/>
                <a:gd name="connsiteY76" fmla="*/ 389514 h 430313"/>
                <a:gd name="connsiteX77" fmla="*/ 637 w 928201"/>
                <a:gd name="connsiteY77" fmla="*/ 418201 h 430313"/>
                <a:gd name="connsiteX78" fmla="*/ 637 w 928201"/>
                <a:gd name="connsiteY78" fmla="*/ 424576 h 430313"/>
                <a:gd name="connsiteX79" fmla="*/ 8925 w 928201"/>
                <a:gd name="connsiteY79" fmla="*/ 422663 h 430313"/>
                <a:gd name="connsiteX80" fmla="*/ 98813 w 928201"/>
                <a:gd name="connsiteY80" fmla="*/ 404176 h 430313"/>
                <a:gd name="connsiteX81" fmla="*/ 123038 w 928201"/>
                <a:gd name="connsiteY81" fmla="*/ 399076 h 430313"/>
                <a:gd name="connsiteX82" fmla="*/ 131325 w 928201"/>
                <a:gd name="connsiteY82" fmla="*/ 397163 h 430313"/>
                <a:gd name="connsiteX83" fmla="*/ 133238 w 928201"/>
                <a:gd name="connsiteY83" fmla="*/ 397163 h 430313"/>
                <a:gd name="connsiteX84" fmla="*/ 346163 w 928201"/>
                <a:gd name="connsiteY84" fmla="*/ 329588 h 430313"/>
                <a:gd name="connsiteX85" fmla="*/ 381863 w 928201"/>
                <a:gd name="connsiteY85" fmla="*/ 348076 h 430313"/>
                <a:gd name="connsiteX86" fmla="*/ 454538 w 928201"/>
                <a:gd name="connsiteY86" fmla="*/ 350626 h 430313"/>
                <a:gd name="connsiteX87" fmla="*/ 508088 w 928201"/>
                <a:gd name="connsiteY87" fmla="*/ 339788 h 430313"/>
                <a:gd name="connsiteX88" fmla="*/ 650889 w 928201"/>
                <a:gd name="connsiteY88" fmla="*/ 430313 h 430313"/>
                <a:gd name="connsiteX89" fmla="*/ 653439 w 928201"/>
                <a:gd name="connsiteY89" fmla="*/ 428401 h 430313"/>
                <a:gd name="connsiteX90" fmla="*/ 719739 w 928201"/>
                <a:gd name="connsiteY90" fmla="*/ 400988 h 430313"/>
                <a:gd name="connsiteX91" fmla="*/ 720376 w 928201"/>
                <a:gd name="connsiteY91" fmla="*/ 365926 h 430313"/>
                <a:gd name="connsiteX92" fmla="*/ 743964 w 928201"/>
                <a:gd name="connsiteY92" fmla="*/ 323213 h 430313"/>
                <a:gd name="connsiteX93" fmla="*/ 769464 w 928201"/>
                <a:gd name="connsiteY93" fmla="*/ 298988 h 430313"/>
                <a:gd name="connsiteX94" fmla="*/ 823014 w 928201"/>
                <a:gd name="connsiteY94" fmla="*/ 263926 h 430313"/>
                <a:gd name="connsiteX95" fmla="*/ 830026 w 928201"/>
                <a:gd name="connsiteY95" fmla="*/ 251176 h 430313"/>
                <a:gd name="connsiteX96" fmla="*/ 844051 w 928201"/>
                <a:gd name="connsiteY96" fmla="*/ 257551 h 430313"/>
                <a:gd name="connsiteX97" fmla="*/ 850426 w 928201"/>
                <a:gd name="connsiteY97" fmla="*/ 215475 h 430313"/>
                <a:gd name="connsiteX98" fmla="*/ 842776 w 928201"/>
                <a:gd name="connsiteY98" fmla="*/ 230138 h 430313"/>
                <a:gd name="connsiteX99" fmla="*/ 815364 w 928201"/>
                <a:gd name="connsiteY99" fmla="*/ 239701 h 430313"/>
                <a:gd name="connsiteX100" fmla="*/ 789864 w 928201"/>
                <a:gd name="connsiteY100" fmla="*/ 240338 h 430313"/>
                <a:gd name="connsiteX101" fmla="*/ 821739 w 928201"/>
                <a:gd name="connsiteY101" fmla="*/ 217388 h 430313"/>
                <a:gd name="connsiteX102" fmla="*/ 813452 w 928201"/>
                <a:gd name="connsiteY102" fmla="*/ 205275 h 430313"/>
                <a:gd name="connsiteX103" fmla="*/ 824926 w 928201"/>
                <a:gd name="connsiteY103" fmla="*/ 182325 h 430313"/>
                <a:gd name="connsiteX104" fmla="*/ 765002 w 928201"/>
                <a:gd name="connsiteY104" fmla="*/ 172125 h 430313"/>
                <a:gd name="connsiteX105" fmla="*/ 762451 w 928201"/>
                <a:gd name="connsiteY105" fmla="*/ 168938 h 430313"/>
                <a:gd name="connsiteX106" fmla="*/ 814089 w 928201"/>
                <a:gd name="connsiteY106" fmla="*/ 158738 h 430313"/>
                <a:gd name="connsiteX107" fmla="*/ 830664 w 928201"/>
                <a:gd name="connsiteY107" fmla="*/ 167025 h 430313"/>
                <a:gd name="connsiteX108" fmla="*/ 851702 w 928201"/>
                <a:gd name="connsiteY108" fmla="*/ 165113 h 430313"/>
                <a:gd name="connsiteX109" fmla="*/ 868914 w 928201"/>
                <a:gd name="connsiteY109" fmla="*/ 152363 h 430313"/>
                <a:gd name="connsiteX110" fmla="*/ 881664 w 928201"/>
                <a:gd name="connsiteY110" fmla="*/ 127500 h 430313"/>
                <a:gd name="connsiteX111" fmla="*/ 893139 w 928201"/>
                <a:gd name="connsiteY111" fmla="*/ 124313 h 430313"/>
                <a:gd name="connsiteX112" fmla="*/ 891227 w 928201"/>
                <a:gd name="connsiteY112" fmla="*/ 89250 h 430313"/>
                <a:gd name="connsiteX113" fmla="*/ 876564 w 928201"/>
                <a:gd name="connsiteY113" fmla="*/ 75225 h 430313"/>
                <a:gd name="connsiteX114" fmla="*/ 861901 w 928201"/>
                <a:gd name="connsiteY114" fmla="*/ 88613 h 430313"/>
                <a:gd name="connsiteX115" fmla="*/ 865089 w 928201"/>
                <a:gd name="connsiteY115" fmla="*/ 122400 h 430313"/>
                <a:gd name="connsiteX116" fmla="*/ 853614 w 928201"/>
                <a:gd name="connsiteY116" fmla="*/ 80963 h 430313"/>
                <a:gd name="connsiteX117" fmla="*/ 845327 w 928201"/>
                <a:gd name="connsiteY117" fmla="*/ 79050 h 430313"/>
                <a:gd name="connsiteX118" fmla="*/ 781576 w 928201"/>
                <a:gd name="connsiteY118" fmla="*/ 105825 h 430313"/>
                <a:gd name="connsiteX119" fmla="*/ 810264 w 928201"/>
                <a:gd name="connsiteY119" fmla="*/ 77775 h 430313"/>
                <a:gd name="connsiteX120" fmla="*/ 811539 w 928201"/>
                <a:gd name="connsiteY120" fmla="*/ 66300 h 430313"/>
                <a:gd name="connsiteX121" fmla="*/ 841502 w 928201"/>
                <a:gd name="connsiteY121" fmla="*/ 59288 h 430313"/>
                <a:gd name="connsiteX122" fmla="*/ 849789 w 928201"/>
                <a:gd name="connsiteY122" fmla="*/ 37613 h 430313"/>
                <a:gd name="connsiteX123" fmla="*/ 869552 w 928201"/>
                <a:gd name="connsiteY123" fmla="*/ 49088 h 430313"/>
                <a:gd name="connsiteX124" fmla="*/ 848514 w 928201"/>
                <a:gd name="connsiteY124" fmla="*/ 17213 h 430313"/>
                <a:gd name="connsiteX125" fmla="*/ 833852 w 928201"/>
                <a:gd name="connsiteY125" fmla="*/ 4463 h 430313"/>
                <a:gd name="connsiteX126" fmla="*/ 833852 w 928201"/>
                <a:gd name="connsiteY126" fmla="*/ 4463 h 430313"/>
                <a:gd name="connsiteX127" fmla="*/ 576301 w 928201"/>
                <a:gd name="connsiteY127" fmla="*/ 77775 h 430313"/>
                <a:gd name="connsiteX128" fmla="*/ 412463 w 928201"/>
                <a:gd name="connsiteY128" fmla="*/ 119213 h 430313"/>
                <a:gd name="connsiteX129" fmla="*/ 246713 w 928201"/>
                <a:gd name="connsiteY129" fmla="*/ 150450 h 430313"/>
                <a:gd name="connsiteX130" fmla="*/ 244800 w 928201"/>
                <a:gd name="connsiteY130" fmla="*/ 149813 h 430313"/>
                <a:gd name="connsiteX131" fmla="*/ 244800 w 928201"/>
                <a:gd name="connsiteY131" fmla="*/ 149813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28201" h="430313">
                  <a:moveTo>
                    <a:pt x="717826" y="407363"/>
                  </a:moveTo>
                  <a:lnTo>
                    <a:pt x="710814" y="414376"/>
                  </a:lnTo>
                  <a:lnTo>
                    <a:pt x="712089" y="415651"/>
                  </a:lnTo>
                  <a:lnTo>
                    <a:pt x="717826" y="407363"/>
                  </a:lnTo>
                  <a:lnTo>
                    <a:pt x="717826" y="407363"/>
                  </a:lnTo>
                  <a:close/>
                  <a:moveTo>
                    <a:pt x="722926" y="370388"/>
                  </a:moveTo>
                  <a:lnTo>
                    <a:pt x="719739" y="375488"/>
                  </a:lnTo>
                  <a:lnTo>
                    <a:pt x="721014" y="380588"/>
                  </a:lnTo>
                  <a:lnTo>
                    <a:pt x="722926" y="370388"/>
                  </a:lnTo>
                  <a:lnTo>
                    <a:pt x="722926" y="370388"/>
                  </a:lnTo>
                  <a:close/>
                  <a:moveTo>
                    <a:pt x="761814" y="310463"/>
                  </a:moveTo>
                  <a:lnTo>
                    <a:pt x="751614" y="316838"/>
                  </a:lnTo>
                  <a:lnTo>
                    <a:pt x="746514" y="324488"/>
                  </a:lnTo>
                  <a:lnTo>
                    <a:pt x="761814" y="310463"/>
                  </a:lnTo>
                  <a:lnTo>
                    <a:pt x="761814" y="310463"/>
                  </a:lnTo>
                  <a:close/>
                  <a:moveTo>
                    <a:pt x="844051" y="270301"/>
                  </a:moveTo>
                  <a:lnTo>
                    <a:pt x="840227" y="267751"/>
                  </a:lnTo>
                  <a:lnTo>
                    <a:pt x="831939" y="267113"/>
                  </a:lnTo>
                  <a:lnTo>
                    <a:pt x="844051" y="270301"/>
                  </a:lnTo>
                  <a:lnTo>
                    <a:pt x="844051" y="270301"/>
                  </a:lnTo>
                  <a:close/>
                  <a:moveTo>
                    <a:pt x="826839" y="266475"/>
                  </a:moveTo>
                  <a:lnTo>
                    <a:pt x="821102" y="266475"/>
                  </a:lnTo>
                  <a:lnTo>
                    <a:pt x="810901" y="271576"/>
                  </a:lnTo>
                  <a:lnTo>
                    <a:pt x="826839" y="266475"/>
                  </a:lnTo>
                  <a:close/>
                  <a:moveTo>
                    <a:pt x="847239" y="272850"/>
                  </a:moveTo>
                  <a:lnTo>
                    <a:pt x="865727" y="226313"/>
                  </a:lnTo>
                  <a:lnTo>
                    <a:pt x="852977" y="245438"/>
                  </a:lnTo>
                  <a:lnTo>
                    <a:pt x="847239" y="272850"/>
                  </a:lnTo>
                  <a:lnTo>
                    <a:pt x="847239" y="272850"/>
                  </a:lnTo>
                  <a:close/>
                  <a:moveTo>
                    <a:pt x="874651" y="212288"/>
                  </a:moveTo>
                  <a:lnTo>
                    <a:pt x="882939" y="200176"/>
                  </a:lnTo>
                  <a:lnTo>
                    <a:pt x="878477" y="200176"/>
                  </a:lnTo>
                  <a:lnTo>
                    <a:pt x="874651" y="212288"/>
                  </a:lnTo>
                  <a:close/>
                  <a:moveTo>
                    <a:pt x="928202" y="162563"/>
                  </a:moveTo>
                  <a:lnTo>
                    <a:pt x="914177" y="91163"/>
                  </a:lnTo>
                  <a:lnTo>
                    <a:pt x="926289" y="128138"/>
                  </a:lnTo>
                  <a:lnTo>
                    <a:pt x="928202" y="162563"/>
                  </a:lnTo>
                  <a:lnTo>
                    <a:pt x="928202" y="162563"/>
                  </a:lnTo>
                  <a:close/>
                  <a:moveTo>
                    <a:pt x="850426" y="0"/>
                  </a:moveTo>
                  <a:lnTo>
                    <a:pt x="849151" y="638"/>
                  </a:lnTo>
                  <a:lnTo>
                    <a:pt x="847239" y="1275"/>
                  </a:lnTo>
                  <a:lnTo>
                    <a:pt x="847239" y="1275"/>
                  </a:lnTo>
                  <a:lnTo>
                    <a:pt x="847877" y="1275"/>
                  </a:lnTo>
                  <a:lnTo>
                    <a:pt x="882939" y="60563"/>
                  </a:lnTo>
                  <a:lnTo>
                    <a:pt x="910989" y="88613"/>
                  </a:lnTo>
                  <a:lnTo>
                    <a:pt x="850426" y="0"/>
                  </a:lnTo>
                  <a:lnTo>
                    <a:pt x="850426" y="0"/>
                  </a:lnTo>
                  <a:lnTo>
                    <a:pt x="850426" y="0"/>
                  </a:lnTo>
                  <a:close/>
                  <a:moveTo>
                    <a:pt x="838952" y="3825"/>
                  </a:moveTo>
                  <a:lnTo>
                    <a:pt x="833852" y="5100"/>
                  </a:lnTo>
                  <a:lnTo>
                    <a:pt x="833852" y="5100"/>
                  </a:lnTo>
                  <a:lnTo>
                    <a:pt x="835127" y="5738"/>
                  </a:lnTo>
                  <a:lnTo>
                    <a:pt x="846602" y="5738"/>
                  </a:lnTo>
                  <a:lnTo>
                    <a:pt x="845327" y="1913"/>
                  </a:lnTo>
                  <a:lnTo>
                    <a:pt x="845327" y="1913"/>
                  </a:lnTo>
                  <a:lnTo>
                    <a:pt x="842776" y="2550"/>
                  </a:lnTo>
                  <a:lnTo>
                    <a:pt x="840864" y="2550"/>
                  </a:lnTo>
                  <a:lnTo>
                    <a:pt x="840864" y="2550"/>
                  </a:lnTo>
                  <a:lnTo>
                    <a:pt x="840864" y="3825"/>
                  </a:lnTo>
                  <a:lnTo>
                    <a:pt x="838952" y="3825"/>
                  </a:lnTo>
                  <a:lnTo>
                    <a:pt x="838952" y="3825"/>
                  </a:lnTo>
                  <a:lnTo>
                    <a:pt x="838952" y="3825"/>
                  </a:lnTo>
                  <a:lnTo>
                    <a:pt x="838952" y="3825"/>
                  </a:lnTo>
                  <a:close/>
                  <a:moveTo>
                    <a:pt x="244800" y="149813"/>
                  </a:moveTo>
                  <a:lnTo>
                    <a:pt x="241613" y="160013"/>
                  </a:lnTo>
                  <a:lnTo>
                    <a:pt x="242250" y="188063"/>
                  </a:lnTo>
                  <a:lnTo>
                    <a:pt x="235238" y="187426"/>
                  </a:lnTo>
                  <a:lnTo>
                    <a:pt x="218663" y="221213"/>
                  </a:lnTo>
                  <a:lnTo>
                    <a:pt x="200175" y="223125"/>
                  </a:lnTo>
                  <a:lnTo>
                    <a:pt x="165750" y="256913"/>
                  </a:lnTo>
                  <a:lnTo>
                    <a:pt x="150450" y="251176"/>
                  </a:lnTo>
                  <a:lnTo>
                    <a:pt x="130688" y="281138"/>
                  </a:lnTo>
                  <a:lnTo>
                    <a:pt x="77775" y="328951"/>
                  </a:lnTo>
                  <a:lnTo>
                    <a:pt x="52275" y="335326"/>
                  </a:lnTo>
                  <a:lnTo>
                    <a:pt x="24862" y="360188"/>
                  </a:lnTo>
                  <a:lnTo>
                    <a:pt x="23587" y="376764"/>
                  </a:lnTo>
                  <a:lnTo>
                    <a:pt x="0" y="389514"/>
                  </a:lnTo>
                  <a:lnTo>
                    <a:pt x="637" y="418201"/>
                  </a:lnTo>
                  <a:lnTo>
                    <a:pt x="637" y="424576"/>
                  </a:lnTo>
                  <a:lnTo>
                    <a:pt x="8925" y="422663"/>
                  </a:lnTo>
                  <a:lnTo>
                    <a:pt x="98813" y="404176"/>
                  </a:lnTo>
                  <a:lnTo>
                    <a:pt x="123038" y="399076"/>
                  </a:lnTo>
                  <a:lnTo>
                    <a:pt x="131325" y="397163"/>
                  </a:lnTo>
                  <a:lnTo>
                    <a:pt x="133238" y="397163"/>
                  </a:lnTo>
                  <a:lnTo>
                    <a:pt x="346163" y="329588"/>
                  </a:lnTo>
                  <a:lnTo>
                    <a:pt x="381863" y="348076"/>
                  </a:lnTo>
                  <a:lnTo>
                    <a:pt x="454538" y="350626"/>
                  </a:lnTo>
                  <a:lnTo>
                    <a:pt x="508088" y="339788"/>
                  </a:lnTo>
                  <a:lnTo>
                    <a:pt x="650889" y="430313"/>
                  </a:lnTo>
                  <a:lnTo>
                    <a:pt x="653439" y="428401"/>
                  </a:lnTo>
                  <a:lnTo>
                    <a:pt x="719739" y="400988"/>
                  </a:lnTo>
                  <a:lnTo>
                    <a:pt x="720376" y="365926"/>
                  </a:lnTo>
                  <a:lnTo>
                    <a:pt x="743964" y="323213"/>
                  </a:lnTo>
                  <a:lnTo>
                    <a:pt x="769464" y="298988"/>
                  </a:lnTo>
                  <a:lnTo>
                    <a:pt x="823014" y="263926"/>
                  </a:lnTo>
                  <a:lnTo>
                    <a:pt x="830026" y="251176"/>
                  </a:lnTo>
                  <a:lnTo>
                    <a:pt x="844051" y="257551"/>
                  </a:lnTo>
                  <a:lnTo>
                    <a:pt x="850426" y="215475"/>
                  </a:lnTo>
                  <a:lnTo>
                    <a:pt x="842776" y="230138"/>
                  </a:lnTo>
                  <a:lnTo>
                    <a:pt x="815364" y="239701"/>
                  </a:lnTo>
                  <a:lnTo>
                    <a:pt x="789864" y="240338"/>
                  </a:lnTo>
                  <a:lnTo>
                    <a:pt x="821739" y="217388"/>
                  </a:lnTo>
                  <a:lnTo>
                    <a:pt x="813452" y="205275"/>
                  </a:lnTo>
                  <a:lnTo>
                    <a:pt x="824926" y="182325"/>
                  </a:lnTo>
                  <a:lnTo>
                    <a:pt x="765002" y="172125"/>
                  </a:lnTo>
                  <a:lnTo>
                    <a:pt x="762451" y="168938"/>
                  </a:lnTo>
                  <a:lnTo>
                    <a:pt x="814089" y="158738"/>
                  </a:lnTo>
                  <a:lnTo>
                    <a:pt x="830664" y="167025"/>
                  </a:lnTo>
                  <a:lnTo>
                    <a:pt x="851702" y="165113"/>
                  </a:lnTo>
                  <a:lnTo>
                    <a:pt x="868914" y="152363"/>
                  </a:lnTo>
                  <a:lnTo>
                    <a:pt x="881664" y="127500"/>
                  </a:lnTo>
                  <a:lnTo>
                    <a:pt x="893139" y="124313"/>
                  </a:lnTo>
                  <a:lnTo>
                    <a:pt x="891227" y="89250"/>
                  </a:lnTo>
                  <a:lnTo>
                    <a:pt x="876564" y="75225"/>
                  </a:lnTo>
                  <a:lnTo>
                    <a:pt x="861901" y="88613"/>
                  </a:lnTo>
                  <a:lnTo>
                    <a:pt x="865089" y="122400"/>
                  </a:lnTo>
                  <a:lnTo>
                    <a:pt x="853614" y="80963"/>
                  </a:lnTo>
                  <a:lnTo>
                    <a:pt x="845327" y="79050"/>
                  </a:lnTo>
                  <a:lnTo>
                    <a:pt x="781576" y="105825"/>
                  </a:lnTo>
                  <a:lnTo>
                    <a:pt x="810264" y="77775"/>
                  </a:lnTo>
                  <a:lnTo>
                    <a:pt x="811539" y="66300"/>
                  </a:lnTo>
                  <a:lnTo>
                    <a:pt x="841502" y="59288"/>
                  </a:lnTo>
                  <a:lnTo>
                    <a:pt x="849789" y="37613"/>
                  </a:lnTo>
                  <a:lnTo>
                    <a:pt x="869552" y="49088"/>
                  </a:lnTo>
                  <a:lnTo>
                    <a:pt x="848514" y="17213"/>
                  </a:lnTo>
                  <a:lnTo>
                    <a:pt x="833852" y="4463"/>
                  </a:lnTo>
                  <a:lnTo>
                    <a:pt x="833852" y="4463"/>
                  </a:lnTo>
                  <a:lnTo>
                    <a:pt x="576301" y="77775"/>
                  </a:lnTo>
                  <a:lnTo>
                    <a:pt x="412463" y="119213"/>
                  </a:lnTo>
                  <a:lnTo>
                    <a:pt x="246713" y="150450"/>
                  </a:lnTo>
                  <a:lnTo>
                    <a:pt x="244800" y="149813"/>
                  </a:lnTo>
                  <a:lnTo>
                    <a:pt x="244800" y="1498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16" name="Freeform 55">
              <a:extLst>
                <a:ext uri="{FF2B5EF4-FFF2-40B4-BE49-F238E27FC236}">
                  <a16:creationId xmlns:a16="http://schemas.microsoft.com/office/drawing/2014/main" id="{88846DB9-BD8E-B76F-8642-77CACD8DD376}"/>
                </a:ext>
              </a:extLst>
            </p:cNvPr>
            <p:cNvSpPr/>
            <p:nvPr/>
          </p:nvSpPr>
          <p:spPr>
            <a:xfrm>
              <a:off x="5876680" y="2065485"/>
              <a:ext cx="451350" cy="520838"/>
            </a:xfrm>
            <a:custGeom>
              <a:avLst/>
              <a:gdLst>
                <a:gd name="connsiteX0" fmla="*/ 445613 w 451350"/>
                <a:gd name="connsiteY0" fmla="*/ 162563 h 520838"/>
                <a:gd name="connsiteX1" fmla="*/ 429676 w 451350"/>
                <a:gd name="connsiteY1" fmla="*/ 93075 h 520838"/>
                <a:gd name="connsiteX2" fmla="*/ 426488 w 451350"/>
                <a:gd name="connsiteY2" fmla="*/ 79050 h 520838"/>
                <a:gd name="connsiteX3" fmla="*/ 408638 w 451350"/>
                <a:gd name="connsiteY3" fmla="*/ 0 h 520838"/>
                <a:gd name="connsiteX4" fmla="*/ 385688 w 451350"/>
                <a:gd name="connsiteY4" fmla="*/ 14663 h 520838"/>
                <a:gd name="connsiteX5" fmla="*/ 335963 w 451350"/>
                <a:gd name="connsiteY5" fmla="*/ 52275 h 520838"/>
                <a:gd name="connsiteX6" fmla="*/ 303450 w 451350"/>
                <a:gd name="connsiteY6" fmla="*/ 91163 h 520838"/>
                <a:gd name="connsiteX7" fmla="*/ 278588 w 451350"/>
                <a:gd name="connsiteY7" fmla="*/ 94988 h 520838"/>
                <a:gd name="connsiteX8" fmla="*/ 232050 w 451350"/>
                <a:gd name="connsiteY8" fmla="*/ 121763 h 520838"/>
                <a:gd name="connsiteX9" fmla="*/ 206550 w 451350"/>
                <a:gd name="connsiteY9" fmla="*/ 106463 h 520838"/>
                <a:gd name="connsiteX10" fmla="*/ 129413 w 451350"/>
                <a:gd name="connsiteY10" fmla="*/ 96900 h 520838"/>
                <a:gd name="connsiteX11" fmla="*/ 129413 w 451350"/>
                <a:gd name="connsiteY11" fmla="*/ 96900 h 520838"/>
                <a:gd name="connsiteX12" fmla="*/ 88612 w 451350"/>
                <a:gd name="connsiteY12" fmla="*/ 107738 h 520838"/>
                <a:gd name="connsiteX13" fmla="*/ 48450 w 451350"/>
                <a:gd name="connsiteY13" fmla="*/ 117938 h 520838"/>
                <a:gd name="connsiteX14" fmla="*/ 6375 w 451350"/>
                <a:gd name="connsiteY14" fmla="*/ 127500 h 520838"/>
                <a:gd name="connsiteX15" fmla="*/ 0 w 451350"/>
                <a:gd name="connsiteY15" fmla="*/ 129413 h 520838"/>
                <a:gd name="connsiteX16" fmla="*/ 1912 w 451350"/>
                <a:gd name="connsiteY16" fmla="*/ 140250 h 520838"/>
                <a:gd name="connsiteX17" fmla="*/ 19125 w 451350"/>
                <a:gd name="connsiteY17" fmla="*/ 237788 h 520838"/>
                <a:gd name="connsiteX18" fmla="*/ 57375 w 451350"/>
                <a:gd name="connsiteY18" fmla="*/ 465376 h 520838"/>
                <a:gd name="connsiteX19" fmla="*/ 58650 w 451350"/>
                <a:gd name="connsiteY19" fmla="*/ 476851 h 520838"/>
                <a:gd name="connsiteX20" fmla="*/ 63750 w 451350"/>
                <a:gd name="connsiteY20" fmla="*/ 471751 h 520838"/>
                <a:gd name="connsiteX21" fmla="*/ 95625 w 451350"/>
                <a:gd name="connsiteY21" fmla="*/ 467926 h 520838"/>
                <a:gd name="connsiteX22" fmla="*/ 112200 w 451350"/>
                <a:gd name="connsiteY22" fmla="*/ 476214 h 520838"/>
                <a:gd name="connsiteX23" fmla="*/ 145350 w 451350"/>
                <a:gd name="connsiteY23" fmla="*/ 504901 h 520838"/>
                <a:gd name="connsiteX24" fmla="*/ 154913 w 451350"/>
                <a:gd name="connsiteY24" fmla="*/ 501076 h 520838"/>
                <a:gd name="connsiteX25" fmla="*/ 189338 w 451350"/>
                <a:gd name="connsiteY25" fmla="*/ 516376 h 520838"/>
                <a:gd name="connsiteX26" fmla="*/ 205913 w 451350"/>
                <a:gd name="connsiteY26" fmla="*/ 503626 h 520838"/>
                <a:gd name="connsiteX27" fmla="*/ 225038 w 451350"/>
                <a:gd name="connsiteY27" fmla="*/ 511276 h 520838"/>
                <a:gd name="connsiteX28" fmla="*/ 240338 w 451350"/>
                <a:gd name="connsiteY28" fmla="*/ 507451 h 520838"/>
                <a:gd name="connsiteX29" fmla="*/ 264563 w 451350"/>
                <a:gd name="connsiteY29" fmla="*/ 483864 h 520838"/>
                <a:gd name="connsiteX30" fmla="*/ 276675 w 451350"/>
                <a:gd name="connsiteY30" fmla="*/ 504264 h 520838"/>
                <a:gd name="connsiteX31" fmla="*/ 304088 w 451350"/>
                <a:gd name="connsiteY31" fmla="*/ 519564 h 520838"/>
                <a:gd name="connsiteX32" fmla="*/ 305363 w 451350"/>
                <a:gd name="connsiteY32" fmla="*/ 520839 h 520838"/>
                <a:gd name="connsiteX33" fmla="*/ 305363 w 451350"/>
                <a:gd name="connsiteY33" fmla="*/ 520839 h 520838"/>
                <a:gd name="connsiteX34" fmla="*/ 333413 w 451350"/>
                <a:gd name="connsiteY34" fmla="*/ 507451 h 520838"/>
                <a:gd name="connsiteX35" fmla="*/ 343613 w 451350"/>
                <a:gd name="connsiteY35" fmla="*/ 486414 h 520838"/>
                <a:gd name="connsiteX36" fmla="*/ 335963 w 451350"/>
                <a:gd name="connsiteY36" fmla="*/ 464739 h 520838"/>
                <a:gd name="connsiteX37" fmla="*/ 357638 w 451350"/>
                <a:gd name="connsiteY37" fmla="*/ 431588 h 520838"/>
                <a:gd name="connsiteX38" fmla="*/ 373576 w 451350"/>
                <a:gd name="connsiteY38" fmla="*/ 429038 h 520838"/>
                <a:gd name="connsiteX39" fmla="*/ 371663 w 451350"/>
                <a:gd name="connsiteY39" fmla="*/ 400351 h 520838"/>
                <a:gd name="connsiteX40" fmla="*/ 398438 w 451350"/>
                <a:gd name="connsiteY40" fmla="*/ 364651 h 520838"/>
                <a:gd name="connsiteX41" fmla="*/ 402901 w 451350"/>
                <a:gd name="connsiteY41" fmla="*/ 369751 h 520838"/>
                <a:gd name="connsiteX42" fmla="*/ 426488 w 451350"/>
                <a:gd name="connsiteY42" fmla="*/ 351901 h 520838"/>
                <a:gd name="connsiteX43" fmla="*/ 446888 w 451350"/>
                <a:gd name="connsiteY43" fmla="*/ 320663 h 520838"/>
                <a:gd name="connsiteX44" fmla="*/ 450076 w 451350"/>
                <a:gd name="connsiteY44" fmla="*/ 179775 h 520838"/>
                <a:gd name="connsiteX45" fmla="*/ 451351 w 451350"/>
                <a:gd name="connsiteY45" fmla="*/ 179138 h 520838"/>
                <a:gd name="connsiteX46" fmla="*/ 445613 w 451350"/>
                <a:gd name="connsiteY46" fmla="*/ 162563 h 520838"/>
                <a:gd name="connsiteX47" fmla="*/ 445613 w 451350"/>
                <a:gd name="connsiteY47" fmla="*/ 162563 h 52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1350" h="520838">
                  <a:moveTo>
                    <a:pt x="445613" y="162563"/>
                  </a:moveTo>
                  <a:lnTo>
                    <a:pt x="429676" y="93075"/>
                  </a:lnTo>
                  <a:lnTo>
                    <a:pt x="426488" y="79050"/>
                  </a:lnTo>
                  <a:lnTo>
                    <a:pt x="408638" y="0"/>
                  </a:lnTo>
                  <a:lnTo>
                    <a:pt x="385688" y="14663"/>
                  </a:lnTo>
                  <a:lnTo>
                    <a:pt x="335963" y="52275"/>
                  </a:lnTo>
                  <a:lnTo>
                    <a:pt x="303450" y="91163"/>
                  </a:lnTo>
                  <a:lnTo>
                    <a:pt x="278588" y="94988"/>
                  </a:lnTo>
                  <a:lnTo>
                    <a:pt x="232050" y="121763"/>
                  </a:lnTo>
                  <a:lnTo>
                    <a:pt x="206550" y="106463"/>
                  </a:lnTo>
                  <a:lnTo>
                    <a:pt x="129413" y="96900"/>
                  </a:lnTo>
                  <a:lnTo>
                    <a:pt x="129413" y="96900"/>
                  </a:lnTo>
                  <a:lnTo>
                    <a:pt x="88612" y="107738"/>
                  </a:lnTo>
                  <a:lnTo>
                    <a:pt x="48450" y="117938"/>
                  </a:lnTo>
                  <a:lnTo>
                    <a:pt x="6375" y="127500"/>
                  </a:lnTo>
                  <a:lnTo>
                    <a:pt x="0" y="129413"/>
                  </a:lnTo>
                  <a:lnTo>
                    <a:pt x="1912" y="140250"/>
                  </a:lnTo>
                  <a:lnTo>
                    <a:pt x="19125" y="237788"/>
                  </a:lnTo>
                  <a:lnTo>
                    <a:pt x="57375" y="465376"/>
                  </a:lnTo>
                  <a:lnTo>
                    <a:pt x="58650" y="476851"/>
                  </a:lnTo>
                  <a:lnTo>
                    <a:pt x="63750" y="471751"/>
                  </a:lnTo>
                  <a:lnTo>
                    <a:pt x="95625" y="467926"/>
                  </a:lnTo>
                  <a:lnTo>
                    <a:pt x="112200" y="476214"/>
                  </a:lnTo>
                  <a:lnTo>
                    <a:pt x="145350" y="504901"/>
                  </a:lnTo>
                  <a:lnTo>
                    <a:pt x="154913" y="501076"/>
                  </a:lnTo>
                  <a:lnTo>
                    <a:pt x="189338" y="516376"/>
                  </a:lnTo>
                  <a:lnTo>
                    <a:pt x="205913" y="503626"/>
                  </a:lnTo>
                  <a:lnTo>
                    <a:pt x="225038" y="511276"/>
                  </a:lnTo>
                  <a:lnTo>
                    <a:pt x="240338" y="507451"/>
                  </a:lnTo>
                  <a:lnTo>
                    <a:pt x="264563" y="483864"/>
                  </a:lnTo>
                  <a:lnTo>
                    <a:pt x="276675" y="504264"/>
                  </a:lnTo>
                  <a:lnTo>
                    <a:pt x="304088" y="519564"/>
                  </a:lnTo>
                  <a:lnTo>
                    <a:pt x="305363" y="520839"/>
                  </a:lnTo>
                  <a:lnTo>
                    <a:pt x="305363" y="520839"/>
                  </a:lnTo>
                  <a:lnTo>
                    <a:pt x="333413" y="507451"/>
                  </a:lnTo>
                  <a:lnTo>
                    <a:pt x="343613" y="486414"/>
                  </a:lnTo>
                  <a:lnTo>
                    <a:pt x="335963" y="464739"/>
                  </a:lnTo>
                  <a:lnTo>
                    <a:pt x="357638" y="431588"/>
                  </a:lnTo>
                  <a:lnTo>
                    <a:pt x="373576" y="429038"/>
                  </a:lnTo>
                  <a:lnTo>
                    <a:pt x="371663" y="400351"/>
                  </a:lnTo>
                  <a:lnTo>
                    <a:pt x="398438" y="364651"/>
                  </a:lnTo>
                  <a:lnTo>
                    <a:pt x="402901" y="369751"/>
                  </a:lnTo>
                  <a:lnTo>
                    <a:pt x="426488" y="351901"/>
                  </a:lnTo>
                  <a:lnTo>
                    <a:pt x="446888" y="320663"/>
                  </a:lnTo>
                  <a:lnTo>
                    <a:pt x="450076" y="179775"/>
                  </a:lnTo>
                  <a:lnTo>
                    <a:pt x="451351" y="179138"/>
                  </a:lnTo>
                  <a:lnTo>
                    <a:pt x="445613" y="162563"/>
                  </a:lnTo>
                  <a:lnTo>
                    <a:pt x="445613" y="1625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17" name="Freeform 56">
              <a:extLst>
                <a:ext uri="{FF2B5EF4-FFF2-40B4-BE49-F238E27FC236}">
                  <a16:creationId xmlns:a16="http://schemas.microsoft.com/office/drawing/2014/main" id="{4EE197B3-641F-F466-41BA-D3BBE9BEE226}"/>
                </a:ext>
              </a:extLst>
            </p:cNvPr>
            <p:cNvSpPr/>
            <p:nvPr/>
          </p:nvSpPr>
          <p:spPr>
            <a:xfrm>
              <a:off x="5428516" y="2800524"/>
              <a:ext cx="897602" cy="372300"/>
            </a:xfrm>
            <a:custGeom>
              <a:avLst/>
              <a:gdLst>
                <a:gd name="connsiteX0" fmla="*/ 682764 w 897602"/>
                <a:gd name="connsiteY0" fmla="*/ 49087 h 372300"/>
                <a:gd name="connsiteX1" fmla="*/ 498526 w 897602"/>
                <a:gd name="connsiteY1" fmla="*/ 80325 h 372300"/>
                <a:gd name="connsiteX2" fmla="*/ 237151 w 897602"/>
                <a:gd name="connsiteY2" fmla="*/ 114750 h 372300"/>
                <a:gd name="connsiteX3" fmla="*/ 215476 w 897602"/>
                <a:gd name="connsiteY3" fmla="*/ 115388 h 372300"/>
                <a:gd name="connsiteX4" fmla="*/ 221851 w 897602"/>
                <a:gd name="connsiteY4" fmla="*/ 140888 h 372300"/>
                <a:gd name="connsiteX5" fmla="*/ 92438 w 897602"/>
                <a:gd name="connsiteY5" fmla="*/ 158100 h 372300"/>
                <a:gd name="connsiteX6" fmla="*/ 73950 w 897602"/>
                <a:gd name="connsiteY6" fmla="*/ 160650 h 372300"/>
                <a:gd name="connsiteX7" fmla="*/ 73950 w 897602"/>
                <a:gd name="connsiteY7" fmla="*/ 161288 h 372300"/>
                <a:gd name="connsiteX8" fmla="*/ 68850 w 897602"/>
                <a:gd name="connsiteY8" fmla="*/ 167663 h 372300"/>
                <a:gd name="connsiteX9" fmla="*/ 66300 w 897602"/>
                <a:gd name="connsiteY9" fmla="*/ 167025 h 372300"/>
                <a:gd name="connsiteX10" fmla="*/ 66300 w 897602"/>
                <a:gd name="connsiteY10" fmla="*/ 161925 h 372300"/>
                <a:gd name="connsiteX11" fmla="*/ 66300 w 897602"/>
                <a:gd name="connsiteY11" fmla="*/ 161288 h 372300"/>
                <a:gd name="connsiteX12" fmla="*/ 59288 w 897602"/>
                <a:gd name="connsiteY12" fmla="*/ 161925 h 372300"/>
                <a:gd name="connsiteX13" fmla="*/ 59925 w 897602"/>
                <a:gd name="connsiteY13" fmla="*/ 162563 h 372300"/>
                <a:gd name="connsiteX14" fmla="*/ 63750 w 897602"/>
                <a:gd name="connsiteY14" fmla="*/ 180413 h 372300"/>
                <a:gd name="connsiteX15" fmla="*/ 51000 w 897602"/>
                <a:gd name="connsiteY15" fmla="*/ 196351 h 372300"/>
                <a:gd name="connsiteX16" fmla="*/ 49725 w 897602"/>
                <a:gd name="connsiteY16" fmla="*/ 226313 h 372300"/>
                <a:gd name="connsiteX17" fmla="*/ 49725 w 897602"/>
                <a:gd name="connsiteY17" fmla="*/ 231413 h 372300"/>
                <a:gd name="connsiteX18" fmla="*/ 49725 w 897602"/>
                <a:gd name="connsiteY18" fmla="*/ 232050 h 372300"/>
                <a:gd name="connsiteX19" fmla="*/ 30600 w 897602"/>
                <a:gd name="connsiteY19" fmla="*/ 269025 h 372300"/>
                <a:gd name="connsiteX20" fmla="*/ 34425 w 897602"/>
                <a:gd name="connsiteY20" fmla="*/ 295801 h 372300"/>
                <a:gd name="connsiteX21" fmla="*/ 16575 w 897602"/>
                <a:gd name="connsiteY21" fmla="*/ 324488 h 372300"/>
                <a:gd name="connsiteX22" fmla="*/ 22950 w 897602"/>
                <a:gd name="connsiteY22" fmla="*/ 349988 h 372300"/>
                <a:gd name="connsiteX23" fmla="*/ 0 w 897602"/>
                <a:gd name="connsiteY23" fmla="*/ 371026 h 372300"/>
                <a:gd name="connsiteX24" fmla="*/ 1275 w 897602"/>
                <a:gd name="connsiteY24" fmla="*/ 372301 h 372300"/>
                <a:gd name="connsiteX25" fmla="*/ 15300 w 897602"/>
                <a:gd name="connsiteY25" fmla="*/ 371026 h 372300"/>
                <a:gd name="connsiteX26" fmla="*/ 143438 w 897602"/>
                <a:gd name="connsiteY26" fmla="*/ 355088 h 372300"/>
                <a:gd name="connsiteX27" fmla="*/ 199538 w 897602"/>
                <a:gd name="connsiteY27" fmla="*/ 347438 h 372300"/>
                <a:gd name="connsiteX28" fmla="*/ 232051 w 897602"/>
                <a:gd name="connsiteY28" fmla="*/ 342976 h 372300"/>
                <a:gd name="connsiteX29" fmla="*/ 233326 w 897602"/>
                <a:gd name="connsiteY29" fmla="*/ 342976 h 372300"/>
                <a:gd name="connsiteX30" fmla="*/ 232688 w 897602"/>
                <a:gd name="connsiteY30" fmla="*/ 341701 h 372300"/>
                <a:gd name="connsiteX31" fmla="*/ 340426 w 897602"/>
                <a:gd name="connsiteY31" fmla="*/ 327038 h 372300"/>
                <a:gd name="connsiteX32" fmla="*/ 392063 w 897602"/>
                <a:gd name="connsiteY32" fmla="*/ 320663 h 372300"/>
                <a:gd name="connsiteX33" fmla="*/ 494701 w 897602"/>
                <a:gd name="connsiteY33" fmla="*/ 304088 h 372300"/>
                <a:gd name="connsiteX34" fmla="*/ 513826 w 897602"/>
                <a:gd name="connsiteY34" fmla="*/ 300900 h 372300"/>
                <a:gd name="connsiteX35" fmla="*/ 525301 w 897602"/>
                <a:gd name="connsiteY35" fmla="*/ 299625 h 372300"/>
                <a:gd name="connsiteX36" fmla="*/ 580126 w 897602"/>
                <a:gd name="connsiteY36" fmla="*/ 288788 h 372300"/>
                <a:gd name="connsiteX37" fmla="*/ 593514 w 897602"/>
                <a:gd name="connsiteY37" fmla="*/ 286238 h 372300"/>
                <a:gd name="connsiteX38" fmla="*/ 643876 w 897602"/>
                <a:gd name="connsiteY38" fmla="*/ 276038 h 372300"/>
                <a:gd name="connsiteX39" fmla="*/ 653439 w 897602"/>
                <a:gd name="connsiteY39" fmla="*/ 274763 h 372300"/>
                <a:gd name="connsiteX40" fmla="*/ 653439 w 897602"/>
                <a:gd name="connsiteY40" fmla="*/ 268388 h 372300"/>
                <a:gd name="connsiteX41" fmla="*/ 652801 w 897602"/>
                <a:gd name="connsiteY41" fmla="*/ 239701 h 372300"/>
                <a:gd name="connsiteX42" fmla="*/ 676389 w 897602"/>
                <a:gd name="connsiteY42" fmla="*/ 226951 h 372300"/>
                <a:gd name="connsiteX43" fmla="*/ 677664 w 897602"/>
                <a:gd name="connsiteY43" fmla="*/ 210375 h 372300"/>
                <a:gd name="connsiteX44" fmla="*/ 705077 w 897602"/>
                <a:gd name="connsiteY44" fmla="*/ 185513 h 372300"/>
                <a:gd name="connsiteX45" fmla="*/ 730577 w 897602"/>
                <a:gd name="connsiteY45" fmla="*/ 179138 h 372300"/>
                <a:gd name="connsiteX46" fmla="*/ 783489 w 897602"/>
                <a:gd name="connsiteY46" fmla="*/ 131325 h 372300"/>
                <a:gd name="connsiteX47" fmla="*/ 803252 w 897602"/>
                <a:gd name="connsiteY47" fmla="*/ 101363 h 372300"/>
                <a:gd name="connsiteX48" fmla="*/ 818552 w 897602"/>
                <a:gd name="connsiteY48" fmla="*/ 107100 h 372300"/>
                <a:gd name="connsiteX49" fmla="*/ 852977 w 897602"/>
                <a:gd name="connsiteY49" fmla="*/ 73312 h 372300"/>
                <a:gd name="connsiteX50" fmla="*/ 871464 w 897602"/>
                <a:gd name="connsiteY50" fmla="*/ 71400 h 372300"/>
                <a:gd name="connsiteX51" fmla="*/ 888040 w 897602"/>
                <a:gd name="connsiteY51" fmla="*/ 37613 h 372300"/>
                <a:gd name="connsiteX52" fmla="*/ 895052 w 897602"/>
                <a:gd name="connsiteY52" fmla="*/ 38250 h 372300"/>
                <a:gd name="connsiteX53" fmla="*/ 894415 w 897602"/>
                <a:gd name="connsiteY53" fmla="*/ 10200 h 372300"/>
                <a:gd name="connsiteX54" fmla="*/ 897602 w 897602"/>
                <a:gd name="connsiteY54" fmla="*/ 0 h 372300"/>
                <a:gd name="connsiteX55" fmla="*/ 886765 w 897602"/>
                <a:gd name="connsiteY55" fmla="*/ 1912 h 372300"/>
                <a:gd name="connsiteX56" fmla="*/ 850427 w 897602"/>
                <a:gd name="connsiteY56" fmla="*/ 12750 h 372300"/>
                <a:gd name="connsiteX57" fmla="*/ 806439 w 897602"/>
                <a:gd name="connsiteY57" fmla="*/ 22313 h 372300"/>
                <a:gd name="connsiteX58" fmla="*/ 696789 w 897602"/>
                <a:gd name="connsiteY58" fmla="*/ 44625 h 372300"/>
                <a:gd name="connsiteX59" fmla="*/ 685314 w 897602"/>
                <a:gd name="connsiteY59" fmla="*/ 46538 h 372300"/>
                <a:gd name="connsiteX60" fmla="*/ 682764 w 897602"/>
                <a:gd name="connsiteY60" fmla="*/ 49087 h 372300"/>
                <a:gd name="connsiteX61" fmla="*/ 682764 w 897602"/>
                <a:gd name="connsiteY61" fmla="*/ 49087 h 37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7602" h="372300">
                  <a:moveTo>
                    <a:pt x="682764" y="49087"/>
                  </a:moveTo>
                  <a:lnTo>
                    <a:pt x="498526" y="80325"/>
                  </a:lnTo>
                  <a:lnTo>
                    <a:pt x="237151" y="114750"/>
                  </a:lnTo>
                  <a:lnTo>
                    <a:pt x="215476" y="115388"/>
                  </a:lnTo>
                  <a:lnTo>
                    <a:pt x="221851" y="140888"/>
                  </a:lnTo>
                  <a:lnTo>
                    <a:pt x="92438" y="158100"/>
                  </a:lnTo>
                  <a:lnTo>
                    <a:pt x="73950" y="160650"/>
                  </a:lnTo>
                  <a:lnTo>
                    <a:pt x="73950" y="161288"/>
                  </a:lnTo>
                  <a:lnTo>
                    <a:pt x="68850" y="167663"/>
                  </a:lnTo>
                  <a:lnTo>
                    <a:pt x="66300" y="167025"/>
                  </a:lnTo>
                  <a:lnTo>
                    <a:pt x="66300" y="161925"/>
                  </a:lnTo>
                  <a:lnTo>
                    <a:pt x="66300" y="161288"/>
                  </a:lnTo>
                  <a:lnTo>
                    <a:pt x="59288" y="161925"/>
                  </a:lnTo>
                  <a:lnTo>
                    <a:pt x="59925" y="162563"/>
                  </a:lnTo>
                  <a:lnTo>
                    <a:pt x="63750" y="180413"/>
                  </a:lnTo>
                  <a:lnTo>
                    <a:pt x="51000" y="196351"/>
                  </a:lnTo>
                  <a:lnTo>
                    <a:pt x="49725" y="226313"/>
                  </a:lnTo>
                  <a:lnTo>
                    <a:pt x="49725" y="231413"/>
                  </a:lnTo>
                  <a:lnTo>
                    <a:pt x="49725" y="232050"/>
                  </a:lnTo>
                  <a:lnTo>
                    <a:pt x="30600" y="269025"/>
                  </a:lnTo>
                  <a:lnTo>
                    <a:pt x="34425" y="295801"/>
                  </a:lnTo>
                  <a:lnTo>
                    <a:pt x="16575" y="324488"/>
                  </a:lnTo>
                  <a:lnTo>
                    <a:pt x="22950" y="349988"/>
                  </a:lnTo>
                  <a:lnTo>
                    <a:pt x="0" y="371026"/>
                  </a:lnTo>
                  <a:lnTo>
                    <a:pt x="1275" y="372301"/>
                  </a:lnTo>
                  <a:lnTo>
                    <a:pt x="15300" y="371026"/>
                  </a:lnTo>
                  <a:lnTo>
                    <a:pt x="143438" y="355088"/>
                  </a:lnTo>
                  <a:lnTo>
                    <a:pt x="199538" y="347438"/>
                  </a:lnTo>
                  <a:lnTo>
                    <a:pt x="232051" y="342976"/>
                  </a:lnTo>
                  <a:lnTo>
                    <a:pt x="233326" y="342976"/>
                  </a:lnTo>
                  <a:lnTo>
                    <a:pt x="232688" y="341701"/>
                  </a:lnTo>
                  <a:lnTo>
                    <a:pt x="340426" y="327038"/>
                  </a:lnTo>
                  <a:lnTo>
                    <a:pt x="392063" y="320663"/>
                  </a:lnTo>
                  <a:lnTo>
                    <a:pt x="494701" y="304088"/>
                  </a:lnTo>
                  <a:lnTo>
                    <a:pt x="513826" y="300900"/>
                  </a:lnTo>
                  <a:lnTo>
                    <a:pt x="525301" y="299625"/>
                  </a:lnTo>
                  <a:lnTo>
                    <a:pt x="580126" y="288788"/>
                  </a:lnTo>
                  <a:lnTo>
                    <a:pt x="593514" y="286238"/>
                  </a:lnTo>
                  <a:lnTo>
                    <a:pt x="643876" y="276038"/>
                  </a:lnTo>
                  <a:lnTo>
                    <a:pt x="653439" y="274763"/>
                  </a:lnTo>
                  <a:lnTo>
                    <a:pt x="653439" y="268388"/>
                  </a:lnTo>
                  <a:lnTo>
                    <a:pt x="652801" y="239701"/>
                  </a:lnTo>
                  <a:lnTo>
                    <a:pt x="676389" y="226951"/>
                  </a:lnTo>
                  <a:lnTo>
                    <a:pt x="677664" y="210375"/>
                  </a:lnTo>
                  <a:lnTo>
                    <a:pt x="705077" y="185513"/>
                  </a:lnTo>
                  <a:lnTo>
                    <a:pt x="730577" y="179138"/>
                  </a:lnTo>
                  <a:lnTo>
                    <a:pt x="783489" y="131325"/>
                  </a:lnTo>
                  <a:lnTo>
                    <a:pt x="803252" y="101363"/>
                  </a:lnTo>
                  <a:lnTo>
                    <a:pt x="818552" y="107100"/>
                  </a:lnTo>
                  <a:lnTo>
                    <a:pt x="852977" y="73312"/>
                  </a:lnTo>
                  <a:lnTo>
                    <a:pt x="871464" y="71400"/>
                  </a:lnTo>
                  <a:lnTo>
                    <a:pt x="888040" y="37613"/>
                  </a:lnTo>
                  <a:lnTo>
                    <a:pt x="895052" y="38250"/>
                  </a:lnTo>
                  <a:lnTo>
                    <a:pt x="894415" y="10200"/>
                  </a:lnTo>
                  <a:lnTo>
                    <a:pt x="897602" y="0"/>
                  </a:lnTo>
                  <a:lnTo>
                    <a:pt x="886765" y="1912"/>
                  </a:lnTo>
                  <a:lnTo>
                    <a:pt x="850427" y="12750"/>
                  </a:lnTo>
                  <a:lnTo>
                    <a:pt x="806439" y="22313"/>
                  </a:lnTo>
                  <a:lnTo>
                    <a:pt x="696789" y="44625"/>
                  </a:lnTo>
                  <a:lnTo>
                    <a:pt x="685314" y="46538"/>
                  </a:lnTo>
                  <a:lnTo>
                    <a:pt x="682764" y="49087"/>
                  </a:lnTo>
                  <a:lnTo>
                    <a:pt x="682764" y="49087"/>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18" name="Freeform 57">
              <a:extLst>
                <a:ext uri="{FF2B5EF4-FFF2-40B4-BE49-F238E27FC236}">
                  <a16:creationId xmlns:a16="http://schemas.microsoft.com/office/drawing/2014/main" id="{57D16BE3-C52D-702E-E3A0-56C460A6C4BB}"/>
                </a:ext>
              </a:extLst>
            </p:cNvPr>
            <p:cNvSpPr/>
            <p:nvPr/>
          </p:nvSpPr>
          <p:spPr>
            <a:xfrm>
              <a:off x="6113192" y="2341524"/>
              <a:ext cx="826201" cy="505538"/>
            </a:xfrm>
            <a:custGeom>
              <a:avLst/>
              <a:gdLst>
                <a:gd name="connsiteX0" fmla="*/ 808352 w 826201"/>
                <a:gd name="connsiteY0" fmla="*/ 313013 h 505538"/>
                <a:gd name="connsiteX1" fmla="*/ 810264 w 826201"/>
                <a:gd name="connsiteY1" fmla="*/ 313013 h 505538"/>
                <a:gd name="connsiteX2" fmla="*/ 812177 w 826201"/>
                <a:gd name="connsiteY2" fmla="*/ 312376 h 505538"/>
                <a:gd name="connsiteX3" fmla="*/ 812177 w 826201"/>
                <a:gd name="connsiteY3" fmla="*/ 312376 h 505538"/>
                <a:gd name="connsiteX4" fmla="*/ 810902 w 826201"/>
                <a:gd name="connsiteY4" fmla="*/ 309188 h 505538"/>
                <a:gd name="connsiteX5" fmla="*/ 808352 w 826201"/>
                <a:gd name="connsiteY5" fmla="*/ 313013 h 505538"/>
                <a:gd name="connsiteX6" fmla="*/ 808352 w 826201"/>
                <a:gd name="connsiteY6" fmla="*/ 313013 h 505538"/>
                <a:gd name="connsiteX7" fmla="*/ 808352 w 826201"/>
                <a:gd name="connsiteY7" fmla="*/ 313013 h 505538"/>
                <a:gd name="connsiteX8" fmla="*/ 786677 w 826201"/>
                <a:gd name="connsiteY8" fmla="*/ 240975 h 505538"/>
                <a:gd name="connsiteX9" fmla="*/ 786677 w 826201"/>
                <a:gd name="connsiteY9" fmla="*/ 244163 h 505538"/>
                <a:gd name="connsiteX10" fmla="*/ 789864 w 826201"/>
                <a:gd name="connsiteY10" fmla="*/ 242250 h 505538"/>
                <a:gd name="connsiteX11" fmla="*/ 786677 w 826201"/>
                <a:gd name="connsiteY11" fmla="*/ 240975 h 505538"/>
                <a:gd name="connsiteX12" fmla="*/ 798152 w 826201"/>
                <a:gd name="connsiteY12" fmla="*/ 218025 h 505538"/>
                <a:gd name="connsiteX13" fmla="*/ 797514 w 826201"/>
                <a:gd name="connsiteY13" fmla="*/ 212925 h 505538"/>
                <a:gd name="connsiteX14" fmla="*/ 797514 w 826201"/>
                <a:gd name="connsiteY14" fmla="*/ 212925 h 505538"/>
                <a:gd name="connsiteX15" fmla="*/ 798152 w 826201"/>
                <a:gd name="connsiteY15" fmla="*/ 218025 h 505538"/>
                <a:gd name="connsiteX16" fmla="*/ 793689 w 826201"/>
                <a:gd name="connsiteY16" fmla="*/ 226313 h 505538"/>
                <a:gd name="connsiteX17" fmla="*/ 792414 w 826201"/>
                <a:gd name="connsiteY17" fmla="*/ 234600 h 505538"/>
                <a:gd name="connsiteX18" fmla="*/ 790502 w 826201"/>
                <a:gd name="connsiteY18" fmla="*/ 237788 h 505538"/>
                <a:gd name="connsiteX19" fmla="*/ 793689 w 826201"/>
                <a:gd name="connsiteY19" fmla="*/ 226313 h 505538"/>
                <a:gd name="connsiteX20" fmla="*/ 793689 w 826201"/>
                <a:gd name="connsiteY20" fmla="*/ 226313 h 505538"/>
                <a:gd name="connsiteX21" fmla="*/ 800064 w 826201"/>
                <a:gd name="connsiteY21" fmla="*/ 209738 h 505538"/>
                <a:gd name="connsiteX22" fmla="*/ 800701 w 826201"/>
                <a:gd name="connsiteY22" fmla="*/ 205913 h 505538"/>
                <a:gd name="connsiteX23" fmla="*/ 800064 w 826201"/>
                <a:gd name="connsiteY23" fmla="*/ 209738 h 505538"/>
                <a:gd name="connsiteX24" fmla="*/ 800064 w 826201"/>
                <a:gd name="connsiteY24" fmla="*/ 209738 h 505538"/>
                <a:gd name="connsiteX25" fmla="*/ 800064 w 826201"/>
                <a:gd name="connsiteY25" fmla="*/ 209738 h 505538"/>
                <a:gd name="connsiteX26" fmla="*/ 803889 w 826201"/>
                <a:gd name="connsiteY26" fmla="*/ 191888 h 505538"/>
                <a:gd name="connsiteX27" fmla="*/ 805802 w 826201"/>
                <a:gd name="connsiteY27" fmla="*/ 187425 h 505538"/>
                <a:gd name="connsiteX28" fmla="*/ 802614 w 826201"/>
                <a:gd name="connsiteY28" fmla="*/ 198900 h 505538"/>
                <a:gd name="connsiteX29" fmla="*/ 803889 w 826201"/>
                <a:gd name="connsiteY29" fmla="*/ 191888 h 505538"/>
                <a:gd name="connsiteX30" fmla="*/ 804527 w 826201"/>
                <a:gd name="connsiteY30" fmla="*/ 182325 h 505538"/>
                <a:gd name="connsiteX31" fmla="*/ 807076 w 826201"/>
                <a:gd name="connsiteY31" fmla="*/ 168300 h 505538"/>
                <a:gd name="connsiteX32" fmla="*/ 803889 w 826201"/>
                <a:gd name="connsiteY32" fmla="*/ 171488 h 505538"/>
                <a:gd name="connsiteX33" fmla="*/ 804527 w 826201"/>
                <a:gd name="connsiteY33" fmla="*/ 182325 h 505538"/>
                <a:gd name="connsiteX34" fmla="*/ 804527 w 826201"/>
                <a:gd name="connsiteY34" fmla="*/ 182325 h 505538"/>
                <a:gd name="connsiteX35" fmla="*/ 816002 w 826201"/>
                <a:gd name="connsiteY35" fmla="*/ 119213 h 505538"/>
                <a:gd name="connsiteX36" fmla="*/ 817277 w 826201"/>
                <a:gd name="connsiteY36" fmla="*/ 113475 h 505538"/>
                <a:gd name="connsiteX37" fmla="*/ 816639 w 826201"/>
                <a:gd name="connsiteY37" fmla="*/ 114750 h 505538"/>
                <a:gd name="connsiteX38" fmla="*/ 816002 w 826201"/>
                <a:gd name="connsiteY38" fmla="*/ 119213 h 505538"/>
                <a:gd name="connsiteX39" fmla="*/ 816002 w 826201"/>
                <a:gd name="connsiteY39" fmla="*/ 119213 h 505538"/>
                <a:gd name="connsiteX40" fmla="*/ 813452 w 826201"/>
                <a:gd name="connsiteY40" fmla="*/ 103913 h 505538"/>
                <a:gd name="connsiteX41" fmla="*/ 805164 w 826201"/>
                <a:gd name="connsiteY41" fmla="*/ 107100 h 505538"/>
                <a:gd name="connsiteX42" fmla="*/ 792414 w 826201"/>
                <a:gd name="connsiteY42" fmla="*/ 112838 h 505538"/>
                <a:gd name="connsiteX43" fmla="*/ 787951 w 826201"/>
                <a:gd name="connsiteY43" fmla="*/ 118575 h 505538"/>
                <a:gd name="connsiteX44" fmla="*/ 789864 w 826201"/>
                <a:gd name="connsiteY44" fmla="*/ 119213 h 505538"/>
                <a:gd name="connsiteX45" fmla="*/ 774564 w 826201"/>
                <a:gd name="connsiteY45" fmla="*/ 215475 h 505538"/>
                <a:gd name="connsiteX46" fmla="*/ 780302 w 826201"/>
                <a:gd name="connsiteY46" fmla="*/ 230775 h 505538"/>
                <a:gd name="connsiteX47" fmla="*/ 789864 w 826201"/>
                <a:gd name="connsiteY47" fmla="*/ 191250 h 505538"/>
                <a:gd name="connsiteX48" fmla="*/ 806439 w 826201"/>
                <a:gd name="connsiteY48" fmla="*/ 138975 h 505538"/>
                <a:gd name="connsiteX49" fmla="*/ 813452 w 826201"/>
                <a:gd name="connsiteY49" fmla="*/ 103913 h 505538"/>
                <a:gd name="connsiteX50" fmla="*/ 813452 w 826201"/>
                <a:gd name="connsiteY50" fmla="*/ 103913 h 505538"/>
                <a:gd name="connsiteX51" fmla="*/ 813452 w 826201"/>
                <a:gd name="connsiteY51" fmla="*/ 103913 h 505538"/>
                <a:gd name="connsiteX52" fmla="*/ 826202 w 826201"/>
                <a:gd name="connsiteY52" fmla="*/ 98813 h 505538"/>
                <a:gd name="connsiteX53" fmla="*/ 824289 w 826201"/>
                <a:gd name="connsiteY53" fmla="*/ 99450 h 505538"/>
                <a:gd name="connsiteX54" fmla="*/ 823652 w 826201"/>
                <a:gd name="connsiteY54" fmla="*/ 102000 h 505538"/>
                <a:gd name="connsiteX55" fmla="*/ 820464 w 826201"/>
                <a:gd name="connsiteY55" fmla="*/ 121763 h 505538"/>
                <a:gd name="connsiteX56" fmla="*/ 823014 w 826201"/>
                <a:gd name="connsiteY56" fmla="*/ 114750 h 505538"/>
                <a:gd name="connsiteX57" fmla="*/ 826202 w 826201"/>
                <a:gd name="connsiteY57" fmla="*/ 98813 h 505538"/>
                <a:gd name="connsiteX58" fmla="*/ 826202 w 826201"/>
                <a:gd name="connsiteY58" fmla="*/ 98813 h 505538"/>
                <a:gd name="connsiteX59" fmla="*/ 154913 w 826201"/>
                <a:gd name="connsiteY59" fmla="*/ 344888 h 505538"/>
                <a:gd name="connsiteX60" fmla="*/ 150450 w 826201"/>
                <a:gd name="connsiteY60" fmla="*/ 351263 h 505538"/>
                <a:gd name="connsiteX61" fmla="*/ 119213 w 826201"/>
                <a:gd name="connsiteY61" fmla="*/ 390151 h 505538"/>
                <a:gd name="connsiteX62" fmla="*/ 94988 w 826201"/>
                <a:gd name="connsiteY62" fmla="*/ 409276 h 505538"/>
                <a:gd name="connsiteX63" fmla="*/ 89888 w 826201"/>
                <a:gd name="connsiteY63" fmla="*/ 425851 h 505538"/>
                <a:gd name="connsiteX64" fmla="*/ 52913 w 826201"/>
                <a:gd name="connsiteY64" fmla="*/ 474938 h 505538"/>
                <a:gd name="connsiteX65" fmla="*/ 4463 w 826201"/>
                <a:gd name="connsiteY65" fmla="*/ 500439 h 505538"/>
                <a:gd name="connsiteX66" fmla="*/ 0 w 826201"/>
                <a:gd name="connsiteY66" fmla="*/ 505538 h 505538"/>
                <a:gd name="connsiteX67" fmla="*/ 11475 w 826201"/>
                <a:gd name="connsiteY67" fmla="*/ 503626 h 505538"/>
                <a:gd name="connsiteX68" fmla="*/ 121125 w 826201"/>
                <a:gd name="connsiteY68" fmla="*/ 481313 h 505538"/>
                <a:gd name="connsiteX69" fmla="*/ 165113 w 826201"/>
                <a:gd name="connsiteY69" fmla="*/ 471751 h 505538"/>
                <a:gd name="connsiteX70" fmla="*/ 201450 w 826201"/>
                <a:gd name="connsiteY70" fmla="*/ 460913 h 505538"/>
                <a:gd name="connsiteX71" fmla="*/ 212288 w 826201"/>
                <a:gd name="connsiteY71" fmla="*/ 459001 h 505538"/>
                <a:gd name="connsiteX72" fmla="*/ 212926 w 826201"/>
                <a:gd name="connsiteY72" fmla="*/ 460276 h 505538"/>
                <a:gd name="connsiteX73" fmla="*/ 378676 w 826201"/>
                <a:gd name="connsiteY73" fmla="*/ 429038 h 505538"/>
                <a:gd name="connsiteX74" fmla="*/ 542513 w 826201"/>
                <a:gd name="connsiteY74" fmla="*/ 387601 h 505538"/>
                <a:gd name="connsiteX75" fmla="*/ 799427 w 826201"/>
                <a:gd name="connsiteY75" fmla="*/ 314288 h 505538"/>
                <a:gd name="connsiteX76" fmla="*/ 799427 w 826201"/>
                <a:gd name="connsiteY76" fmla="*/ 314288 h 505538"/>
                <a:gd name="connsiteX77" fmla="*/ 797514 w 826201"/>
                <a:gd name="connsiteY77" fmla="*/ 311101 h 505538"/>
                <a:gd name="connsiteX78" fmla="*/ 796877 w 826201"/>
                <a:gd name="connsiteY78" fmla="*/ 309188 h 505538"/>
                <a:gd name="connsiteX79" fmla="*/ 801339 w 826201"/>
                <a:gd name="connsiteY79" fmla="*/ 313651 h 505538"/>
                <a:gd name="connsiteX80" fmla="*/ 801339 w 826201"/>
                <a:gd name="connsiteY80" fmla="*/ 313651 h 505538"/>
                <a:gd name="connsiteX81" fmla="*/ 801339 w 826201"/>
                <a:gd name="connsiteY81" fmla="*/ 313651 h 505538"/>
                <a:gd name="connsiteX82" fmla="*/ 806439 w 826201"/>
                <a:gd name="connsiteY82" fmla="*/ 312376 h 505538"/>
                <a:gd name="connsiteX83" fmla="*/ 805802 w 826201"/>
                <a:gd name="connsiteY83" fmla="*/ 311738 h 505538"/>
                <a:gd name="connsiteX84" fmla="*/ 801339 w 826201"/>
                <a:gd name="connsiteY84" fmla="*/ 290063 h 505538"/>
                <a:gd name="connsiteX85" fmla="*/ 804527 w 826201"/>
                <a:gd name="connsiteY85" fmla="*/ 290701 h 505538"/>
                <a:gd name="connsiteX86" fmla="*/ 815364 w 826201"/>
                <a:gd name="connsiteY86" fmla="*/ 309826 h 505538"/>
                <a:gd name="connsiteX87" fmla="*/ 815364 w 826201"/>
                <a:gd name="connsiteY87" fmla="*/ 309826 h 505538"/>
                <a:gd name="connsiteX88" fmla="*/ 815364 w 826201"/>
                <a:gd name="connsiteY88" fmla="*/ 309826 h 505538"/>
                <a:gd name="connsiteX89" fmla="*/ 817277 w 826201"/>
                <a:gd name="connsiteY89" fmla="*/ 309188 h 505538"/>
                <a:gd name="connsiteX90" fmla="*/ 818552 w 826201"/>
                <a:gd name="connsiteY90" fmla="*/ 308551 h 505538"/>
                <a:gd name="connsiteX91" fmla="*/ 816002 w 826201"/>
                <a:gd name="connsiteY91" fmla="*/ 303451 h 505538"/>
                <a:gd name="connsiteX92" fmla="*/ 789227 w 826201"/>
                <a:gd name="connsiteY92" fmla="*/ 263288 h 505538"/>
                <a:gd name="connsiteX93" fmla="*/ 756076 w 826201"/>
                <a:gd name="connsiteY93" fmla="*/ 269025 h 505538"/>
                <a:gd name="connsiteX94" fmla="*/ 741414 w 826201"/>
                <a:gd name="connsiteY94" fmla="*/ 281138 h 505538"/>
                <a:gd name="connsiteX95" fmla="*/ 727389 w 826201"/>
                <a:gd name="connsiteY95" fmla="*/ 268388 h 505538"/>
                <a:gd name="connsiteX96" fmla="*/ 678939 w 826201"/>
                <a:gd name="connsiteY96" fmla="*/ 252451 h 505538"/>
                <a:gd name="connsiteX97" fmla="*/ 645789 w 826201"/>
                <a:gd name="connsiteY97" fmla="*/ 251175 h 505538"/>
                <a:gd name="connsiteX98" fmla="*/ 710814 w 826201"/>
                <a:gd name="connsiteY98" fmla="*/ 245438 h 505538"/>
                <a:gd name="connsiteX99" fmla="*/ 746514 w 826201"/>
                <a:gd name="connsiteY99" fmla="*/ 269663 h 505538"/>
                <a:gd name="connsiteX100" fmla="*/ 757351 w 826201"/>
                <a:gd name="connsiteY100" fmla="*/ 253725 h 505538"/>
                <a:gd name="connsiteX101" fmla="*/ 728027 w 826201"/>
                <a:gd name="connsiteY101" fmla="*/ 217388 h 505538"/>
                <a:gd name="connsiteX102" fmla="*/ 748427 w 826201"/>
                <a:gd name="connsiteY102" fmla="*/ 218663 h 505538"/>
                <a:gd name="connsiteX103" fmla="*/ 736951 w 826201"/>
                <a:gd name="connsiteY103" fmla="*/ 188700 h 505538"/>
                <a:gd name="connsiteX104" fmla="*/ 711451 w 826201"/>
                <a:gd name="connsiteY104" fmla="*/ 189975 h 505538"/>
                <a:gd name="connsiteX105" fmla="*/ 650889 w 826201"/>
                <a:gd name="connsiteY105" fmla="*/ 140250 h 505538"/>
                <a:gd name="connsiteX106" fmla="*/ 643239 w 826201"/>
                <a:gd name="connsiteY106" fmla="*/ 140250 h 505538"/>
                <a:gd name="connsiteX107" fmla="*/ 729302 w 826201"/>
                <a:gd name="connsiteY107" fmla="*/ 182325 h 505538"/>
                <a:gd name="connsiteX108" fmla="*/ 723564 w 826201"/>
                <a:gd name="connsiteY108" fmla="*/ 152363 h 505538"/>
                <a:gd name="connsiteX109" fmla="*/ 729302 w 826201"/>
                <a:gd name="connsiteY109" fmla="*/ 142163 h 505538"/>
                <a:gd name="connsiteX110" fmla="*/ 685314 w 826201"/>
                <a:gd name="connsiteY110" fmla="*/ 125588 h 505538"/>
                <a:gd name="connsiteX111" fmla="*/ 647701 w 826201"/>
                <a:gd name="connsiteY111" fmla="*/ 123038 h 505538"/>
                <a:gd name="connsiteX112" fmla="*/ 627939 w 826201"/>
                <a:gd name="connsiteY112" fmla="*/ 107738 h 505538"/>
                <a:gd name="connsiteX113" fmla="*/ 612639 w 826201"/>
                <a:gd name="connsiteY113" fmla="*/ 117938 h 505538"/>
                <a:gd name="connsiteX114" fmla="*/ 606901 w 826201"/>
                <a:gd name="connsiteY114" fmla="*/ 73313 h 505538"/>
                <a:gd name="connsiteX115" fmla="*/ 613276 w 826201"/>
                <a:gd name="connsiteY115" fmla="*/ 74588 h 505538"/>
                <a:gd name="connsiteX116" fmla="*/ 612001 w 826201"/>
                <a:gd name="connsiteY116" fmla="*/ 38888 h 505538"/>
                <a:gd name="connsiteX117" fmla="*/ 610726 w 826201"/>
                <a:gd name="connsiteY117" fmla="*/ 37613 h 505538"/>
                <a:gd name="connsiteX118" fmla="*/ 609451 w 826201"/>
                <a:gd name="connsiteY118" fmla="*/ 38250 h 505538"/>
                <a:gd name="connsiteX119" fmla="*/ 608176 w 826201"/>
                <a:gd name="connsiteY119" fmla="*/ 37613 h 505538"/>
                <a:gd name="connsiteX120" fmla="*/ 604989 w 826201"/>
                <a:gd name="connsiteY120" fmla="*/ 35063 h 505538"/>
                <a:gd name="connsiteX121" fmla="*/ 603076 w 826201"/>
                <a:gd name="connsiteY121" fmla="*/ 33150 h 505538"/>
                <a:gd name="connsiteX122" fmla="*/ 582676 w 826201"/>
                <a:gd name="connsiteY122" fmla="*/ 23587 h 505538"/>
                <a:gd name="connsiteX123" fmla="*/ 561638 w 826201"/>
                <a:gd name="connsiteY123" fmla="*/ 8287 h 505538"/>
                <a:gd name="connsiteX124" fmla="*/ 531676 w 826201"/>
                <a:gd name="connsiteY124" fmla="*/ 638 h 505538"/>
                <a:gd name="connsiteX125" fmla="*/ 529763 w 826201"/>
                <a:gd name="connsiteY125" fmla="*/ 0 h 505538"/>
                <a:gd name="connsiteX126" fmla="*/ 529763 w 826201"/>
                <a:gd name="connsiteY126" fmla="*/ 638 h 505538"/>
                <a:gd name="connsiteX127" fmla="*/ 525939 w 826201"/>
                <a:gd name="connsiteY127" fmla="*/ 28050 h 505538"/>
                <a:gd name="connsiteX128" fmla="*/ 466651 w 826201"/>
                <a:gd name="connsiteY128" fmla="*/ 2550 h 505538"/>
                <a:gd name="connsiteX129" fmla="*/ 467926 w 826201"/>
                <a:gd name="connsiteY129" fmla="*/ 39525 h 505538"/>
                <a:gd name="connsiteX130" fmla="*/ 434776 w 826201"/>
                <a:gd name="connsiteY130" fmla="*/ 102000 h 505538"/>
                <a:gd name="connsiteX131" fmla="*/ 415013 w 826201"/>
                <a:gd name="connsiteY131" fmla="*/ 123675 h 505538"/>
                <a:gd name="connsiteX132" fmla="*/ 402263 w 826201"/>
                <a:gd name="connsiteY132" fmla="*/ 161288 h 505538"/>
                <a:gd name="connsiteX133" fmla="*/ 363376 w 826201"/>
                <a:gd name="connsiteY133" fmla="*/ 147900 h 505538"/>
                <a:gd name="connsiteX134" fmla="*/ 344251 w 826201"/>
                <a:gd name="connsiteY134" fmla="*/ 235238 h 505538"/>
                <a:gd name="connsiteX135" fmla="*/ 328951 w 826201"/>
                <a:gd name="connsiteY135" fmla="*/ 265201 h 505538"/>
                <a:gd name="connsiteX136" fmla="*/ 326401 w 826201"/>
                <a:gd name="connsiteY136" fmla="*/ 303451 h 505538"/>
                <a:gd name="connsiteX137" fmla="*/ 314926 w 826201"/>
                <a:gd name="connsiteY137" fmla="*/ 321938 h 505538"/>
                <a:gd name="connsiteX138" fmla="*/ 272213 w 826201"/>
                <a:gd name="connsiteY138" fmla="*/ 334688 h 505538"/>
                <a:gd name="connsiteX139" fmla="*/ 237151 w 826201"/>
                <a:gd name="connsiteY139" fmla="*/ 362738 h 505538"/>
                <a:gd name="connsiteX140" fmla="*/ 220575 w 826201"/>
                <a:gd name="connsiteY140" fmla="*/ 365288 h 505538"/>
                <a:gd name="connsiteX141" fmla="*/ 204638 w 826201"/>
                <a:gd name="connsiteY141" fmla="*/ 379313 h 505538"/>
                <a:gd name="connsiteX142" fmla="*/ 164475 w 826201"/>
                <a:gd name="connsiteY142" fmla="*/ 364651 h 505538"/>
                <a:gd name="connsiteX143" fmla="*/ 156188 w 826201"/>
                <a:gd name="connsiteY143" fmla="*/ 343613 h 505538"/>
                <a:gd name="connsiteX144" fmla="*/ 154913 w 826201"/>
                <a:gd name="connsiteY144" fmla="*/ 344888 h 505538"/>
                <a:gd name="connsiteX145" fmla="*/ 154913 w 826201"/>
                <a:gd name="connsiteY145" fmla="*/ 344888 h 5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26201" h="505538">
                  <a:moveTo>
                    <a:pt x="808352" y="313013"/>
                  </a:moveTo>
                  <a:lnTo>
                    <a:pt x="810264" y="313013"/>
                  </a:lnTo>
                  <a:lnTo>
                    <a:pt x="812177" y="312376"/>
                  </a:lnTo>
                  <a:lnTo>
                    <a:pt x="812177" y="312376"/>
                  </a:lnTo>
                  <a:lnTo>
                    <a:pt x="810902" y="309188"/>
                  </a:lnTo>
                  <a:lnTo>
                    <a:pt x="808352" y="313013"/>
                  </a:lnTo>
                  <a:lnTo>
                    <a:pt x="808352" y="313013"/>
                  </a:lnTo>
                  <a:lnTo>
                    <a:pt x="808352" y="313013"/>
                  </a:lnTo>
                  <a:close/>
                  <a:moveTo>
                    <a:pt x="786677" y="240975"/>
                  </a:moveTo>
                  <a:lnTo>
                    <a:pt x="786677" y="244163"/>
                  </a:lnTo>
                  <a:lnTo>
                    <a:pt x="789864" y="242250"/>
                  </a:lnTo>
                  <a:lnTo>
                    <a:pt x="786677" y="240975"/>
                  </a:lnTo>
                  <a:close/>
                  <a:moveTo>
                    <a:pt x="798152" y="218025"/>
                  </a:moveTo>
                  <a:lnTo>
                    <a:pt x="797514" y="212925"/>
                  </a:lnTo>
                  <a:lnTo>
                    <a:pt x="797514" y="212925"/>
                  </a:lnTo>
                  <a:lnTo>
                    <a:pt x="798152" y="218025"/>
                  </a:lnTo>
                  <a:close/>
                  <a:moveTo>
                    <a:pt x="793689" y="226313"/>
                  </a:moveTo>
                  <a:lnTo>
                    <a:pt x="792414" y="234600"/>
                  </a:lnTo>
                  <a:lnTo>
                    <a:pt x="790502" y="237788"/>
                  </a:lnTo>
                  <a:lnTo>
                    <a:pt x="793689" y="226313"/>
                  </a:lnTo>
                  <a:lnTo>
                    <a:pt x="793689" y="226313"/>
                  </a:lnTo>
                  <a:close/>
                  <a:moveTo>
                    <a:pt x="800064" y="209738"/>
                  </a:moveTo>
                  <a:lnTo>
                    <a:pt x="800701" y="205913"/>
                  </a:lnTo>
                  <a:lnTo>
                    <a:pt x="800064" y="209738"/>
                  </a:lnTo>
                  <a:lnTo>
                    <a:pt x="800064" y="209738"/>
                  </a:lnTo>
                  <a:lnTo>
                    <a:pt x="800064" y="209738"/>
                  </a:lnTo>
                  <a:close/>
                  <a:moveTo>
                    <a:pt x="803889" y="191888"/>
                  </a:moveTo>
                  <a:lnTo>
                    <a:pt x="805802" y="187425"/>
                  </a:lnTo>
                  <a:lnTo>
                    <a:pt x="802614" y="198900"/>
                  </a:lnTo>
                  <a:lnTo>
                    <a:pt x="803889" y="191888"/>
                  </a:lnTo>
                  <a:close/>
                  <a:moveTo>
                    <a:pt x="804527" y="182325"/>
                  </a:moveTo>
                  <a:lnTo>
                    <a:pt x="807076" y="168300"/>
                  </a:lnTo>
                  <a:lnTo>
                    <a:pt x="803889" y="171488"/>
                  </a:lnTo>
                  <a:lnTo>
                    <a:pt x="804527" y="182325"/>
                  </a:lnTo>
                  <a:lnTo>
                    <a:pt x="804527" y="182325"/>
                  </a:lnTo>
                  <a:close/>
                  <a:moveTo>
                    <a:pt x="816002" y="119213"/>
                  </a:moveTo>
                  <a:lnTo>
                    <a:pt x="817277" y="113475"/>
                  </a:lnTo>
                  <a:lnTo>
                    <a:pt x="816639" y="114750"/>
                  </a:lnTo>
                  <a:lnTo>
                    <a:pt x="816002" y="119213"/>
                  </a:lnTo>
                  <a:lnTo>
                    <a:pt x="816002" y="119213"/>
                  </a:lnTo>
                  <a:close/>
                  <a:moveTo>
                    <a:pt x="813452" y="103913"/>
                  </a:moveTo>
                  <a:lnTo>
                    <a:pt x="805164" y="107100"/>
                  </a:lnTo>
                  <a:lnTo>
                    <a:pt x="792414" y="112838"/>
                  </a:lnTo>
                  <a:lnTo>
                    <a:pt x="787951" y="118575"/>
                  </a:lnTo>
                  <a:lnTo>
                    <a:pt x="789864" y="119213"/>
                  </a:lnTo>
                  <a:lnTo>
                    <a:pt x="774564" y="215475"/>
                  </a:lnTo>
                  <a:lnTo>
                    <a:pt x="780302" y="230775"/>
                  </a:lnTo>
                  <a:lnTo>
                    <a:pt x="789864" y="191250"/>
                  </a:lnTo>
                  <a:lnTo>
                    <a:pt x="806439" y="138975"/>
                  </a:lnTo>
                  <a:lnTo>
                    <a:pt x="813452" y="103913"/>
                  </a:lnTo>
                  <a:lnTo>
                    <a:pt x="813452" y="103913"/>
                  </a:lnTo>
                  <a:lnTo>
                    <a:pt x="813452" y="103913"/>
                  </a:lnTo>
                  <a:close/>
                  <a:moveTo>
                    <a:pt x="826202" y="98813"/>
                  </a:moveTo>
                  <a:lnTo>
                    <a:pt x="824289" y="99450"/>
                  </a:lnTo>
                  <a:lnTo>
                    <a:pt x="823652" y="102000"/>
                  </a:lnTo>
                  <a:lnTo>
                    <a:pt x="820464" y="121763"/>
                  </a:lnTo>
                  <a:lnTo>
                    <a:pt x="823014" y="114750"/>
                  </a:lnTo>
                  <a:lnTo>
                    <a:pt x="826202" y="98813"/>
                  </a:lnTo>
                  <a:lnTo>
                    <a:pt x="826202" y="98813"/>
                  </a:lnTo>
                  <a:close/>
                  <a:moveTo>
                    <a:pt x="154913" y="344888"/>
                  </a:moveTo>
                  <a:lnTo>
                    <a:pt x="150450" y="351263"/>
                  </a:lnTo>
                  <a:lnTo>
                    <a:pt x="119213" y="390151"/>
                  </a:lnTo>
                  <a:lnTo>
                    <a:pt x="94988" y="409276"/>
                  </a:lnTo>
                  <a:lnTo>
                    <a:pt x="89888" y="425851"/>
                  </a:lnTo>
                  <a:lnTo>
                    <a:pt x="52913" y="474938"/>
                  </a:lnTo>
                  <a:lnTo>
                    <a:pt x="4463" y="500439"/>
                  </a:lnTo>
                  <a:lnTo>
                    <a:pt x="0" y="505538"/>
                  </a:lnTo>
                  <a:lnTo>
                    <a:pt x="11475" y="503626"/>
                  </a:lnTo>
                  <a:lnTo>
                    <a:pt x="121125" y="481313"/>
                  </a:lnTo>
                  <a:lnTo>
                    <a:pt x="165113" y="471751"/>
                  </a:lnTo>
                  <a:lnTo>
                    <a:pt x="201450" y="460913"/>
                  </a:lnTo>
                  <a:lnTo>
                    <a:pt x="212288" y="459001"/>
                  </a:lnTo>
                  <a:lnTo>
                    <a:pt x="212926" y="460276"/>
                  </a:lnTo>
                  <a:lnTo>
                    <a:pt x="378676" y="429038"/>
                  </a:lnTo>
                  <a:lnTo>
                    <a:pt x="542513" y="387601"/>
                  </a:lnTo>
                  <a:lnTo>
                    <a:pt x="799427" y="314288"/>
                  </a:lnTo>
                  <a:lnTo>
                    <a:pt x="799427" y="314288"/>
                  </a:lnTo>
                  <a:lnTo>
                    <a:pt x="797514" y="311101"/>
                  </a:lnTo>
                  <a:lnTo>
                    <a:pt x="796877" y="309188"/>
                  </a:lnTo>
                  <a:lnTo>
                    <a:pt x="801339" y="313651"/>
                  </a:lnTo>
                  <a:lnTo>
                    <a:pt x="801339" y="313651"/>
                  </a:lnTo>
                  <a:lnTo>
                    <a:pt x="801339" y="313651"/>
                  </a:lnTo>
                  <a:lnTo>
                    <a:pt x="806439" y="312376"/>
                  </a:lnTo>
                  <a:lnTo>
                    <a:pt x="805802" y="311738"/>
                  </a:lnTo>
                  <a:lnTo>
                    <a:pt x="801339" y="290063"/>
                  </a:lnTo>
                  <a:lnTo>
                    <a:pt x="804527" y="290701"/>
                  </a:lnTo>
                  <a:lnTo>
                    <a:pt x="815364" y="309826"/>
                  </a:lnTo>
                  <a:lnTo>
                    <a:pt x="815364" y="309826"/>
                  </a:lnTo>
                  <a:lnTo>
                    <a:pt x="815364" y="309826"/>
                  </a:lnTo>
                  <a:lnTo>
                    <a:pt x="817277" y="309188"/>
                  </a:lnTo>
                  <a:lnTo>
                    <a:pt x="818552" y="308551"/>
                  </a:lnTo>
                  <a:lnTo>
                    <a:pt x="816002" y="303451"/>
                  </a:lnTo>
                  <a:lnTo>
                    <a:pt x="789227" y="263288"/>
                  </a:lnTo>
                  <a:lnTo>
                    <a:pt x="756076" y="269025"/>
                  </a:lnTo>
                  <a:lnTo>
                    <a:pt x="741414" y="281138"/>
                  </a:lnTo>
                  <a:lnTo>
                    <a:pt x="727389" y="268388"/>
                  </a:lnTo>
                  <a:lnTo>
                    <a:pt x="678939" y="252451"/>
                  </a:lnTo>
                  <a:lnTo>
                    <a:pt x="645789" y="251175"/>
                  </a:lnTo>
                  <a:lnTo>
                    <a:pt x="710814" y="245438"/>
                  </a:lnTo>
                  <a:lnTo>
                    <a:pt x="746514" y="269663"/>
                  </a:lnTo>
                  <a:lnTo>
                    <a:pt x="757351" y="253725"/>
                  </a:lnTo>
                  <a:lnTo>
                    <a:pt x="728027" y="217388"/>
                  </a:lnTo>
                  <a:lnTo>
                    <a:pt x="748427" y="218663"/>
                  </a:lnTo>
                  <a:lnTo>
                    <a:pt x="736951" y="188700"/>
                  </a:lnTo>
                  <a:lnTo>
                    <a:pt x="711451" y="189975"/>
                  </a:lnTo>
                  <a:lnTo>
                    <a:pt x="650889" y="140250"/>
                  </a:lnTo>
                  <a:lnTo>
                    <a:pt x="643239" y="140250"/>
                  </a:lnTo>
                  <a:lnTo>
                    <a:pt x="729302" y="182325"/>
                  </a:lnTo>
                  <a:lnTo>
                    <a:pt x="723564" y="152363"/>
                  </a:lnTo>
                  <a:lnTo>
                    <a:pt x="729302" y="142163"/>
                  </a:lnTo>
                  <a:lnTo>
                    <a:pt x="685314" y="125588"/>
                  </a:lnTo>
                  <a:lnTo>
                    <a:pt x="647701" y="123038"/>
                  </a:lnTo>
                  <a:lnTo>
                    <a:pt x="627939" y="107738"/>
                  </a:lnTo>
                  <a:lnTo>
                    <a:pt x="612639" y="117938"/>
                  </a:lnTo>
                  <a:lnTo>
                    <a:pt x="606901" y="73313"/>
                  </a:lnTo>
                  <a:lnTo>
                    <a:pt x="613276" y="74588"/>
                  </a:lnTo>
                  <a:lnTo>
                    <a:pt x="612001" y="38888"/>
                  </a:lnTo>
                  <a:lnTo>
                    <a:pt x="610726" y="37613"/>
                  </a:lnTo>
                  <a:lnTo>
                    <a:pt x="609451" y="38250"/>
                  </a:lnTo>
                  <a:lnTo>
                    <a:pt x="608176" y="37613"/>
                  </a:lnTo>
                  <a:lnTo>
                    <a:pt x="604989" y="35063"/>
                  </a:lnTo>
                  <a:lnTo>
                    <a:pt x="603076" y="33150"/>
                  </a:lnTo>
                  <a:lnTo>
                    <a:pt x="582676" y="23587"/>
                  </a:lnTo>
                  <a:lnTo>
                    <a:pt x="561638" y="8287"/>
                  </a:lnTo>
                  <a:lnTo>
                    <a:pt x="531676" y="638"/>
                  </a:lnTo>
                  <a:lnTo>
                    <a:pt x="529763" y="0"/>
                  </a:lnTo>
                  <a:lnTo>
                    <a:pt x="529763" y="638"/>
                  </a:lnTo>
                  <a:lnTo>
                    <a:pt x="525939" y="28050"/>
                  </a:lnTo>
                  <a:lnTo>
                    <a:pt x="466651" y="2550"/>
                  </a:lnTo>
                  <a:lnTo>
                    <a:pt x="467926" y="39525"/>
                  </a:lnTo>
                  <a:lnTo>
                    <a:pt x="434776" y="102000"/>
                  </a:lnTo>
                  <a:lnTo>
                    <a:pt x="415013" y="123675"/>
                  </a:lnTo>
                  <a:lnTo>
                    <a:pt x="402263" y="161288"/>
                  </a:lnTo>
                  <a:lnTo>
                    <a:pt x="363376" y="147900"/>
                  </a:lnTo>
                  <a:lnTo>
                    <a:pt x="344251" y="235238"/>
                  </a:lnTo>
                  <a:lnTo>
                    <a:pt x="328951" y="265201"/>
                  </a:lnTo>
                  <a:lnTo>
                    <a:pt x="326401" y="303451"/>
                  </a:lnTo>
                  <a:lnTo>
                    <a:pt x="314926" y="321938"/>
                  </a:lnTo>
                  <a:lnTo>
                    <a:pt x="272213" y="334688"/>
                  </a:lnTo>
                  <a:lnTo>
                    <a:pt x="237151" y="362738"/>
                  </a:lnTo>
                  <a:lnTo>
                    <a:pt x="220575" y="365288"/>
                  </a:lnTo>
                  <a:lnTo>
                    <a:pt x="204638" y="379313"/>
                  </a:lnTo>
                  <a:lnTo>
                    <a:pt x="164475" y="364651"/>
                  </a:lnTo>
                  <a:lnTo>
                    <a:pt x="156188" y="343613"/>
                  </a:lnTo>
                  <a:lnTo>
                    <a:pt x="154913" y="344888"/>
                  </a:lnTo>
                  <a:lnTo>
                    <a:pt x="154913" y="34488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19" name="Freeform 58">
              <a:extLst>
                <a:ext uri="{FF2B5EF4-FFF2-40B4-BE49-F238E27FC236}">
                  <a16:creationId xmlns:a16="http://schemas.microsoft.com/office/drawing/2014/main" id="{6B476CE5-B8EA-3D1B-7B29-CD06A1567F25}"/>
                </a:ext>
              </a:extLst>
            </p:cNvPr>
            <p:cNvSpPr/>
            <p:nvPr/>
          </p:nvSpPr>
          <p:spPr>
            <a:xfrm>
              <a:off x="5028803" y="1558035"/>
              <a:ext cx="549525" cy="613276"/>
            </a:xfrm>
            <a:custGeom>
              <a:avLst/>
              <a:gdLst>
                <a:gd name="connsiteX0" fmla="*/ 549526 w 549525"/>
                <a:gd name="connsiteY0" fmla="*/ 195075 h 613276"/>
                <a:gd name="connsiteX1" fmla="*/ 533588 w 549525"/>
                <a:gd name="connsiteY1" fmla="*/ 214838 h 613276"/>
                <a:gd name="connsiteX2" fmla="*/ 523388 w 549525"/>
                <a:gd name="connsiteY2" fmla="*/ 244163 h 613276"/>
                <a:gd name="connsiteX3" fmla="*/ 527851 w 549525"/>
                <a:gd name="connsiteY3" fmla="*/ 260100 h 613276"/>
                <a:gd name="connsiteX4" fmla="*/ 549526 w 549525"/>
                <a:gd name="connsiteY4" fmla="*/ 195075 h 613276"/>
                <a:gd name="connsiteX5" fmla="*/ 181050 w 549525"/>
                <a:gd name="connsiteY5" fmla="*/ 43988 h 613276"/>
                <a:gd name="connsiteX6" fmla="*/ 191250 w 549525"/>
                <a:gd name="connsiteY6" fmla="*/ 30600 h 613276"/>
                <a:gd name="connsiteX7" fmla="*/ 184238 w 549525"/>
                <a:gd name="connsiteY7" fmla="*/ 36975 h 613276"/>
                <a:gd name="connsiteX8" fmla="*/ 181050 w 549525"/>
                <a:gd name="connsiteY8" fmla="*/ 43988 h 613276"/>
                <a:gd name="connsiteX9" fmla="*/ 195713 w 549525"/>
                <a:gd name="connsiteY9" fmla="*/ 22950 h 613276"/>
                <a:gd name="connsiteX10" fmla="*/ 192525 w 549525"/>
                <a:gd name="connsiteY10" fmla="*/ 19125 h 613276"/>
                <a:gd name="connsiteX11" fmla="*/ 185513 w 549525"/>
                <a:gd name="connsiteY11" fmla="*/ 23587 h 613276"/>
                <a:gd name="connsiteX12" fmla="*/ 195713 w 549525"/>
                <a:gd name="connsiteY12" fmla="*/ 22950 h 613276"/>
                <a:gd name="connsiteX13" fmla="*/ 195713 w 549525"/>
                <a:gd name="connsiteY13" fmla="*/ 22950 h 613276"/>
                <a:gd name="connsiteX14" fmla="*/ 56100 w 549525"/>
                <a:gd name="connsiteY14" fmla="*/ 58650 h 613276"/>
                <a:gd name="connsiteX15" fmla="*/ 41438 w 549525"/>
                <a:gd name="connsiteY15" fmla="*/ 75225 h 613276"/>
                <a:gd name="connsiteX16" fmla="*/ 48450 w 549525"/>
                <a:gd name="connsiteY16" fmla="*/ 151725 h 613276"/>
                <a:gd name="connsiteX17" fmla="*/ 7650 w 549525"/>
                <a:gd name="connsiteY17" fmla="*/ 188700 h 613276"/>
                <a:gd name="connsiteX18" fmla="*/ 0 w 549525"/>
                <a:gd name="connsiteY18" fmla="*/ 224400 h 613276"/>
                <a:gd name="connsiteX19" fmla="*/ 22313 w 549525"/>
                <a:gd name="connsiteY19" fmla="*/ 244800 h 613276"/>
                <a:gd name="connsiteX20" fmla="*/ 15938 w 549525"/>
                <a:gd name="connsiteY20" fmla="*/ 333413 h 613276"/>
                <a:gd name="connsiteX21" fmla="*/ 39525 w 549525"/>
                <a:gd name="connsiteY21" fmla="*/ 351263 h 613276"/>
                <a:gd name="connsiteX22" fmla="*/ 54825 w 549525"/>
                <a:gd name="connsiteY22" fmla="*/ 352538 h 613276"/>
                <a:gd name="connsiteX23" fmla="*/ 103913 w 549525"/>
                <a:gd name="connsiteY23" fmla="*/ 382501 h 613276"/>
                <a:gd name="connsiteX24" fmla="*/ 135150 w 549525"/>
                <a:gd name="connsiteY24" fmla="*/ 415013 h 613276"/>
                <a:gd name="connsiteX25" fmla="*/ 174038 w 549525"/>
                <a:gd name="connsiteY25" fmla="*/ 434776 h 613276"/>
                <a:gd name="connsiteX26" fmla="*/ 183600 w 549525"/>
                <a:gd name="connsiteY26" fmla="*/ 484501 h 613276"/>
                <a:gd name="connsiteX27" fmla="*/ 183600 w 549525"/>
                <a:gd name="connsiteY27" fmla="*/ 487688 h 613276"/>
                <a:gd name="connsiteX28" fmla="*/ 183600 w 549525"/>
                <a:gd name="connsiteY28" fmla="*/ 487688 h 613276"/>
                <a:gd name="connsiteX29" fmla="*/ 202088 w 549525"/>
                <a:gd name="connsiteY29" fmla="*/ 510001 h 613276"/>
                <a:gd name="connsiteX30" fmla="*/ 196988 w 549525"/>
                <a:gd name="connsiteY30" fmla="*/ 527213 h 613276"/>
                <a:gd name="connsiteX31" fmla="*/ 203363 w 549525"/>
                <a:gd name="connsiteY31" fmla="*/ 564826 h 613276"/>
                <a:gd name="connsiteX32" fmla="*/ 222488 w 549525"/>
                <a:gd name="connsiteY32" fmla="*/ 591601 h 613276"/>
                <a:gd name="connsiteX33" fmla="*/ 257550 w 549525"/>
                <a:gd name="connsiteY33" fmla="*/ 610089 h 613276"/>
                <a:gd name="connsiteX34" fmla="*/ 256913 w 549525"/>
                <a:gd name="connsiteY34" fmla="*/ 613276 h 613276"/>
                <a:gd name="connsiteX35" fmla="*/ 256913 w 549525"/>
                <a:gd name="connsiteY35" fmla="*/ 613276 h 613276"/>
                <a:gd name="connsiteX36" fmla="*/ 397163 w 549525"/>
                <a:gd name="connsiteY36" fmla="*/ 597339 h 613276"/>
                <a:gd name="connsiteX37" fmla="*/ 449438 w 549525"/>
                <a:gd name="connsiteY37" fmla="*/ 590964 h 613276"/>
                <a:gd name="connsiteX38" fmla="*/ 536138 w 549525"/>
                <a:gd name="connsiteY38" fmla="*/ 578851 h 613276"/>
                <a:gd name="connsiteX39" fmla="*/ 533588 w 549525"/>
                <a:gd name="connsiteY39" fmla="*/ 568651 h 613276"/>
                <a:gd name="connsiteX40" fmla="*/ 533588 w 549525"/>
                <a:gd name="connsiteY40" fmla="*/ 538051 h 613276"/>
                <a:gd name="connsiteX41" fmla="*/ 516376 w 549525"/>
                <a:gd name="connsiteY41" fmla="*/ 505538 h 613276"/>
                <a:gd name="connsiteX42" fmla="*/ 511913 w 549525"/>
                <a:gd name="connsiteY42" fmla="*/ 465376 h 613276"/>
                <a:gd name="connsiteX43" fmla="*/ 520201 w 549525"/>
                <a:gd name="connsiteY43" fmla="*/ 420113 h 613276"/>
                <a:gd name="connsiteX44" fmla="*/ 515738 w 549525"/>
                <a:gd name="connsiteY44" fmla="*/ 385688 h 613276"/>
                <a:gd name="connsiteX45" fmla="*/ 531039 w 549525"/>
                <a:gd name="connsiteY45" fmla="*/ 342976 h 613276"/>
                <a:gd name="connsiteX46" fmla="*/ 525301 w 549525"/>
                <a:gd name="connsiteY46" fmla="*/ 335963 h 613276"/>
                <a:gd name="connsiteX47" fmla="*/ 526576 w 549525"/>
                <a:gd name="connsiteY47" fmla="*/ 296438 h 613276"/>
                <a:gd name="connsiteX48" fmla="*/ 534863 w 549525"/>
                <a:gd name="connsiteY48" fmla="*/ 265838 h 613276"/>
                <a:gd name="connsiteX49" fmla="*/ 524664 w 549525"/>
                <a:gd name="connsiteY49" fmla="*/ 255001 h 613276"/>
                <a:gd name="connsiteX50" fmla="*/ 506176 w 549525"/>
                <a:gd name="connsiteY50" fmla="*/ 261376 h 613276"/>
                <a:gd name="connsiteX51" fmla="*/ 495338 w 549525"/>
                <a:gd name="connsiteY51" fmla="*/ 288788 h 613276"/>
                <a:gd name="connsiteX52" fmla="*/ 471113 w 549525"/>
                <a:gd name="connsiteY52" fmla="*/ 302813 h 613276"/>
                <a:gd name="connsiteX53" fmla="*/ 478763 w 549525"/>
                <a:gd name="connsiteY53" fmla="*/ 269025 h 613276"/>
                <a:gd name="connsiteX54" fmla="*/ 500439 w 549525"/>
                <a:gd name="connsiteY54" fmla="*/ 239700 h 613276"/>
                <a:gd name="connsiteX55" fmla="*/ 501713 w 549525"/>
                <a:gd name="connsiteY55" fmla="*/ 226950 h 613276"/>
                <a:gd name="connsiteX56" fmla="*/ 502351 w 549525"/>
                <a:gd name="connsiteY56" fmla="*/ 226313 h 613276"/>
                <a:gd name="connsiteX57" fmla="*/ 471113 w 549525"/>
                <a:gd name="connsiteY57" fmla="*/ 195075 h 613276"/>
                <a:gd name="connsiteX58" fmla="*/ 471113 w 549525"/>
                <a:gd name="connsiteY58" fmla="*/ 151088 h 613276"/>
                <a:gd name="connsiteX59" fmla="*/ 436688 w 549525"/>
                <a:gd name="connsiteY59" fmla="*/ 122400 h 613276"/>
                <a:gd name="connsiteX60" fmla="*/ 388876 w 549525"/>
                <a:gd name="connsiteY60" fmla="*/ 119213 h 613276"/>
                <a:gd name="connsiteX61" fmla="*/ 339788 w 549525"/>
                <a:gd name="connsiteY61" fmla="*/ 106463 h 613276"/>
                <a:gd name="connsiteX62" fmla="*/ 234600 w 549525"/>
                <a:gd name="connsiteY62" fmla="*/ 73950 h 613276"/>
                <a:gd name="connsiteX63" fmla="*/ 214200 w 549525"/>
                <a:gd name="connsiteY63" fmla="*/ 62475 h 613276"/>
                <a:gd name="connsiteX64" fmla="*/ 212288 w 549525"/>
                <a:gd name="connsiteY64" fmla="*/ 64387 h 613276"/>
                <a:gd name="connsiteX65" fmla="*/ 179138 w 549525"/>
                <a:gd name="connsiteY65" fmla="*/ 59925 h 613276"/>
                <a:gd name="connsiteX66" fmla="*/ 167663 w 549525"/>
                <a:gd name="connsiteY66" fmla="*/ 66300 h 613276"/>
                <a:gd name="connsiteX67" fmla="*/ 172125 w 549525"/>
                <a:gd name="connsiteY67" fmla="*/ 19125 h 613276"/>
                <a:gd name="connsiteX68" fmla="*/ 119212 w 549525"/>
                <a:gd name="connsiteY68" fmla="*/ 46538 h 613276"/>
                <a:gd name="connsiteX69" fmla="*/ 54825 w 549525"/>
                <a:gd name="connsiteY69" fmla="*/ 57375 h 613276"/>
                <a:gd name="connsiteX70" fmla="*/ 56100 w 549525"/>
                <a:gd name="connsiteY70" fmla="*/ 58650 h 613276"/>
                <a:gd name="connsiteX71" fmla="*/ 56100 w 549525"/>
                <a:gd name="connsiteY71" fmla="*/ 58650 h 613276"/>
                <a:gd name="connsiteX72" fmla="*/ 181688 w 549525"/>
                <a:gd name="connsiteY72" fmla="*/ 24863 h 613276"/>
                <a:gd name="connsiteX73" fmla="*/ 180413 w 549525"/>
                <a:gd name="connsiteY73" fmla="*/ 20400 h 613276"/>
                <a:gd name="connsiteX74" fmla="*/ 175950 w 549525"/>
                <a:gd name="connsiteY74" fmla="*/ 22313 h 613276"/>
                <a:gd name="connsiteX75" fmla="*/ 181688 w 549525"/>
                <a:gd name="connsiteY75" fmla="*/ 24863 h 613276"/>
                <a:gd name="connsiteX76" fmla="*/ 158738 w 549525"/>
                <a:gd name="connsiteY76" fmla="*/ 20400 h 613276"/>
                <a:gd name="connsiteX77" fmla="*/ 160650 w 549525"/>
                <a:gd name="connsiteY77" fmla="*/ 16575 h 613276"/>
                <a:gd name="connsiteX78" fmla="*/ 159375 w 549525"/>
                <a:gd name="connsiteY78" fmla="*/ 15300 h 613276"/>
                <a:gd name="connsiteX79" fmla="*/ 158738 w 549525"/>
                <a:gd name="connsiteY79" fmla="*/ 20400 h 613276"/>
                <a:gd name="connsiteX80" fmla="*/ 158738 w 549525"/>
                <a:gd name="connsiteY80" fmla="*/ 20400 h 613276"/>
                <a:gd name="connsiteX81" fmla="*/ 205275 w 549525"/>
                <a:gd name="connsiteY81" fmla="*/ 9563 h 613276"/>
                <a:gd name="connsiteX82" fmla="*/ 203363 w 549525"/>
                <a:gd name="connsiteY82" fmla="*/ 0 h 613276"/>
                <a:gd name="connsiteX83" fmla="*/ 201450 w 549525"/>
                <a:gd name="connsiteY83" fmla="*/ 11475 h 613276"/>
                <a:gd name="connsiteX84" fmla="*/ 205275 w 549525"/>
                <a:gd name="connsiteY84" fmla="*/ 9563 h 61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9525" h="613276">
                  <a:moveTo>
                    <a:pt x="549526" y="195075"/>
                  </a:moveTo>
                  <a:lnTo>
                    <a:pt x="533588" y="214838"/>
                  </a:lnTo>
                  <a:lnTo>
                    <a:pt x="523388" y="244163"/>
                  </a:lnTo>
                  <a:lnTo>
                    <a:pt x="527851" y="260100"/>
                  </a:lnTo>
                  <a:lnTo>
                    <a:pt x="549526" y="195075"/>
                  </a:lnTo>
                  <a:close/>
                  <a:moveTo>
                    <a:pt x="181050" y="43988"/>
                  </a:moveTo>
                  <a:lnTo>
                    <a:pt x="191250" y="30600"/>
                  </a:lnTo>
                  <a:lnTo>
                    <a:pt x="184238" y="36975"/>
                  </a:lnTo>
                  <a:lnTo>
                    <a:pt x="181050" y="43988"/>
                  </a:lnTo>
                  <a:close/>
                  <a:moveTo>
                    <a:pt x="195713" y="22950"/>
                  </a:moveTo>
                  <a:lnTo>
                    <a:pt x="192525" y="19125"/>
                  </a:lnTo>
                  <a:lnTo>
                    <a:pt x="185513" y="23587"/>
                  </a:lnTo>
                  <a:lnTo>
                    <a:pt x="195713" y="22950"/>
                  </a:lnTo>
                  <a:lnTo>
                    <a:pt x="195713" y="22950"/>
                  </a:lnTo>
                  <a:close/>
                  <a:moveTo>
                    <a:pt x="56100" y="58650"/>
                  </a:moveTo>
                  <a:lnTo>
                    <a:pt x="41438" y="75225"/>
                  </a:lnTo>
                  <a:lnTo>
                    <a:pt x="48450" y="151725"/>
                  </a:lnTo>
                  <a:lnTo>
                    <a:pt x="7650" y="188700"/>
                  </a:lnTo>
                  <a:lnTo>
                    <a:pt x="0" y="224400"/>
                  </a:lnTo>
                  <a:lnTo>
                    <a:pt x="22313" y="244800"/>
                  </a:lnTo>
                  <a:lnTo>
                    <a:pt x="15938" y="333413"/>
                  </a:lnTo>
                  <a:lnTo>
                    <a:pt x="39525" y="351263"/>
                  </a:lnTo>
                  <a:lnTo>
                    <a:pt x="54825" y="352538"/>
                  </a:lnTo>
                  <a:lnTo>
                    <a:pt x="103913" y="382501"/>
                  </a:lnTo>
                  <a:lnTo>
                    <a:pt x="135150" y="415013"/>
                  </a:lnTo>
                  <a:lnTo>
                    <a:pt x="174038" y="434776"/>
                  </a:lnTo>
                  <a:lnTo>
                    <a:pt x="183600" y="484501"/>
                  </a:lnTo>
                  <a:lnTo>
                    <a:pt x="183600" y="487688"/>
                  </a:lnTo>
                  <a:lnTo>
                    <a:pt x="183600" y="487688"/>
                  </a:lnTo>
                  <a:lnTo>
                    <a:pt x="202088" y="510001"/>
                  </a:lnTo>
                  <a:lnTo>
                    <a:pt x="196988" y="527213"/>
                  </a:lnTo>
                  <a:lnTo>
                    <a:pt x="203363" y="564826"/>
                  </a:lnTo>
                  <a:lnTo>
                    <a:pt x="222488" y="591601"/>
                  </a:lnTo>
                  <a:lnTo>
                    <a:pt x="257550" y="610089"/>
                  </a:lnTo>
                  <a:lnTo>
                    <a:pt x="256913" y="613276"/>
                  </a:lnTo>
                  <a:lnTo>
                    <a:pt x="256913" y="613276"/>
                  </a:lnTo>
                  <a:lnTo>
                    <a:pt x="397163" y="597339"/>
                  </a:lnTo>
                  <a:lnTo>
                    <a:pt x="449438" y="590964"/>
                  </a:lnTo>
                  <a:lnTo>
                    <a:pt x="536138" y="578851"/>
                  </a:lnTo>
                  <a:lnTo>
                    <a:pt x="533588" y="568651"/>
                  </a:lnTo>
                  <a:lnTo>
                    <a:pt x="533588" y="538051"/>
                  </a:lnTo>
                  <a:lnTo>
                    <a:pt x="516376" y="505538"/>
                  </a:lnTo>
                  <a:lnTo>
                    <a:pt x="511913" y="465376"/>
                  </a:lnTo>
                  <a:lnTo>
                    <a:pt x="520201" y="420113"/>
                  </a:lnTo>
                  <a:lnTo>
                    <a:pt x="515738" y="385688"/>
                  </a:lnTo>
                  <a:lnTo>
                    <a:pt x="531039" y="342976"/>
                  </a:lnTo>
                  <a:lnTo>
                    <a:pt x="525301" y="335963"/>
                  </a:lnTo>
                  <a:lnTo>
                    <a:pt x="526576" y="296438"/>
                  </a:lnTo>
                  <a:lnTo>
                    <a:pt x="534863" y="265838"/>
                  </a:lnTo>
                  <a:lnTo>
                    <a:pt x="524664" y="255001"/>
                  </a:lnTo>
                  <a:lnTo>
                    <a:pt x="506176" y="261376"/>
                  </a:lnTo>
                  <a:lnTo>
                    <a:pt x="495338" y="288788"/>
                  </a:lnTo>
                  <a:lnTo>
                    <a:pt x="471113" y="302813"/>
                  </a:lnTo>
                  <a:lnTo>
                    <a:pt x="478763" y="269025"/>
                  </a:lnTo>
                  <a:lnTo>
                    <a:pt x="500439" y="239700"/>
                  </a:lnTo>
                  <a:lnTo>
                    <a:pt x="501713" y="226950"/>
                  </a:lnTo>
                  <a:lnTo>
                    <a:pt x="502351" y="226313"/>
                  </a:lnTo>
                  <a:lnTo>
                    <a:pt x="471113" y="195075"/>
                  </a:lnTo>
                  <a:lnTo>
                    <a:pt x="471113" y="151088"/>
                  </a:lnTo>
                  <a:lnTo>
                    <a:pt x="436688" y="122400"/>
                  </a:lnTo>
                  <a:lnTo>
                    <a:pt x="388876" y="119213"/>
                  </a:lnTo>
                  <a:lnTo>
                    <a:pt x="339788" y="106463"/>
                  </a:lnTo>
                  <a:lnTo>
                    <a:pt x="234600" y="73950"/>
                  </a:lnTo>
                  <a:lnTo>
                    <a:pt x="214200" y="62475"/>
                  </a:lnTo>
                  <a:lnTo>
                    <a:pt x="212288" y="64387"/>
                  </a:lnTo>
                  <a:lnTo>
                    <a:pt x="179138" y="59925"/>
                  </a:lnTo>
                  <a:lnTo>
                    <a:pt x="167663" y="66300"/>
                  </a:lnTo>
                  <a:lnTo>
                    <a:pt x="172125" y="19125"/>
                  </a:lnTo>
                  <a:lnTo>
                    <a:pt x="119212" y="46538"/>
                  </a:lnTo>
                  <a:lnTo>
                    <a:pt x="54825" y="57375"/>
                  </a:lnTo>
                  <a:lnTo>
                    <a:pt x="56100" y="58650"/>
                  </a:lnTo>
                  <a:lnTo>
                    <a:pt x="56100" y="58650"/>
                  </a:lnTo>
                  <a:close/>
                  <a:moveTo>
                    <a:pt x="181688" y="24863"/>
                  </a:moveTo>
                  <a:lnTo>
                    <a:pt x="180413" y="20400"/>
                  </a:lnTo>
                  <a:lnTo>
                    <a:pt x="175950" y="22313"/>
                  </a:lnTo>
                  <a:lnTo>
                    <a:pt x="181688" y="24863"/>
                  </a:lnTo>
                  <a:close/>
                  <a:moveTo>
                    <a:pt x="158738" y="20400"/>
                  </a:moveTo>
                  <a:lnTo>
                    <a:pt x="160650" y="16575"/>
                  </a:lnTo>
                  <a:lnTo>
                    <a:pt x="159375" y="15300"/>
                  </a:lnTo>
                  <a:lnTo>
                    <a:pt x="158738" y="20400"/>
                  </a:lnTo>
                  <a:lnTo>
                    <a:pt x="158738" y="20400"/>
                  </a:lnTo>
                  <a:close/>
                  <a:moveTo>
                    <a:pt x="205275" y="9563"/>
                  </a:moveTo>
                  <a:lnTo>
                    <a:pt x="203363" y="0"/>
                  </a:lnTo>
                  <a:lnTo>
                    <a:pt x="201450" y="11475"/>
                  </a:lnTo>
                  <a:lnTo>
                    <a:pt x="205275" y="9563"/>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20" name="Freeform 59">
              <a:extLst>
                <a:ext uri="{FF2B5EF4-FFF2-40B4-BE49-F238E27FC236}">
                  <a16:creationId xmlns:a16="http://schemas.microsoft.com/office/drawing/2014/main" id="{593938B2-36EB-6263-9A39-5AAC286F6EBD}"/>
                </a:ext>
              </a:extLst>
            </p:cNvPr>
            <p:cNvSpPr/>
            <p:nvPr/>
          </p:nvSpPr>
          <p:spPr>
            <a:xfrm>
              <a:off x="6180130" y="2242073"/>
              <a:ext cx="460913" cy="479401"/>
            </a:xfrm>
            <a:custGeom>
              <a:avLst/>
              <a:gdLst>
                <a:gd name="connsiteX0" fmla="*/ 264563 w 460913"/>
                <a:gd name="connsiteY0" fmla="*/ 99450 h 479401"/>
                <a:gd name="connsiteX1" fmla="*/ 173400 w 460913"/>
                <a:gd name="connsiteY1" fmla="*/ 121763 h 479401"/>
                <a:gd name="connsiteX2" fmla="*/ 144713 w 460913"/>
                <a:gd name="connsiteY2" fmla="*/ 0 h 479401"/>
                <a:gd name="connsiteX3" fmla="*/ 144713 w 460913"/>
                <a:gd name="connsiteY3" fmla="*/ 0 h 479401"/>
                <a:gd name="connsiteX4" fmla="*/ 143438 w 460913"/>
                <a:gd name="connsiteY4" fmla="*/ 638 h 479401"/>
                <a:gd name="connsiteX5" fmla="*/ 140888 w 460913"/>
                <a:gd name="connsiteY5" fmla="*/ 140888 h 479401"/>
                <a:gd name="connsiteX6" fmla="*/ 120488 w 460913"/>
                <a:gd name="connsiteY6" fmla="*/ 172125 h 479401"/>
                <a:gd name="connsiteX7" fmla="*/ 96900 w 460913"/>
                <a:gd name="connsiteY7" fmla="*/ 189975 h 479401"/>
                <a:gd name="connsiteX8" fmla="*/ 92438 w 460913"/>
                <a:gd name="connsiteY8" fmla="*/ 184875 h 479401"/>
                <a:gd name="connsiteX9" fmla="*/ 65663 w 460913"/>
                <a:gd name="connsiteY9" fmla="*/ 220575 h 479401"/>
                <a:gd name="connsiteX10" fmla="*/ 67575 w 460913"/>
                <a:gd name="connsiteY10" fmla="*/ 249263 h 479401"/>
                <a:gd name="connsiteX11" fmla="*/ 51637 w 460913"/>
                <a:gd name="connsiteY11" fmla="*/ 251813 h 479401"/>
                <a:gd name="connsiteX12" fmla="*/ 29963 w 460913"/>
                <a:gd name="connsiteY12" fmla="*/ 284963 h 479401"/>
                <a:gd name="connsiteX13" fmla="*/ 37613 w 460913"/>
                <a:gd name="connsiteY13" fmla="*/ 306638 h 479401"/>
                <a:gd name="connsiteX14" fmla="*/ 27412 w 460913"/>
                <a:gd name="connsiteY14" fmla="*/ 327676 h 479401"/>
                <a:gd name="connsiteX15" fmla="*/ 0 w 460913"/>
                <a:gd name="connsiteY15" fmla="*/ 341063 h 479401"/>
                <a:gd name="connsiteX16" fmla="*/ 0 w 460913"/>
                <a:gd name="connsiteY16" fmla="*/ 341063 h 479401"/>
                <a:gd name="connsiteX17" fmla="*/ 0 w 460913"/>
                <a:gd name="connsiteY17" fmla="*/ 342338 h 479401"/>
                <a:gd name="connsiteX18" fmla="*/ 12750 w 460913"/>
                <a:gd name="connsiteY18" fmla="*/ 387601 h 479401"/>
                <a:gd name="connsiteX19" fmla="*/ 49088 w 460913"/>
                <a:gd name="connsiteY19" fmla="*/ 432226 h 479401"/>
                <a:gd name="connsiteX20" fmla="*/ 69488 w 460913"/>
                <a:gd name="connsiteY20" fmla="*/ 443701 h 479401"/>
                <a:gd name="connsiteX21" fmla="*/ 85425 w 460913"/>
                <a:gd name="connsiteY21" fmla="*/ 443701 h 479401"/>
                <a:gd name="connsiteX22" fmla="*/ 87338 w 460913"/>
                <a:gd name="connsiteY22" fmla="*/ 444338 h 479401"/>
                <a:gd name="connsiteX23" fmla="*/ 88613 w 460913"/>
                <a:gd name="connsiteY23" fmla="*/ 444976 h 479401"/>
                <a:gd name="connsiteX24" fmla="*/ 95625 w 460913"/>
                <a:gd name="connsiteY24" fmla="*/ 464738 h 479401"/>
                <a:gd name="connsiteX25" fmla="*/ 135788 w 460913"/>
                <a:gd name="connsiteY25" fmla="*/ 479401 h 479401"/>
                <a:gd name="connsiteX26" fmla="*/ 151725 w 460913"/>
                <a:gd name="connsiteY26" fmla="*/ 465376 h 479401"/>
                <a:gd name="connsiteX27" fmla="*/ 168300 w 460913"/>
                <a:gd name="connsiteY27" fmla="*/ 462826 h 479401"/>
                <a:gd name="connsiteX28" fmla="*/ 203363 w 460913"/>
                <a:gd name="connsiteY28" fmla="*/ 434776 h 479401"/>
                <a:gd name="connsiteX29" fmla="*/ 246075 w 460913"/>
                <a:gd name="connsiteY29" fmla="*/ 422026 h 479401"/>
                <a:gd name="connsiteX30" fmla="*/ 257551 w 460913"/>
                <a:gd name="connsiteY30" fmla="*/ 403538 h 479401"/>
                <a:gd name="connsiteX31" fmla="*/ 260100 w 460913"/>
                <a:gd name="connsiteY31" fmla="*/ 365288 h 479401"/>
                <a:gd name="connsiteX32" fmla="*/ 275401 w 460913"/>
                <a:gd name="connsiteY32" fmla="*/ 335326 h 479401"/>
                <a:gd name="connsiteX33" fmla="*/ 294526 w 460913"/>
                <a:gd name="connsiteY33" fmla="*/ 247988 h 479401"/>
                <a:gd name="connsiteX34" fmla="*/ 333413 w 460913"/>
                <a:gd name="connsiteY34" fmla="*/ 261376 h 479401"/>
                <a:gd name="connsiteX35" fmla="*/ 346163 w 460913"/>
                <a:gd name="connsiteY35" fmla="*/ 223763 h 479401"/>
                <a:gd name="connsiteX36" fmla="*/ 365926 w 460913"/>
                <a:gd name="connsiteY36" fmla="*/ 202088 h 479401"/>
                <a:gd name="connsiteX37" fmla="*/ 399076 w 460913"/>
                <a:gd name="connsiteY37" fmla="*/ 139613 h 479401"/>
                <a:gd name="connsiteX38" fmla="*/ 397801 w 460913"/>
                <a:gd name="connsiteY38" fmla="*/ 102638 h 479401"/>
                <a:gd name="connsiteX39" fmla="*/ 457089 w 460913"/>
                <a:gd name="connsiteY39" fmla="*/ 128138 h 479401"/>
                <a:gd name="connsiteX40" fmla="*/ 460913 w 460913"/>
                <a:gd name="connsiteY40" fmla="*/ 100725 h 479401"/>
                <a:gd name="connsiteX41" fmla="*/ 460913 w 460913"/>
                <a:gd name="connsiteY41" fmla="*/ 100088 h 479401"/>
                <a:gd name="connsiteX42" fmla="*/ 460913 w 460913"/>
                <a:gd name="connsiteY42" fmla="*/ 100088 h 479401"/>
                <a:gd name="connsiteX43" fmla="*/ 442426 w 460913"/>
                <a:gd name="connsiteY43" fmla="*/ 67575 h 479401"/>
                <a:gd name="connsiteX44" fmla="*/ 404176 w 460913"/>
                <a:gd name="connsiteY44" fmla="*/ 63113 h 479401"/>
                <a:gd name="connsiteX45" fmla="*/ 381863 w 460913"/>
                <a:gd name="connsiteY45" fmla="*/ 80325 h 479401"/>
                <a:gd name="connsiteX46" fmla="*/ 381863 w 460913"/>
                <a:gd name="connsiteY46" fmla="*/ 93075 h 479401"/>
                <a:gd name="connsiteX47" fmla="*/ 362738 w 460913"/>
                <a:gd name="connsiteY47" fmla="*/ 97538 h 479401"/>
                <a:gd name="connsiteX48" fmla="*/ 334051 w 460913"/>
                <a:gd name="connsiteY48" fmla="*/ 117300 h 479401"/>
                <a:gd name="connsiteX49" fmla="*/ 319388 w 460913"/>
                <a:gd name="connsiteY49" fmla="*/ 120488 h 479401"/>
                <a:gd name="connsiteX50" fmla="*/ 289426 w 460913"/>
                <a:gd name="connsiteY50" fmla="*/ 161925 h 479401"/>
                <a:gd name="connsiteX51" fmla="*/ 274763 w 460913"/>
                <a:gd name="connsiteY51" fmla="*/ 94350 h 479401"/>
                <a:gd name="connsiteX52" fmla="*/ 264563 w 460913"/>
                <a:gd name="connsiteY52" fmla="*/ 99450 h 479401"/>
                <a:gd name="connsiteX53" fmla="*/ 264563 w 460913"/>
                <a:gd name="connsiteY53" fmla="*/ 99450 h 47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0913" h="479401">
                  <a:moveTo>
                    <a:pt x="264563" y="99450"/>
                  </a:moveTo>
                  <a:lnTo>
                    <a:pt x="173400" y="121763"/>
                  </a:lnTo>
                  <a:lnTo>
                    <a:pt x="144713" y="0"/>
                  </a:lnTo>
                  <a:lnTo>
                    <a:pt x="144713" y="0"/>
                  </a:lnTo>
                  <a:lnTo>
                    <a:pt x="143438" y="638"/>
                  </a:lnTo>
                  <a:lnTo>
                    <a:pt x="140888" y="140888"/>
                  </a:lnTo>
                  <a:lnTo>
                    <a:pt x="120488" y="172125"/>
                  </a:lnTo>
                  <a:lnTo>
                    <a:pt x="96900" y="189975"/>
                  </a:lnTo>
                  <a:lnTo>
                    <a:pt x="92438" y="184875"/>
                  </a:lnTo>
                  <a:lnTo>
                    <a:pt x="65663" y="220575"/>
                  </a:lnTo>
                  <a:lnTo>
                    <a:pt x="67575" y="249263"/>
                  </a:lnTo>
                  <a:lnTo>
                    <a:pt x="51637" y="251813"/>
                  </a:lnTo>
                  <a:lnTo>
                    <a:pt x="29963" y="284963"/>
                  </a:lnTo>
                  <a:lnTo>
                    <a:pt x="37613" y="306638"/>
                  </a:lnTo>
                  <a:lnTo>
                    <a:pt x="27412" y="327676"/>
                  </a:lnTo>
                  <a:lnTo>
                    <a:pt x="0" y="341063"/>
                  </a:lnTo>
                  <a:lnTo>
                    <a:pt x="0" y="341063"/>
                  </a:lnTo>
                  <a:lnTo>
                    <a:pt x="0" y="342338"/>
                  </a:lnTo>
                  <a:lnTo>
                    <a:pt x="12750" y="387601"/>
                  </a:lnTo>
                  <a:lnTo>
                    <a:pt x="49088" y="432226"/>
                  </a:lnTo>
                  <a:lnTo>
                    <a:pt x="69488" y="443701"/>
                  </a:lnTo>
                  <a:lnTo>
                    <a:pt x="85425" y="443701"/>
                  </a:lnTo>
                  <a:lnTo>
                    <a:pt x="87338" y="444338"/>
                  </a:lnTo>
                  <a:lnTo>
                    <a:pt x="88613" y="444976"/>
                  </a:lnTo>
                  <a:lnTo>
                    <a:pt x="95625" y="464738"/>
                  </a:lnTo>
                  <a:lnTo>
                    <a:pt x="135788" y="479401"/>
                  </a:lnTo>
                  <a:lnTo>
                    <a:pt x="151725" y="465376"/>
                  </a:lnTo>
                  <a:lnTo>
                    <a:pt x="168300" y="462826"/>
                  </a:lnTo>
                  <a:lnTo>
                    <a:pt x="203363" y="434776"/>
                  </a:lnTo>
                  <a:lnTo>
                    <a:pt x="246075" y="422026"/>
                  </a:lnTo>
                  <a:lnTo>
                    <a:pt x="257551" y="403538"/>
                  </a:lnTo>
                  <a:lnTo>
                    <a:pt x="260100" y="365288"/>
                  </a:lnTo>
                  <a:lnTo>
                    <a:pt x="275401" y="335326"/>
                  </a:lnTo>
                  <a:lnTo>
                    <a:pt x="294526" y="247988"/>
                  </a:lnTo>
                  <a:lnTo>
                    <a:pt x="333413" y="261376"/>
                  </a:lnTo>
                  <a:lnTo>
                    <a:pt x="346163" y="223763"/>
                  </a:lnTo>
                  <a:lnTo>
                    <a:pt x="365926" y="202088"/>
                  </a:lnTo>
                  <a:lnTo>
                    <a:pt x="399076" y="139613"/>
                  </a:lnTo>
                  <a:lnTo>
                    <a:pt x="397801" y="102638"/>
                  </a:lnTo>
                  <a:lnTo>
                    <a:pt x="457089" y="128138"/>
                  </a:lnTo>
                  <a:lnTo>
                    <a:pt x="460913" y="100725"/>
                  </a:lnTo>
                  <a:lnTo>
                    <a:pt x="460913" y="100088"/>
                  </a:lnTo>
                  <a:lnTo>
                    <a:pt x="460913" y="100088"/>
                  </a:lnTo>
                  <a:lnTo>
                    <a:pt x="442426" y="67575"/>
                  </a:lnTo>
                  <a:lnTo>
                    <a:pt x="404176" y="63113"/>
                  </a:lnTo>
                  <a:lnTo>
                    <a:pt x="381863" y="80325"/>
                  </a:lnTo>
                  <a:lnTo>
                    <a:pt x="381863" y="93075"/>
                  </a:lnTo>
                  <a:lnTo>
                    <a:pt x="362738" y="97538"/>
                  </a:lnTo>
                  <a:lnTo>
                    <a:pt x="334051" y="117300"/>
                  </a:lnTo>
                  <a:lnTo>
                    <a:pt x="319388" y="120488"/>
                  </a:lnTo>
                  <a:lnTo>
                    <a:pt x="289426" y="161925"/>
                  </a:lnTo>
                  <a:lnTo>
                    <a:pt x="274763" y="94350"/>
                  </a:lnTo>
                  <a:lnTo>
                    <a:pt x="264563" y="99450"/>
                  </a:lnTo>
                  <a:lnTo>
                    <a:pt x="264563" y="994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21" name="Freeform 60">
              <a:extLst>
                <a:ext uri="{FF2B5EF4-FFF2-40B4-BE49-F238E27FC236}">
                  <a16:creationId xmlns:a16="http://schemas.microsoft.com/office/drawing/2014/main" id="{F80C0503-6048-7C6D-B831-0C49CB2C9B9C}"/>
                </a:ext>
              </a:extLst>
            </p:cNvPr>
            <p:cNvSpPr/>
            <p:nvPr/>
          </p:nvSpPr>
          <p:spPr>
            <a:xfrm>
              <a:off x="6822731" y="2214661"/>
              <a:ext cx="120487" cy="183600"/>
            </a:xfrm>
            <a:custGeom>
              <a:avLst/>
              <a:gdLst>
                <a:gd name="connsiteX0" fmla="*/ 0 w 120487"/>
                <a:gd name="connsiteY0" fmla="*/ 21037 h 183600"/>
                <a:gd name="connsiteX1" fmla="*/ 2550 w 120487"/>
                <a:gd name="connsiteY1" fmla="*/ 31238 h 183600"/>
                <a:gd name="connsiteX2" fmla="*/ 56100 w 120487"/>
                <a:gd name="connsiteY2" fmla="*/ 183600 h 183600"/>
                <a:gd name="connsiteX3" fmla="*/ 116663 w 120487"/>
                <a:gd name="connsiteY3" fmla="*/ 165750 h 183600"/>
                <a:gd name="connsiteX4" fmla="*/ 116025 w 120487"/>
                <a:gd name="connsiteY4" fmla="*/ 164475 h 183600"/>
                <a:gd name="connsiteX5" fmla="*/ 117300 w 120487"/>
                <a:gd name="connsiteY5" fmla="*/ 164475 h 183600"/>
                <a:gd name="connsiteX6" fmla="*/ 119213 w 120487"/>
                <a:gd name="connsiteY6" fmla="*/ 165113 h 183600"/>
                <a:gd name="connsiteX7" fmla="*/ 119213 w 120487"/>
                <a:gd name="connsiteY7" fmla="*/ 165113 h 183600"/>
                <a:gd name="connsiteX8" fmla="*/ 120488 w 120487"/>
                <a:gd name="connsiteY8" fmla="*/ 164475 h 183600"/>
                <a:gd name="connsiteX9" fmla="*/ 119213 w 120487"/>
                <a:gd name="connsiteY9" fmla="*/ 161925 h 183600"/>
                <a:gd name="connsiteX10" fmla="*/ 103913 w 120487"/>
                <a:gd name="connsiteY10" fmla="*/ 121125 h 183600"/>
                <a:gd name="connsiteX11" fmla="*/ 28688 w 120487"/>
                <a:gd name="connsiteY11" fmla="*/ 49725 h 183600"/>
                <a:gd name="connsiteX12" fmla="*/ 31875 w 120487"/>
                <a:gd name="connsiteY12" fmla="*/ 0 h 183600"/>
                <a:gd name="connsiteX13" fmla="*/ 31875 w 120487"/>
                <a:gd name="connsiteY13" fmla="*/ 0 h 183600"/>
                <a:gd name="connsiteX14" fmla="*/ 16575 w 120487"/>
                <a:gd name="connsiteY14" fmla="*/ 0 h 183600"/>
                <a:gd name="connsiteX15" fmla="*/ 5100 w 120487"/>
                <a:gd name="connsiteY15" fmla="*/ 9563 h 183600"/>
                <a:gd name="connsiteX16" fmla="*/ 0 w 120487"/>
                <a:gd name="connsiteY16" fmla="*/ 21037 h 183600"/>
                <a:gd name="connsiteX17" fmla="*/ 0 w 120487"/>
                <a:gd name="connsiteY17" fmla="*/ 21037 h 183600"/>
                <a:gd name="connsiteX18" fmla="*/ 0 w 120487"/>
                <a:gd name="connsiteY18" fmla="*/ 21037 h 18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487" h="183600">
                  <a:moveTo>
                    <a:pt x="0" y="21037"/>
                  </a:moveTo>
                  <a:lnTo>
                    <a:pt x="2550" y="31238"/>
                  </a:lnTo>
                  <a:lnTo>
                    <a:pt x="56100" y="183600"/>
                  </a:lnTo>
                  <a:lnTo>
                    <a:pt x="116663" y="165750"/>
                  </a:lnTo>
                  <a:lnTo>
                    <a:pt x="116025" y="164475"/>
                  </a:lnTo>
                  <a:lnTo>
                    <a:pt x="117300" y="164475"/>
                  </a:lnTo>
                  <a:lnTo>
                    <a:pt x="119213" y="165113"/>
                  </a:lnTo>
                  <a:lnTo>
                    <a:pt x="119213" y="165113"/>
                  </a:lnTo>
                  <a:lnTo>
                    <a:pt x="120488" y="164475"/>
                  </a:lnTo>
                  <a:lnTo>
                    <a:pt x="119213" y="161925"/>
                  </a:lnTo>
                  <a:lnTo>
                    <a:pt x="103913" y="121125"/>
                  </a:lnTo>
                  <a:lnTo>
                    <a:pt x="28688" y="49725"/>
                  </a:lnTo>
                  <a:lnTo>
                    <a:pt x="31875" y="0"/>
                  </a:lnTo>
                  <a:lnTo>
                    <a:pt x="31875" y="0"/>
                  </a:lnTo>
                  <a:lnTo>
                    <a:pt x="16575" y="0"/>
                  </a:lnTo>
                  <a:lnTo>
                    <a:pt x="5100" y="9563"/>
                  </a:lnTo>
                  <a:lnTo>
                    <a:pt x="0" y="21037"/>
                  </a:lnTo>
                  <a:lnTo>
                    <a:pt x="0" y="21037"/>
                  </a:lnTo>
                  <a:lnTo>
                    <a:pt x="0" y="21037"/>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22" name="Freeform 61">
              <a:extLst>
                <a:ext uri="{FF2B5EF4-FFF2-40B4-BE49-F238E27FC236}">
                  <a16:creationId xmlns:a16="http://schemas.microsoft.com/office/drawing/2014/main" id="{55C03396-CBB5-4A01-9CEF-3E2D1F08CFBD}"/>
                </a:ext>
              </a:extLst>
            </p:cNvPr>
            <p:cNvSpPr/>
            <p:nvPr/>
          </p:nvSpPr>
          <p:spPr>
            <a:xfrm>
              <a:off x="6719456" y="2371486"/>
              <a:ext cx="22312" cy="20400"/>
            </a:xfrm>
            <a:custGeom>
              <a:avLst/>
              <a:gdLst>
                <a:gd name="connsiteX0" fmla="*/ 0 w 22312"/>
                <a:gd name="connsiteY0" fmla="*/ 5738 h 20400"/>
                <a:gd name="connsiteX1" fmla="*/ 3188 w 22312"/>
                <a:gd name="connsiteY1" fmla="*/ 8288 h 20400"/>
                <a:gd name="connsiteX2" fmla="*/ 4463 w 22312"/>
                <a:gd name="connsiteY2" fmla="*/ 8925 h 20400"/>
                <a:gd name="connsiteX3" fmla="*/ 5738 w 22312"/>
                <a:gd name="connsiteY3" fmla="*/ 8288 h 20400"/>
                <a:gd name="connsiteX4" fmla="*/ 7013 w 22312"/>
                <a:gd name="connsiteY4" fmla="*/ 8925 h 20400"/>
                <a:gd name="connsiteX5" fmla="*/ 11475 w 22312"/>
                <a:gd name="connsiteY5" fmla="*/ 11475 h 20400"/>
                <a:gd name="connsiteX6" fmla="*/ 12750 w 22312"/>
                <a:gd name="connsiteY6" fmla="*/ 13388 h 20400"/>
                <a:gd name="connsiteX7" fmla="*/ 12750 w 22312"/>
                <a:gd name="connsiteY7" fmla="*/ 17850 h 20400"/>
                <a:gd name="connsiteX8" fmla="*/ 14025 w 22312"/>
                <a:gd name="connsiteY8" fmla="*/ 20400 h 20400"/>
                <a:gd name="connsiteX9" fmla="*/ 22313 w 22312"/>
                <a:gd name="connsiteY9" fmla="*/ 5100 h 20400"/>
                <a:gd name="connsiteX10" fmla="*/ 12750 w 22312"/>
                <a:gd name="connsiteY10" fmla="*/ 0 h 20400"/>
                <a:gd name="connsiteX11" fmla="*/ 1275 w 22312"/>
                <a:gd name="connsiteY11" fmla="*/ 638 h 20400"/>
                <a:gd name="connsiteX12" fmla="*/ 0 w 22312"/>
                <a:gd name="connsiteY12" fmla="*/ 5738 h 20400"/>
                <a:gd name="connsiteX13" fmla="*/ 0 w 22312"/>
                <a:gd name="connsiteY13" fmla="*/ 5738 h 2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12" h="20400">
                  <a:moveTo>
                    <a:pt x="0" y="5738"/>
                  </a:moveTo>
                  <a:lnTo>
                    <a:pt x="3188" y="8288"/>
                  </a:lnTo>
                  <a:lnTo>
                    <a:pt x="4463" y="8925"/>
                  </a:lnTo>
                  <a:lnTo>
                    <a:pt x="5738" y="8288"/>
                  </a:lnTo>
                  <a:lnTo>
                    <a:pt x="7013" y="8925"/>
                  </a:lnTo>
                  <a:lnTo>
                    <a:pt x="11475" y="11475"/>
                  </a:lnTo>
                  <a:lnTo>
                    <a:pt x="12750" y="13388"/>
                  </a:lnTo>
                  <a:lnTo>
                    <a:pt x="12750" y="17850"/>
                  </a:lnTo>
                  <a:lnTo>
                    <a:pt x="14025" y="20400"/>
                  </a:lnTo>
                  <a:lnTo>
                    <a:pt x="22313" y="5100"/>
                  </a:lnTo>
                  <a:lnTo>
                    <a:pt x="12750" y="0"/>
                  </a:lnTo>
                  <a:lnTo>
                    <a:pt x="1275" y="638"/>
                  </a:lnTo>
                  <a:lnTo>
                    <a:pt x="0" y="5738"/>
                  </a:lnTo>
                  <a:lnTo>
                    <a:pt x="0" y="5738"/>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23" name="Freeform 62">
              <a:extLst>
                <a:ext uri="{FF2B5EF4-FFF2-40B4-BE49-F238E27FC236}">
                  <a16:creationId xmlns:a16="http://schemas.microsoft.com/office/drawing/2014/main" id="{8250CD0F-B801-171F-DFDB-34A1457FF6E0}"/>
                </a:ext>
              </a:extLst>
            </p:cNvPr>
            <p:cNvSpPr/>
            <p:nvPr/>
          </p:nvSpPr>
          <p:spPr>
            <a:xfrm>
              <a:off x="6458080" y="2235698"/>
              <a:ext cx="486413" cy="235237"/>
            </a:xfrm>
            <a:custGeom>
              <a:avLst/>
              <a:gdLst>
                <a:gd name="connsiteX0" fmla="*/ 481951 w 486413"/>
                <a:gd name="connsiteY0" fmla="*/ 202088 h 235237"/>
                <a:gd name="connsiteX1" fmla="*/ 486414 w 486413"/>
                <a:gd name="connsiteY1" fmla="*/ 167663 h 235237"/>
                <a:gd name="connsiteX2" fmla="*/ 482589 w 486413"/>
                <a:gd name="connsiteY2" fmla="*/ 193163 h 235237"/>
                <a:gd name="connsiteX3" fmla="*/ 480039 w 486413"/>
                <a:gd name="connsiteY3" fmla="*/ 204638 h 235237"/>
                <a:gd name="connsiteX4" fmla="*/ 479401 w 486413"/>
                <a:gd name="connsiteY4" fmla="*/ 205913 h 235237"/>
                <a:gd name="connsiteX5" fmla="*/ 481313 w 486413"/>
                <a:gd name="connsiteY5" fmla="*/ 205275 h 235237"/>
                <a:gd name="connsiteX6" fmla="*/ 481951 w 486413"/>
                <a:gd name="connsiteY6" fmla="*/ 202088 h 235237"/>
                <a:gd name="connsiteX7" fmla="*/ 481951 w 486413"/>
                <a:gd name="connsiteY7" fmla="*/ 202088 h 235237"/>
                <a:gd name="connsiteX8" fmla="*/ 485139 w 486413"/>
                <a:gd name="connsiteY8" fmla="*/ 142163 h 235237"/>
                <a:gd name="connsiteX9" fmla="*/ 483864 w 486413"/>
                <a:gd name="connsiteY9" fmla="*/ 142800 h 235237"/>
                <a:gd name="connsiteX10" fmla="*/ 485139 w 486413"/>
                <a:gd name="connsiteY10" fmla="*/ 146625 h 235237"/>
                <a:gd name="connsiteX11" fmla="*/ 485139 w 486413"/>
                <a:gd name="connsiteY11" fmla="*/ 154275 h 235237"/>
                <a:gd name="connsiteX12" fmla="*/ 485139 w 486413"/>
                <a:gd name="connsiteY12" fmla="*/ 142163 h 235237"/>
                <a:gd name="connsiteX13" fmla="*/ 485139 w 486413"/>
                <a:gd name="connsiteY13" fmla="*/ 142163 h 235237"/>
                <a:gd name="connsiteX14" fmla="*/ 485139 w 486413"/>
                <a:gd name="connsiteY14" fmla="*/ 142163 h 235237"/>
                <a:gd name="connsiteX15" fmla="*/ 0 w 486413"/>
                <a:gd name="connsiteY15" fmla="*/ 102638 h 235237"/>
                <a:gd name="connsiteX16" fmla="*/ 14663 w 486413"/>
                <a:gd name="connsiteY16" fmla="*/ 170213 h 235237"/>
                <a:gd name="connsiteX17" fmla="*/ 44625 w 486413"/>
                <a:gd name="connsiteY17" fmla="*/ 128775 h 235237"/>
                <a:gd name="connsiteX18" fmla="*/ 59288 w 486413"/>
                <a:gd name="connsiteY18" fmla="*/ 125588 h 235237"/>
                <a:gd name="connsiteX19" fmla="*/ 87975 w 486413"/>
                <a:gd name="connsiteY19" fmla="*/ 105825 h 235237"/>
                <a:gd name="connsiteX20" fmla="*/ 107101 w 486413"/>
                <a:gd name="connsiteY20" fmla="*/ 101363 h 235237"/>
                <a:gd name="connsiteX21" fmla="*/ 107101 w 486413"/>
                <a:gd name="connsiteY21" fmla="*/ 88613 h 235237"/>
                <a:gd name="connsiteX22" fmla="*/ 129413 w 486413"/>
                <a:gd name="connsiteY22" fmla="*/ 71400 h 235237"/>
                <a:gd name="connsiteX23" fmla="*/ 167663 w 486413"/>
                <a:gd name="connsiteY23" fmla="*/ 75863 h 235237"/>
                <a:gd name="connsiteX24" fmla="*/ 186150 w 486413"/>
                <a:gd name="connsiteY24" fmla="*/ 108375 h 235237"/>
                <a:gd name="connsiteX25" fmla="*/ 186150 w 486413"/>
                <a:gd name="connsiteY25" fmla="*/ 108375 h 235237"/>
                <a:gd name="connsiteX26" fmla="*/ 188063 w 486413"/>
                <a:gd name="connsiteY26" fmla="*/ 109013 h 235237"/>
                <a:gd name="connsiteX27" fmla="*/ 218026 w 486413"/>
                <a:gd name="connsiteY27" fmla="*/ 116663 h 235237"/>
                <a:gd name="connsiteX28" fmla="*/ 239063 w 486413"/>
                <a:gd name="connsiteY28" fmla="*/ 131963 h 235237"/>
                <a:gd name="connsiteX29" fmla="*/ 259463 w 486413"/>
                <a:gd name="connsiteY29" fmla="*/ 141525 h 235237"/>
                <a:gd name="connsiteX30" fmla="*/ 261376 w 486413"/>
                <a:gd name="connsiteY30" fmla="*/ 143438 h 235237"/>
                <a:gd name="connsiteX31" fmla="*/ 263926 w 486413"/>
                <a:gd name="connsiteY31" fmla="*/ 138338 h 235237"/>
                <a:gd name="connsiteX32" fmla="*/ 275401 w 486413"/>
                <a:gd name="connsiteY32" fmla="*/ 137700 h 235237"/>
                <a:gd name="connsiteX33" fmla="*/ 284963 w 486413"/>
                <a:gd name="connsiteY33" fmla="*/ 142800 h 235237"/>
                <a:gd name="connsiteX34" fmla="*/ 276676 w 486413"/>
                <a:gd name="connsiteY34" fmla="*/ 158100 h 235237"/>
                <a:gd name="connsiteX35" fmla="*/ 276676 w 486413"/>
                <a:gd name="connsiteY35" fmla="*/ 158738 h 235237"/>
                <a:gd name="connsiteX36" fmla="*/ 264563 w 486413"/>
                <a:gd name="connsiteY36" fmla="*/ 195713 h 235237"/>
                <a:gd name="connsiteX37" fmla="*/ 304088 w 486413"/>
                <a:gd name="connsiteY37" fmla="*/ 221213 h 235237"/>
                <a:gd name="connsiteX38" fmla="*/ 343613 w 486413"/>
                <a:gd name="connsiteY38" fmla="*/ 223125 h 235237"/>
                <a:gd name="connsiteX39" fmla="*/ 370388 w 486413"/>
                <a:gd name="connsiteY39" fmla="*/ 235238 h 235237"/>
                <a:gd name="connsiteX40" fmla="*/ 358914 w 486413"/>
                <a:gd name="connsiteY40" fmla="*/ 204000 h 235237"/>
                <a:gd name="connsiteX41" fmla="*/ 325126 w 486413"/>
                <a:gd name="connsiteY41" fmla="*/ 192525 h 235237"/>
                <a:gd name="connsiteX42" fmla="*/ 316838 w 486413"/>
                <a:gd name="connsiteY42" fmla="*/ 165750 h 235237"/>
                <a:gd name="connsiteX43" fmla="*/ 337876 w 486413"/>
                <a:gd name="connsiteY43" fmla="*/ 194438 h 235237"/>
                <a:gd name="connsiteX44" fmla="*/ 355088 w 486413"/>
                <a:gd name="connsiteY44" fmla="*/ 196988 h 235237"/>
                <a:gd name="connsiteX45" fmla="*/ 339789 w 486413"/>
                <a:gd name="connsiteY45" fmla="*/ 181688 h 235237"/>
                <a:gd name="connsiteX46" fmla="*/ 327676 w 486413"/>
                <a:gd name="connsiteY46" fmla="*/ 135788 h 235237"/>
                <a:gd name="connsiteX47" fmla="*/ 330863 w 486413"/>
                <a:gd name="connsiteY47" fmla="*/ 109013 h 235237"/>
                <a:gd name="connsiteX48" fmla="*/ 317476 w 486413"/>
                <a:gd name="connsiteY48" fmla="*/ 79688 h 235237"/>
                <a:gd name="connsiteX49" fmla="*/ 331501 w 486413"/>
                <a:gd name="connsiteY49" fmla="*/ 68213 h 235237"/>
                <a:gd name="connsiteX50" fmla="*/ 342338 w 486413"/>
                <a:gd name="connsiteY50" fmla="*/ 31238 h 235237"/>
                <a:gd name="connsiteX51" fmla="*/ 338513 w 486413"/>
                <a:gd name="connsiteY51" fmla="*/ 86063 h 235237"/>
                <a:gd name="connsiteX52" fmla="*/ 349988 w 486413"/>
                <a:gd name="connsiteY52" fmla="*/ 104550 h 235237"/>
                <a:gd name="connsiteX53" fmla="*/ 360826 w 486413"/>
                <a:gd name="connsiteY53" fmla="*/ 82875 h 235237"/>
                <a:gd name="connsiteX54" fmla="*/ 366563 w 486413"/>
                <a:gd name="connsiteY54" fmla="*/ 118575 h 235237"/>
                <a:gd name="connsiteX55" fmla="*/ 355088 w 486413"/>
                <a:gd name="connsiteY55" fmla="*/ 145350 h 235237"/>
                <a:gd name="connsiteX56" fmla="*/ 386963 w 486413"/>
                <a:gd name="connsiteY56" fmla="*/ 156825 h 235237"/>
                <a:gd name="connsiteX57" fmla="*/ 359551 w 486413"/>
                <a:gd name="connsiteY57" fmla="*/ 166388 h 235237"/>
                <a:gd name="connsiteX58" fmla="*/ 373576 w 486413"/>
                <a:gd name="connsiteY58" fmla="*/ 193163 h 235237"/>
                <a:gd name="connsiteX59" fmla="*/ 396526 w 486413"/>
                <a:gd name="connsiteY59" fmla="*/ 200813 h 235237"/>
                <a:gd name="connsiteX60" fmla="*/ 409276 w 486413"/>
                <a:gd name="connsiteY60" fmla="*/ 178500 h 235237"/>
                <a:gd name="connsiteX61" fmla="*/ 408001 w 486413"/>
                <a:gd name="connsiteY61" fmla="*/ 210375 h 235237"/>
                <a:gd name="connsiteX62" fmla="*/ 429676 w 486413"/>
                <a:gd name="connsiteY62" fmla="*/ 209738 h 235237"/>
                <a:gd name="connsiteX63" fmla="*/ 443701 w 486413"/>
                <a:gd name="connsiteY63" fmla="*/ 225675 h 235237"/>
                <a:gd name="connsiteX64" fmla="*/ 444338 w 486413"/>
                <a:gd name="connsiteY64" fmla="*/ 225675 h 235237"/>
                <a:gd name="connsiteX65" fmla="*/ 448801 w 486413"/>
                <a:gd name="connsiteY65" fmla="*/ 219938 h 235237"/>
                <a:gd name="connsiteX66" fmla="*/ 461551 w 486413"/>
                <a:gd name="connsiteY66" fmla="*/ 214200 h 235237"/>
                <a:gd name="connsiteX67" fmla="*/ 469839 w 486413"/>
                <a:gd name="connsiteY67" fmla="*/ 211013 h 235237"/>
                <a:gd name="connsiteX68" fmla="*/ 469201 w 486413"/>
                <a:gd name="connsiteY68" fmla="*/ 209738 h 235237"/>
                <a:gd name="connsiteX69" fmla="*/ 485776 w 486413"/>
                <a:gd name="connsiteY69" fmla="*/ 160013 h 235237"/>
                <a:gd name="connsiteX70" fmla="*/ 485776 w 486413"/>
                <a:gd name="connsiteY70" fmla="*/ 158100 h 235237"/>
                <a:gd name="connsiteX71" fmla="*/ 482589 w 486413"/>
                <a:gd name="connsiteY71" fmla="*/ 145350 h 235237"/>
                <a:gd name="connsiteX72" fmla="*/ 482589 w 486413"/>
                <a:gd name="connsiteY72" fmla="*/ 144713 h 235237"/>
                <a:gd name="connsiteX73" fmla="*/ 422026 w 486413"/>
                <a:gd name="connsiteY73" fmla="*/ 162563 h 235237"/>
                <a:gd name="connsiteX74" fmla="*/ 368476 w 486413"/>
                <a:gd name="connsiteY74" fmla="*/ 10200 h 235237"/>
                <a:gd name="connsiteX75" fmla="*/ 365926 w 486413"/>
                <a:gd name="connsiteY75" fmla="*/ 0 h 235237"/>
                <a:gd name="connsiteX76" fmla="*/ 354451 w 486413"/>
                <a:gd name="connsiteY76" fmla="*/ 3188 h 235237"/>
                <a:gd name="connsiteX77" fmla="*/ 308551 w 486413"/>
                <a:gd name="connsiteY77" fmla="*/ 17213 h 235237"/>
                <a:gd name="connsiteX78" fmla="*/ 57375 w 486413"/>
                <a:gd name="connsiteY78" fmla="*/ 87338 h 235237"/>
                <a:gd name="connsiteX79" fmla="*/ 11475 w 486413"/>
                <a:gd name="connsiteY79" fmla="*/ 99450 h 235237"/>
                <a:gd name="connsiteX80" fmla="*/ 0 w 486413"/>
                <a:gd name="connsiteY80" fmla="*/ 102638 h 235237"/>
                <a:gd name="connsiteX81" fmla="*/ 0 w 486413"/>
                <a:gd name="connsiteY81" fmla="*/ 102638 h 23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6413" h="235237">
                  <a:moveTo>
                    <a:pt x="481951" y="202088"/>
                  </a:moveTo>
                  <a:lnTo>
                    <a:pt x="486414" y="167663"/>
                  </a:lnTo>
                  <a:lnTo>
                    <a:pt x="482589" y="193163"/>
                  </a:lnTo>
                  <a:lnTo>
                    <a:pt x="480039" y="204638"/>
                  </a:lnTo>
                  <a:lnTo>
                    <a:pt x="479401" y="205913"/>
                  </a:lnTo>
                  <a:lnTo>
                    <a:pt x="481313" y="205275"/>
                  </a:lnTo>
                  <a:lnTo>
                    <a:pt x="481951" y="202088"/>
                  </a:lnTo>
                  <a:lnTo>
                    <a:pt x="481951" y="202088"/>
                  </a:lnTo>
                  <a:close/>
                  <a:moveTo>
                    <a:pt x="485139" y="142163"/>
                  </a:moveTo>
                  <a:lnTo>
                    <a:pt x="483864" y="142800"/>
                  </a:lnTo>
                  <a:lnTo>
                    <a:pt x="485139" y="146625"/>
                  </a:lnTo>
                  <a:lnTo>
                    <a:pt x="485139" y="154275"/>
                  </a:lnTo>
                  <a:lnTo>
                    <a:pt x="485139" y="142163"/>
                  </a:lnTo>
                  <a:lnTo>
                    <a:pt x="485139" y="142163"/>
                  </a:lnTo>
                  <a:lnTo>
                    <a:pt x="485139" y="142163"/>
                  </a:lnTo>
                  <a:close/>
                  <a:moveTo>
                    <a:pt x="0" y="102638"/>
                  </a:moveTo>
                  <a:lnTo>
                    <a:pt x="14663" y="170213"/>
                  </a:lnTo>
                  <a:lnTo>
                    <a:pt x="44625" y="128775"/>
                  </a:lnTo>
                  <a:lnTo>
                    <a:pt x="59288" y="125588"/>
                  </a:lnTo>
                  <a:lnTo>
                    <a:pt x="87975" y="105825"/>
                  </a:lnTo>
                  <a:lnTo>
                    <a:pt x="107101" y="101363"/>
                  </a:lnTo>
                  <a:lnTo>
                    <a:pt x="107101" y="88613"/>
                  </a:lnTo>
                  <a:lnTo>
                    <a:pt x="129413" y="71400"/>
                  </a:lnTo>
                  <a:lnTo>
                    <a:pt x="167663" y="75863"/>
                  </a:lnTo>
                  <a:lnTo>
                    <a:pt x="186150" y="108375"/>
                  </a:lnTo>
                  <a:lnTo>
                    <a:pt x="186150" y="108375"/>
                  </a:lnTo>
                  <a:lnTo>
                    <a:pt x="188063" y="109013"/>
                  </a:lnTo>
                  <a:lnTo>
                    <a:pt x="218026" y="116663"/>
                  </a:lnTo>
                  <a:lnTo>
                    <a:pt x="239063" y="131963"/>
                  </a:lnTo>
                  <a:lnTo>
                    <a:pt x="259463" y="141525"/>
                  </a:lnTo>
                  <a:lnTo>
                    <a:pt x="261376" y="143438"/>
                  </a:lnTo>
                  <a:lnTo>
                    <a:pt x="263926" y="138338"/>
                  </a:lnTo>
                  <a:lnTo>
                    <a:pt x="275401" y="137700"/>
                  </a:lnTo>
                  <a:lnTo>
                    <a:pt x="284963" y="142800"/>
                  </a:lnTo>
                  <a:lnTo>
                    <a:pt x="276676" y="158100"/>
                  </a:lnTo>
                  <a:lnTo>
                    <a:pt x="276676" y="158738"/>
                  </a:lnTo>
                  <a:lnTo>
                    <a:pt x="264563" y="195713"/>
                  </a:lnTo>
                  <a:lnTo>
                    <a:pt x="304088" y="221213"/>
                  </a:lnTo>
                  <a:lnTo>
                    <a:pt x="343613" y="223125"/>
                  </a:lnTo>
                  <a:lnTo>
                    <a:pt x="370388" y="235238"/>
                  </a:lnTo>
                  <a:lnTo>
                    <a:pt x="358914" y="204000"/>
                  </a:lnTo>
                  <a:lnTo>
                    <a:pt x="325126" y="192525"/>
                  </a:lnTo>
                  <a:lnTo>
                    <a:pt x="316838" y="165750"/>
                  </a:lnTo>
                  <a:lnTo>
                    <a:pt x="337876" y="194438"/>
                  </a:lnTo>
                  <a:lnTo>
                    <a:pt x="355088" y="196988"/>
                  </a:lnTo>
                  <a:lnTo>
                    <a:pt x="339789" y="181688"/>
                  </a:lnTo>
                  <a:lnTo>
                    <a:pt x="327676" y="135788"/>
                  </a:lnTo>
                  <a:lnTo>
                    <a:pt x="330863" y="109013"/>
                  </a:lnTo>
                  <a:lnTo>
                    <a:pt x="317476" y="79688"/>
                  </a:lnTo>
                  <a:lnTo>
                    <a:pt x="331501" y="68213"/>
                  </a:lnTo>
                  <a:lnTo>
                    <a:pt x="342338" y="31238"/>
                  </a:lnTo>
                  <a:lnTo>
                    <a:pt x="338513" y="86063"/>
                  </a:lnTo>
                  <a:lnTo>
                    <a:pt x="349988" y="104550"/>
                  </a:lnTo>
                  <a:lnTo>
                    <a:pt x="360826" y="82875"/>
                  </a:lnTo>
                  <a:lnTo>
                    <a:pt x="366563" y="118575"/>
                  </a:lnTo>
                  <a:lnTo>
                    <a:pt x="355088" y="145350"/>
                  </a:lnTo>
                  <a:lnTo>
                    <a:pt x="386963" y="156825"/>
                  </a:lnTo>
                  <a:lnTo>
                    <a:pt x="359551" y="166388"/>
                  </a:lnTo>
                  <a:lnTo>
                    <a:pt x="373576" y="193163"/>
                  </a:lnTo>
                  <a:lnTo>
                    <a:pt x="396526" y="200813"/>
                  </a:lnTo>
                  <a:lnTo>
                    <a:pt x="409276" y="178500"/>
                  </a:lnTo>
                  <a:lnTo>
                    <a:pt x="408001" y="210375"/>
                  </a:lnTo>
                  <a:lnTo>
                    <a:pt x="429676" y="209738"/>
                  </a:lnTo>
                  <a:lnTo>
                    <a:pt x="443701" y="225675"/>
                  </a:lnTo>
                  <a:lnTo>
                    <a:pt x="444338" y="225675"/>
                  </a:lnTo>
                  <a:lnTo>
                    <a:pt x="448801" y="219938"/>
                  </a:lnTo>
                  <a:lnTo>
                    <a:pt x="461551" y="214200"/>
                  </a:lnTo>
                  <a:lnTo>
                    <a:pt x="469839" y="211013"/>
                  </a:lnTo>
                  <a:lnTo>
                    <a:pt x="469201" y="209738"/>
                  </a:lnTo>
                  <a:lnTo>
                    <a:pt x="485776" y="160013"/>
                  </a:lnTo>
                  <a:lnTo>
                    <a:pt x="485776" y="158100"/>
                  </a:lnTo>
                  <a:lnTo>
                    <a:pt x="482589" y="145350"/>
                  </a:lnTo>
                  <a:lnTo>
                    <a:pt x="482589" y="144713"/>
                  </a:lnTo>
                  <a:lnTo>
                    <a:pt x="422026" y="162563"/>
                  </a:lnTo>
                  <a:lnTo>
                    <a:pt x="368476" y="10200"/>
                  </a:lnTo>
                  <a:lnTo>
                    <a:pt x="365926" y="0"/>
                  </a:lnTo>
                  <a:lnTo>
                    <a:pt x="354451" y="3188"/>
                  </a:lnTo>
                  <a:lnTo>
                    <a:pt x="308551" y="17213"/>
                  </a:lnTo>
                  <a:lnTo>
                    <a:pt x="57375" y="87338"/>
                  </a:lnTo>
                  <a:lnTo>
                    <a:pt x="11475" y="99450"/>
                  </a:lnTo>
                  <a:lnTo>
                    <a:pt x="0" y="102638"/>
                  </a:lnTo>
                  <a:lnTo>
                    <a:pt x="0" y="102638"/>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24" name="Freeform 63">
              <a:extLst>
                <a:ext uri="{FF2B5EF4-FFF2-40B4-BE49-F238E27FC236}">
                  <a16:creationId xmlns:a16="http://schemas.microsoft.com/office/drawing/2014/main" id="{C34799CE-00DF-37D4-5D0D-2F041677533E}"/>
                </a:ext>
              </a:extLst>
            </p:cNvPr>
            <p:cNvSpPr/>
            <p:nvPr/>
          </p:nvSpPr>
          <p:spPr>
            <a:xfrm>
              <a:off x="6836756" y="1989623"/>
              <a:ext cx="146625" cy="322575"/>
            </a:xfrm>
            <a:custGeom>
              <a:avLst/>
              <a:gdLst>
                <a:gd name="connsiteX0" fmla="*/ 137700 w 146625"/>
                <a:gd name="connsiteY0" fmla="*/ 242888 h 322575"/>
                <a:gd name="connsiteX1" fmla="*/ 134513 w 146625"/>
                <a:gd name="connsiteY1" fmla="*/ 235238 h 322575"/>
                <a:gd name="connsiteX2" fmla="*/ 134513 w 146625"/>
                <a:gd name="connsiteY2" fmla="*/ 242888 h 322575"/>
                <a:gd name="connsiteX3" fmla="*/ 137700 w 146625"/>
                <a:gd name="connsiteY3" fmla="*/ 242888 h 322575"/>
                <a:gd name="connsiteX4" fmla="*/ 144713 w 146625"/>
                <a:gd name="connsiteY4" fmla="*/ 219300 h 322575"/>
                <a:gd name="connsiteX5" fmla="*/ 146625 w 146625"/>
                <a:gd name="connsiteY5" fmla="*/ 200175 h 322575"/>
                <a:gd name="connsiteX6" fmla="*/ 142800 w 146625"/>
                <a:gd name="connsiteY6" fmla="*/ 216750 h 322575"/>
                <a:gd name="connsiteX7" fmla="*/ 144713 w 146625"/>
                <a:gd name="connsiteY7" fmla="*/ 219300 h 322575"/>
                <a:gd name="connsiteX8" fmla="*/ 144713 w 146625"/>
                <a:gd name="connsiteY8" fmla="*/ 219300 h 322575"/>
                <a:gd name="connsiteX9" fmla="*/ 117938 w 146625"/>
                <a:gd name="connsiteY9" fmla="*/ 22313 h 322575"/>
                <a:gd name="connsiteX10" fmla="*/ 50363 w 146625"/>
                <a:gd name="connsiteY10" fmla="*/ 5737 h 322575"/>
                <a:gd name="connsiteX11" fmla="*/ 38887 w 146625"/>
                <a:gd name="connsiteY11" fmla="*/ 2550 h 322575"/>
                <a:gd name="connsiteX12" fmla="*/ 27412 w 146625"/>
                <a:gd name="connsiteY12" fmla="*/ 0 h 322575"/>
                <a:gd name="connsiteX13" fmla="*/ 27412 w 146625"/>
                <a:gd name="connsiteY13" fmla="*/ 0 h 322575"/>
                <a:gd name="connsiteX14" fmla="*/ 0 w 146625"/>
                <a:gd name="connsiteY14" fmla="*/ 59288 h 322575"/>
                <a:gd name="connsiteX15" fmla="*/ 11475 w 146625"/>
                <a:gd name="connsiteY15" fmla="*/ 73313 h 322575"/>
                <a:gd name="connsiteX16" fmla="*/ 10838 w 146625"/>
                <a:gd name="connsiteY16" fmla="*/ 116025 h 322575"/>
                <a:gd name="connsiteX17" fmla="*/ 22950 w 146625"/>
                <a:gd name="connsiteY17" fmla="*/ 117938 h 322575"/>
                <a:gd name="connsiteX18" fmla="*/ 47813 w 146625"/>
                <a:gd name="connsiteY18" fmla="*/ 183600 h 322575"/>
                <a:gd name="connsiteX19" fmla="*/ 46538 w 146625"/>
                <a:gd name="connsiteY19" fmla="*/ 185513 h 322575"/>
                <a:gd name="connsiteX20" fmla="*/ 14662 w 146625"/>
                <a:gd name="connsiteY20" fmla="*/ 232050 h 322575"/>
                <a:gd name="connsiteX21" fmla="*/ 17850 w 146625"/>
                <a:gd name="connsiteY21" fmla="*/ 267113 h 322575"/>
                <a:gd name="connsiteX22" fmla="*/ 93713 w 146625"/>
                <a:gd name="connsiteY22" fmla="*/ 292613 h 322575"/>
                <a:gd name="connsiteX23" fmla="*/ 94350 w 146625"/>
                <a:gd name="connsiteY23" fmla="*/ 322576 h 322575"/>
                <a:gd name="connsiteX24" fmla="*/ 111563 w 146625"/>
                <a:gd name="connsiteY24" fmla="*/ 298351 h 322575"/>
                <a:gd name="connsiteX25" fmla="*/ 114113 w 146625"/>
                <a:gd name="connsiteY25" fmla="*/ 263288 h 322575"/>
                <a:gd name="connsiteX26" fmla="*/ 131963 w 146625"/>
                <a:gd name="connsiteY26" fmla="*/ 251175 h 322575"/>
                <a:gd name="connsiteX27" fmla="*/ 124950 w 146625"/>
                <a:gd name="connsiteY27" fmla="*/ 224401 h 322575"/>
                <a:gd name="connsiteX28" fmla="*/ 138338 w 146625"/>
                <a:gd name="connsiteY28" fmla="*/ 192525 h 322575"/>
                <a:gd name="connsiteX29" fmla="*/ 138338 w 146625"/>
                <a:gd name="connsiteY29" fmla="*/ 123675 h 322575"/>
                <a:gd name="connsiteX30" fmla="*/ 133875 w 146625"/>
                <a:gd name="connsiteY30" fmla="*/ 101363 h 322575"/>
                <a:gd name="connsiteX31" fmla="*/ 103275 w 146625"/>
                <a:gd name="connsiteY31" fmla="*/ 102000 h 322575"/>
                <a:gd name="connsiteX32" fmla="*/ 110925 w 146625"/>
                <a:gd name="connsiteY32" fmla="*/ 70763 h 322575"/>
                <a:gd name="connsiteX33" fmla="*/ 117938 w 146625"/>
                <a:gd name="connsiteY33" fmla="*/ 22313 h 322575"/>
                <a:gd name="connsiteX34" fmla="*/ 117938 w 146625"/>
                <a:gd name="connsiteY34" fmla="*/ 22313 h 322575"/>
                <a:gd name="connsiteX35" fmla="*/ 117938 w 146625"/>
                <a:gd name="connsiteY35" fmla="*/ 22313 h 32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625" h="322575">
                  <a:moveTo>
                    <a:pt x="137700" y="242888"/>
                  </a:moveTo>
                  <a:lnTo>
                    <a:pt x="134513" y="235238"/>
                  </a:lnTo>
                  <a:lnTo>
                    <a:pt x="134513" y="242888"/>
                  </a:lnTo>
                  <a:lnTo>
                    <a:pt x="137700" y="242888"/>
                  </a:lnTo>
                  <a:close/>
                  <a:moveTo>
                    <a:pt x="144713" y="219300"/>
                  </a:moveTo>
                  <a:lnTo>
                    <a:pt x="146625" y="200175"/>
                  </a:lnTo>
                  <a:lnTo>
                    <a:pt x="142800" y="216750"/>
                  </a:lnTo>
                  <a:lnTo>
                    <a:pt x="144713" y="219300"/>
                  </a:lnTo>
                  <a:lnTo>
                    <a:pt x="144713" y="219300"/>
                  </a:lnTo>
                  <a:close/>
                  <a:moveTo>
                    <a:pt x="117938" y="22313"/>
                  </a:moveTo>
                  <a:lnTo>
                    <a:pt x="50363" y="5737"/>
                  </a:lnTo>
                  <a:lnTo>
                    <a:pt x="38887" y="2550"/>
                  </a:lnTo>
                  <a:lnTo>
                    <a:pt x="27412" y="0"/>
                  </a:lnTo>
                  <a:lnTo>
                    <a:pt x="27412" y="0"/>
                  </a:lnTo>
                  <a:lnTo>
                    <a:pt x="0" y="59288"/>
                  </a:lnTo>
                  <a:lnTo>
                    <a:pt x="11475" y="73313"/>
                  </a:lnTo>
                  <a:lnTo>
                    <a:pt x="10838" y="116025"/>
                  </a:lnTo>
                  <a:lnTo>
                    <a:pt x="22950" y="117938"/>
                  </a:lnTo>
                  <a:lnTo>
                    <a:pt x="47813" y="183600"/>
                  </a:lnTo>
                  <a:lnTo>
                    <a:pt x="46538" y="185513"/>
                  </a:lnTo>
                  <a:lnTo>
                    <a:pt x="14662" y="232050"/>
                  </a:lnTo>
                  <a:lnTo>
                    <a:pt x="17850" y="267113"/>
                  </a:lnTo>
                  <a:lnTo>
                    <a:pt x="93713" y="292613"/>
                  </a:lnTo>
                  <a:lnTo>
                    <a:pt x="94350" y="322576"/>
                  </a:lnTo>
                  <a:lnTo>
                    <a:pt x="111563" y="298351"/>
                  </a:lnTo>
                  <a:lnTo>
                    <a:pt x="114113" y="263288"/>
                  </a:lnTo>
                  <a:lnTo>
                    <a:pt x="131963" y="251175"/>
                  </a:lnTo>
                  <a:lnTo>
                    <a:pt x="124950" y="224401"/>
                  </a:lnTo>
                  <a:lnTo>
                    <a:pt x="138338" y="192525"/>
                  </a:lnTo>
                  <a:lnTo>
                    <a:pt x="138338" y="123675"/>
                  </a:lnTo>
                  <a:lnTo>
                    <a:pt x="133875" y="101363"/>
                  </a:lnTo>
                  <a:lnTo>
                    <a:pt x="103275" y="102000"/>
                  </a:lnTo>
                  <a:lnTo>
                    <a:pt x="110925" y="70763"/>
                  </a:lnTo>
                  <a:lnTo>
                    <a:pt x="117938" y="22313"/>
                  </a:lnTo>
                  <a:lnTo>
                    <a:pt x="117938" y="22313"/>
                  </a:lnTo>
                  <a:lnTo>
                    <a:pt x="117938" y="22313"/>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25" name="Freeform 64">
              <a:extLst>
                <a:ext uri="{FF2B5EF4-FFF2-40B4-BE49-F238E27FC236}">
                  <a16:creationId xmlns:a16="http://schemas.microsoft.com/office/drawing/2014/main" id="{C5953B99-FA15-787C-59F0-3A8440491390}"/>
                </a:ext>
              </a:extLst>
            </p:cNvPr>
            <p:cNvSpPr/>
            <p:nvPr/>
          </p:nvSpPr>
          <p:spPr>
            <a:xfrm>
              <a:off x="6348430" y="1473247"/>
              <a:ext cx="796238" cy="608176"/>
            </a:xfrm>
            <a:custGeom>
              <a:avLst/>
              <a:gdLst>
                <a:gd name="connsiteX0" fmla="*/ 604351 w 796238"/>
                <a:gd name="connsiteY0" fmla="*/ 590964 h 608176"/>
                <a:gd name="connsiteX1" fmla="*/ 594151 w 796238"/>
                <a:gd name="connsiteY1" fmla="*/ 604351 h 608176"/>
                <a:gd name="connsiteX2" fmla="*/ 591601 w 796238"/>
                <a:gd name="connsiteY2" fmla="*/ 608176 h 608176"/>
                <a:gd name="connsiteX3" fmla="*/ 604351 w 796238"/>
                <a:gd name="connsiteY3" fmla="*/ 590964 h 608176"/>
                <a:gd name="connsiteX4" fmla="*/ 692964 w 796238"/>
                <a:gd name="connsiteY4" fmla="*/ 559089 h 608176"/>
                <a:gd name="connsiteX5" fmla="*/ 725476 w 796238"/>
                <a:gd name="connsiteY5" fmla="*/ 530401 h 608176"/>
                <a:gd name="connsiteX6" fmla="*/ 725476 w 796238"/>
                <a:gd name="connsiteY6" fmla="*/ 529126 h 608176"/>
                <a:gd name="connsiteX7" fmla="*/ 692964 w 796238"/>
                <a:gd name="connsiteY7" fmla="*/ 559089 h 608176"/>
                <a:gd name="connsiteX8" fmla="*/ 692964 w 796238"/>
                <a:gd name="connsiteY8" fmla="*/ 559089 h 608176"/>
                <a:gd name="connsiteX9" fmla="*/ 608814 w 796238"/>
                <a:gd name="connsiteY9" fmla="*/ 578851 h 608176"/>
                <a:gd name="connsiteX10" fmla="*/ 608814 w 796238"/>
                <a:gd name="connsiteY10" fmla="*/ 557176 h 608176"/>
                <a:gd name="connsiteX11" fmla="*/ 606901 w 796238"/>
                <a:gd name="connsiteY11" fmla="*/ 568651 h 608176"/>
                <a:gd name="connsiteX12" fmla="*/ 608814 w 796238"/>
                <a:gd name="connsiteY12" fmla="*/ 578851 h 608176"/>
                <a:gd name="connsiteX13" fmla="*/ 757989 w 796238"/>
                <a:gd name="connsiteY13" fmla="*/ 476214 h 608176"/>
                <a:gd name="connsiteX14" fmla="*/ 750339 w 796238"/>
                <a:gd name="connsiteY14" fmla="*/ 474301 h 608176"/>
                <a:gd name="connsiteX15" fmla="*/ 749064 w 796238"/>
                <a:gd name="connsiteY15" fmla="*/ 480039 h 608176"/>
                <a:gd name="connsiteX16" fmla="*/ 757989 w 796238"/>
                <a:gd name="connsiteY16" fmla="*/ 476214 h 608176"/>
                <a:gd name="connsiteX17" fmla="*/ 775201 w 796238"/>
                <a:gd name="connsiteY17" fmla="*/ 465376 h 608176"/>
                <a:gd name="connsiteX18" fmla="*/ 774564 w 796238"/>
                <a:gd name="connsiteY18" fmla="*/ 471751 h 608176"/>
                <a:gd name="connsiteX19" fmla="*/ 775839 w 796238"/>
                <a:gd name="connsiteY19" fmla="*/ 467926 h 608176"/>
                <a:gd name="connsiteX20" fmla="*/ 775201 w 796238"/>
                <a:gd name="connsiteY20" fmla="*/ 465376 h 608176"/>
                <a:gd name="connsiteX21" fmla="*/ 775201 w 796238"/>
                <a:gd name="connsiteY21" fmla="*/ 465376 h 608176"/>
                <a:gd name="connsiteX22" fmla="*/ 757351 w 796238"/>
                <a:gd name="connsiteY22" fmla="*/ 466013 h 608176"/>
                <a:gd name="connsiteX23" fmla="*/ 714639 w 796238"/>
                <a:gd name="connsiteY23" fmla="*/ 505539 h 608176"/>
                <a:gd name="connsiteX24" fmla="*/ 648339 w 796238"/>
                <a:gd name="connsiteY24" fmla="*/ 534226 h 608176"/>
                <a:gd name="connsiteX25" fmla="*/ 631126 w 796238"/>
                <a:gd name="connsiteY25" fmla="*/ 548889 h 608176"/>
                <a:gd name="connsiteX26" fmla="*/ 629851 w 796238"/>
                <a:gd name="connsiteY26" fmla="*/ 562914 h 608176"/>
                <a:gd name="connsiteX27" fmla="*/ 612001 w 796238"/>
                <a:gd name="connsiteY27" fmla="*/ 577576 h 608176"/>
                <a:gd name="connsiteX28" fmla="*/ 614551 w 796238"/>
                <a:gd name="connsiteY28" fmla="*/ 596701 h 608176"/>
                <a:gd name="connsiteX29" fmla="*/ 642601 w 796238"/>
                <a:gd name="connsiteY29" fmla="*/ 585226 h 608176"/>
                <a:gd name="connsiteX30" fmla="*/ 682764 w 796238"/>
                <a:gd name="connsiteY30" fmla="*/ 552076 h 608176"/>
                <a:gd name="connsiteX31" fmla="*/ 728026 w 796238"/>
                <a:gd name="connsiteY31" fmla="*/ 528489 h 608176"/>
                <a:gd name="connsiteX32" fmla="*/ 796239 w 796238"/>
                <a:gd name="connsiteY32" fmla="*/ 464101 h 608176"/>
                <a:gd name="connsiteX33" fmla="*/ 747789 w 796238"/>
                <a:gd name="connsiteY33" fmla="*/ 500439 h 608176"/>
                <a:gd name="connsiteX34" fmla="*/ 732489 w 796238"/>
                <a:gd name="connsiteY34" fmla="*/ 506814 h 608176"/>
                <a:gd name="connsiteX35" fmla="*/ 757351 w 796238"/>
                <a:gd name="connsiteY35" fmla="*/ 466013 h 608176"/>
                <a:gd name="connsiteX36" fmla="*/ 757351 w 796238"/>
                <a:gd name="connsiteY36" fmla="*/ 466013 h 608176"/>
                <a:gd name="connsiteX37" fmla="*/ 777114 w 796238"/>
                <a:gd name="connsiteY37" fmla="*/ 438601 h 608176"/>
                <a:gd name="connsiteX38" fmla="*/ 779664 w 796238"/>
                <a:gd name="connsiteY38" fmla="*/ 434776 h 608176"/>
                <a:gd name="connsiteX39" fmla="*/ 772014 w 796238"/>
                <a:gd name="connsiteY39" fmla="*/ 444338 h 608176"/>
                <a:gd name="connsiteX40" fmla="*/ 777114 w 796238"/>
                <a:gd name="connsiteY40" fmla="*/ 438601 h 608176"/>
                <a:gd name="connsiteX41" fmla="*/ 54825 w 796238"/>
                <a:gd name="connsiteY41" fmla="*/ 415013 h 608176"/>
                <a:gd name="connsiteX42" fmla="*/ 44625 w 796238"/>
                <a:gd name="connsiteY42" fmla="*/ 413738 h 608176"/>
                <a:gd name="connsiteX43" fmla="*/ 52275 w 796238"/>
                <a:gd name="connsiteY43" fmla="*/ 424576 h 608176"/>
                <a:gd name="connsiteX44" fmla="*/ 54825 w 796238"/>
                <a:gd name="connsiteY44" fmla="*/ 415013 h 608176"/>
                <a:gd name="connsiteX45" fmla="*/ 54825 w 796238"/>
                <a:gd name="connsiteY45" fmla="*/ 415013 h 608176"/>
                <a:gd name="connsiteX46" fmla="*/ 268388 w 796238"/>
                <a:gd name="connsiteY46" fmla="*/ 218026 h 608176"/>
                <a:gd name="connsiteX47" fmla="*/ 269663 w 796238"/>
                <a:gd name="connsiteY47" fmla="*/ 211013 h 608176"/>
                <a:gd name="connsiteX48" fmla="*/ 264563 w 796238"/>
                <a:gd name="connsiteY48" fmla="*/ 217388 h 608176"/>
                <a:gd name="connsiteX49" fmla="*/ 268388 w 796238"/>
                <a:gd name="connsiteY49" fmla="*/ 218026 h 608176"/>
                <a:gd name="connsiteX50" fmla="*/ 268388 w 796238"/>
                <a:gd name="connsiteY50" fmla="*/ 218026 h 608176"/>
                <a:gd name="connsiteX51" fmla="*/ 271575 w 796238"/>
                <a:gd name="connsiteY51" fmla="*/ 172125 h 608176"/>
                <a:gd name="connsiteX52" fmla="*/ 269025 w 796238"/>
                <a:gd name="connsiteY52" fmla="*/ 173400 h 608176"/>
                <a:gd name="connsiteX53" fmla="*/ 265838 w 796238"/>
                <a:gd name="connsiteY53" fmla="*/ 180413 h 608176"/>
                <a:gd name="connsiteX54" fmla="*/ 271575 w 796238"/>
                <a:gd name="connsiteY54" fmla="*/ 172125 h 608176"/>
                <a:gd name="connsiteX55" fmla="*/ 271575 w 796238"/>
                <a:gd name="connsiteY55" fmla="*/ 172125 h 608176"/>
                <a:gd name="connsiteX56" fmla="*/ 0 w 796238"/>
                <a:gd name="connsiteY56" fmla="*/ 536776 h 608176"/>
                <a:gd name="connsiteX57" fmla="*/ 4462 w 796238"/>
                <a:gd name="connsiteY57" fmla="*/ 555901 h 608176"/>
                <a:gd name="connsiteX58" fmla="*/ 38250 w 796238"/>
                <a:gd name="connsiteY58" fmla="*/ 564189 h 608176"/>
                <a:gd name="connsiteX59" fmla="*/ 233325 w 796238"/>
                <a:gd name="connsiteY59" fmla="*/ 510639 h 608176"/>
                <a:gd name="connsiteX60" fmla="*/ 429676 w 796238"/>
                <a:gd name="connsiteY60" fmla="*/ 451988 h 608176"/>
                <a:gd name="connsiteX61" fmla="*/ 465376 w 796238"/>
                <a:gd name="connsiteY61" fmla="*/ 480039 h 608176"/>
                <a:gd name="connsiteX62" fmla="*/ 472388 w 796238"/>
                <a:gd name="connsiteY62" fmla="*/ 495976 h 608176"/>
                <a:gd name="connsiteX63" fmla="*/ 513826 w 796238"/>
                <a:gd name="connsiteY63" fmla="*/ 513826 h 608176"/>
                <a:gd name="connsiteX64" fmla="*/ 515101 w 796238"/>
                <a:gd name="connsiteY64" fmla="*/ 516376 h 608176"/>
                <a:gd name="connsiteX65" fmla="*/ 526576 w 796238"/>
                <a:gd name="connsiteY65" fmla="*/ 518926 h 608176"/>
                <a:gd name="connsiteX66" fmla="*/ 538051 w 796238"/>
                <a:gd name="connsiteY66" fmla="*/ 522114 h 608176"/>
                <a:gd name="connsiteX67" fmla="*/ 605626 w 796238"/>
                <a:gd name="connsiteY67" fmla="*/ 538689 h 608176"/>
                <a:gd name="connsiteX68" fmla="*/ 604351 w 796238"/>
                <a:gd name="connsiteY68" fmla="*/ 535501 h 608176"/>
                <a:gd name="connsiteX69" fmla="*/ 610088 w 796238"/>
                <a:gd name="connsiteY69" fmla="*/ 562276 h 608176"/>
                <a:gd name="connsiteX70" fmla="*/ 622838 w 796238"/>
                <a:gd name="connsiteY70" fmla="*/ 559089 h 608176"/>
                <a:gd name="connsiteX71" fmla="*/ 629851 w 796238"/>
                <a:gd name="connsiteY71" fmla="*/ 529764 h 608176"/>
                <a:gd name="connsiteX72" fmla="*/ 629851 w 796238"/>
                <a:gd name="connsiteY72" fmla="*/ 529126 h 608176"/>
                <a:gd name="connsiteX73" fmla="*/ 618376 w 796238"/>
                <a:gd name="connsiteY73" fmla="*/ 517651 h 608176"/>
                <a:gd name="connsiteX74" fmla="*/ 634951 w 796238"/>
                <a:gd name="connsiteY74" fmla="*/ 497251 h 608176"/>
                <a:gd name="connsiteX75" fmla="*/ 627301 w 796238"/>
                <a:gd name="connsiteY75" fmla="*/ 487051 h 608176"/>
                <a:gd name="connsiteX76" fmla="*/ 603076 w 796238"/>
                <a:gd name="connsiteY76" fmla="*/ 392701 h 608176"/>
                <a:gd name="connsiteX77" fmla="*/ 601801 w 796238"/>
                <a:gd name="connsiteY77" fmla="*/ 386326 h 608176"/>
                <a:gd name="connsiteX78" fmla="*/ 598613 w 796238"/>
                <a:gd name="connsiteY78" fmla="*/ 384413 h 608176"/>
                <a:gd name="connsiteX79" fmla="*/ 596701 w 796238"/>
                <a:gd name="connsiteY79" fmla="*/ 355726 h 608176"/>
                <a:gd name="connsiteX80" fmla="*/ 594789 w 796238"/>
                <a:gd name="connsiteY80" fmla="*/ 324488 h 608176"/>
                <a:gd name="connsiteX81" fmla="*/ 592876 w 796238"/>
                <a:gd name="connsiteY81" fmla="*/ 291338 h 608176"/>
                <a:gd name="connsiteX82" fmla="*/ 592876 w 796238"/>
                <a:gd name="connsiteY82" fmla="*/ 289426 h 608176"/>
                <a:gd name="connsiteX83" fmla="*/ 591601 w 796238"/>
                <a:gd name="connsiteY83" fmla="*/ 290063 h 608176"/>
                <a:gd name="connsiteX84" fmla="*/ 559088 w 796238"/>
                <a:gd name="connsiteY84" fmla="*/ 184875 h 608176"/>
                <a:gd name="connsiteX85" fmla="*/ 525301 w 796238"/>
                <a:gd name="connsiteY85" fmla="*/ 131325 h 608176"/>
                <a:gd name="connsiteX86" fmla="*/ 515101 w 796238"/>
                <a:gd name="connsiteY86" fmla="*/ 67575 h 608176"/>
                <a:gd name="connsiteX87" fmla="*/ 485776 w 796238"/>
                <a:gd name="connsiteY87" fmla="*/ 0 h 608176"/>
                <a:gd name="connsiteX88" fmla="*/ 481951 w 796238"/>
                <a:gd name="connsiteY88" fmla="*/ 1913 h 608176"/>
                <a:gd name="connsiteX89" fmla="*/ 348713 w 796238"/>
                <a:gd name="connsiteY89" fmla="*/ 49088 h 608176"/>
                <a:gd name="connsiteX90" fmla="*/ 321300 w 796238"/>
                <a:gd name="connsiteY90" fmla="*/ 78413 h 608176"/>
                <a:gd name="connsiteX91" fmla="*/ 290700 w 796238"/>
                <a:gd name="connsiteY91" fmla="*/ 135788 h 608176"/>
                <a:gd name="connsiteX92" fmla="*/ 291976 w 796238"/>
                <a:gd name="connsiteY92" fmla="*/ 148538 h 608176"/>
                <a:gd name="connsiteX93" fmla="*/ 252450 w 796238"/>
                <a:gd name="connsiteY93" fmla="*/ 208463 h 608176"/>
                <a:gd name="connsiteX94" fmla="*/ 276675 w 796238"/>
                <a:gd name="connsiteY94" fmla="*/ 216750 h 608176"/>
                <a:gd name="connsiteX95" fmla="*/ 283688 w 796238"/>
                <a:gd name="connsiteY95" fmla="*/ 262651 h 608176"/>
                <a:gd name="connsiteX96" fmla="*/ 255001 w 796238"/>
                <a:gd name="connsiteY96" fmla="*/ 299626 h 608176"/>
                <a:gd name="connsiteX97" fmla="*/ 170213 w 796238"/>
                <a:gd name="connsiteY97" fmla="*/ 351263 h 608176"/>
                <a:gd name="connsiteX98" fmla="*/ 154275 w 796238"/>
                <a:gd name="connsiteY98" fmla="*/ 344888 h 608176"/>
                <a:gd name="connsiteX99" fmla="*/ 91163 w 796238"/>
                <a:gd name="connsiteY99" fmla="*/ 354451 h 608176"/>
                <a:gd name="connsiteX100" fmla="*/ 33150 w 796238"/>
                <a:gd name="connsiteY100" fmla="*/ 389513 h 608176"/>
                <a:gd name="connsiteX101" fmla="*/ 36337 w 796238"/>
                <a:gd name="connsiteY101" fmla="*/ 408001 h 608176"/>
                <a:gd name="connsiteX102" fmla="*/ 56737 w 796238"/>
                <a:gd name="connsiteY102" fmla="*/ 425851 h 608176"/>
                <a:gd name="connsiteX103" fmla="*/ 45262 w 796238"/>
                <a:gd name="connsiteY103" fmla="*/ 481951 h 608176"/>
                <a:gd name="connsiteX104" fmla="*/ 0 w 796238"/>
                <a:gd name="connsiteY104" fmla="*/ 536776 h 608176"/>
                <a:gd name="connsiteX105" fmla="*/ 0 w 796238"/>
                <a:gd name="connsiteY105" fmla="*/ 536776 h 608176"/>
                <a:gd name="connsiteX106" fmla="*/ 0 w 796238"/>
                <a:gd name="connsiteY106" fmla="*/ 536776 h 6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96238" h="608176">
                  <a:moveTo>
                    <a:pt x="604351" y="590964"/>
                  </a:moveTo>
                  <a:lnTo>
                    <a:pt x="594151" y="604351"/>
                  </a:lnTo>
                  <a:lnTo>
                    <a:pt x="591601" y="608176"/>
                  </a:lnTo>
                  <a:lnTo>
                    <a:pt x="604351" y="590964"/>
                  </a:lnTo>
                  <a:close/>
                  <a:moveTo>
                    <a:pt x="692964" y="559089"/>
                  </a:moveTo>
                  <a:lnTo>
                    <a:pt x="725476" y="530401"/>
                  </a:lnTo>
                  <a:lnTo>
                    <a:pt x="725476" y="529126"/>
                  </a:lnTo>
                  <a:lnTo>
                    <a:pt x="692964" y="559089"/>
                  </a:lnTo>
                  <a:lnTo>
                    <a:pt x="692964" y="559089"/>
                  </a:lnTo>
                  <a:close/>
                  <a:moveTo>
                    <a:pt x="608814" y="578851"/>
                  </a:moveTo>
                  <a:lnTo>
                    <a:pt x="608814" y="557176"/>
                  </a:lnTo>
                  <a:lnTo>
                    <a:pt x="606901" y="568651"/>
                  </a:lnTo>
                  <a:lnTo>
                    <a:pt x="608814" y="578851"/>
                  </a:lnTo>
                  <a:close/>
                  <a:moveTo>
                    <a:pt x="757989" y="476214"/>
                  </a:moveTo>
                  <a:lnTo>
                    <a:pt x="750339" y="474301"/>
                  </a:lnTo>
                  <a:lnTo>
                    <a:pt x="749064" y="480039"/>
                  </a:lnTo>
                  <a:lnTo>
                    <a:pt x="757989" y="476214"/>
                  </a:lnTo>
                  <a:close/>
                  <a:moveTo>
                    <a:pt x="775201" y="465376"/>
                  </a:moveTo>
                  <a:lnTo>
                    <a:pt x="774564" y="471751"/>
                  </a:lnTo>
                  <a:lnTo>
                    <a:pt x="775839" y="467926"/>
                  </a:lnTo>
                  <a:lnTo>
                    <a:pt x="775201" y="465376"/>
                  </a:lnTo>
                  <a:lnTo>
                    <a:pt x="775201" y="465376"/>
                  </a:lnTo>
                  <a:close/>
                  <a:moveTo>
                    <a:pt x="757351" y="466013"/>
                  </a:moveTo>
                  <a:lnTo>
                    <a:pt x="714639" y="505539"/>
                  </a:lnTo>
                  <a:lnTo>
                    <a:pt x="648339" y="534226"/>
                  </a:lnTo>
                  <a:lnTo>
                    <a:pt x="631126" y="548889"/>
                  </a:lnTo>
                  <a:lnTo>
                    <a:pt x="629851" y="562914"/>
                  </a:lnTo>
                  <a:lnTo>
                    <a:pt x="612001" y="577576"/>
                  </a:lnTo>
                  <a:lnTo>
                    <a:pt x="614551" y="596701"/>
                  </a:lnTo>
                  <a:lnTo>
                    <a:pt x="642601" y="585226"/>
                  </a:lnTo>
                  <a:lnTo>
                    <a:pt x="682764" y="552076"/>
                  </a:lnTo>
                  <a:lnTo>
                    <a:pt x="728026" y="528489"/>
                  </a:lnTo>
                  <a:lnTo>
                    <a:pt x="796239" y="464101"/>
                  </a:lnTo>
                  <a:lnTo>
                    <a:pt x="747789" y="500439"/>
                  </a:lnTo>
                  <a:lnTo>
                    <a:pt x="732489" y="506814"/>
                  </a:lnTo>
                  <a:lnTo>
                    <a:pt x="757351" y="466013"/>
                  </a:lnTo>
                  <a:lnTo>
                    <a:pt x="757351" y="466013"/>
                  </a:lnTo>
                  <a:close/>
                  <a:moveTo>
                    <a:pt x="777114" y="438601"/>
                  </a:moveTo>
                  <a:lnTo>
                    <a:pt x="779664" y="434776"/>
                  </a:lnTo>
                  <a:lnTo>
                    <a:pt x="772014" y="444338"/>
                  </a:lnTo>
                  <a:lnTo>
                    <a:pt x="777114" y="438601"/>
                  </a:lnTo>
                  <a:close/>
                  <a:moveTo>
                    <a:pt x="54825" y="415013"/>
                  </a:moveTo>
                  <a:lnTo>
                    <a:pt x="44625" y="413738"/>
                  </a:lnTo>
                  <a:lnTo>
                    <a:pt x="52275" y="424576"/>
                  </a:lnTo>
                  <a:lnTo>
                    <a:pt x="54825" y="415013"/>
                  </a:lnTo>
                  <a:lnTo>
                    <a:pt x="54825" y="415013"/>
                  </a:lnTo>
                  <a:close/>
                  <a:moveTo>
                    <a:pt x="268388" y="218026"/>
                  </a:moveTo>
                  <a:lnTo>
                    <a:pt x="269663" y="211013"/>
                  </a:lnTo>
                  <a:lnTo>
                    <a:pt x="264563" y="217388"/>
                  </a:lnTo>
                  <a:lnTo>
                    <a:pt x="268388" y="218026"/>
                  </a:lnTo>
                  <a:lnTo>
                    <a:pt x="268388" y="218026"/>
                  </a:lnTo>
                  <a:close/>
                  <a:moveTo>
                    <a:pt x="271575" y="172125"/>
                  </a:moveTo>
                  <a:lnTo>
                    <a:pt x="269025" y="173400"/>
                  </a:lnTo>
                  <a:lnTo>
                    <a:pt x="265838" y="180413"/>
                  </a:lnTo>
                  <a:lnTo>
                    <a:pt x="271575" y="172125"/>
                  </a:lnTo>
                  <a:lnTo>
                    <a:pt x="271575" y="172125"/>
                  </a:lnTo>
                  <a:close/>
                  <a:moveTo>
                    <a:pt x="0" y="536776"/>
                  </a:moveTo>
                  <a:lnTo>
                    <a:pt x="4462" y="555901"/>
                  </a:lnTo>
                  <a:lnTo>
                    <a:pt x="38250" y="564189"/>
                  </a:lnTo>
                  <a:lnTo>
                    <a:pt x="233325" y="510639"/>
                  </a:lnTo>
                  <a:lnTo>
                    <a:pt x="429676" y="451988"/>
                  </a:lnTo>
                  <a:lnTo>
                    <a:pt x="465376" y="480039"/>
                  </a:lnTo>
                  <a:lnTo>
                    <a:pt x="472388" y="495976"/>
                  </a:lnTo>
                  <a:lnTo>
                    <a:pt x="513826" y="513826"/>
                  </a:lnTo>
                  <a:lnTo>
                    <a:pt x="515101" y="516376"/>
                  </a:lnTo>
                  <a:lnTo>
                    <a:pt x="526576" y="518926"/>
                  </a:lnTo>
                  <a:lnTo>
                    <a:pt x="538051" y="522114"/>
                  </a:lnTo>
                  <a:lnTo>
                    <a:pt x="605626" y="538689"/>
                  </a:lnTo>
                  <a:lnTo>
                    <a:pt x="604351" y="535501"/>
                  </a:lnTo>
                  <a:lnTo>
                    <a:pt x="610088" y="562276"/>
                  </a:lnTo>
                  <a:lnTo>
                    <a:pt x="622838" y="559089"/>
                  </a:lnTo>
                  <a:lnTo>
                    <a:pt x="629851" y="529764"/>
                  </a:lnTo>
                  <a:lnTo>
                    <a:pt x="629851" y="529126"/>
                  </a:lnTo>
                  <a:lnTo>
                    <a:pt x="618376" y="517651"/>
                  </a:lnTo>
                  <a:lnTo>
                    <a:pt x="634951" y="497251"/>
                  </a:lnTo>
                  <a:lnTo>
                    <a:pt x="627301" y="487051"/>
                  </a:lnTo>
                  <a:lnTo>
                    <a:pt x="603076" y="392701"/>
                  </a:lnTo>
                  <a:lnTo>
                    <a:pt x="601801" y="386326"/>
                  </a:lnTo>
                  <a:lnTo>
                    <a:pt x="598613" y="384413"/>
                  </a:lnTo>
                  <a:lnTo>
                    <a:pt x="596701" y="355726"/>
                  </a:lnTo>
                  <a:lnTo>
                    <a:pt x="594789" y="324488"/>
                  </a:lnTo>
                  <a:lnTo>
                    <a:pt x="592876" y="291338"/>
                  </a:lnTo>
                  <a:lnTo>
                    <a:pt x="592876" y="289426"/>
                  </a:lnTo>
                  <a:lnTo>
                    <a:pt x="591601" y="290063"/>
                  </a:lnTo>
                  <a:lnTo>
                    <a:pt x="559088" y="184875"/>
                  </a:lnTo>
                  <a:lnTo>
                    <a:pt x="525301" y="131325"/>
                  </a:lnTo>
                  <a:lnTo>
                    <a:pt x="515101" y="67575"/>
                  </a:lnTo>
                  <a:lnTo>
                    <a:pt x="485776" y="0"/>
                  </a:lnTo>
                  <a:lnTo>
                    <a:pt x="481951" y="1913"/>
                  </a:lnTo>
                  <a:lnTo>
                    <a:pt x="348713" y="49088"/>
                  </a:lnTo>
                  <a:lnTo>
                    <a:pt x="321300" y="78413"/>
                  </a:lnTo>
                  <a:lnTo>
                    <a:pt x="290700" y="135788"/>
                  </a:lnTo>
                  <a:lnTo>
                    <a:pt x="291976" y="148538"/>
                  </a:lnTo>
                  <a:lnTo>
                    <a:pt x="252450" y="208463"/>
                  </a:lnTo>
                  <a:lnTo>
                    <a:pt x="276675" y="216750"/>
                  </a:lnTo>
                  <a:lnTo>
                    <a:pt x="283688" y="262651"/>
                  </a:lnTo>
                  <a:lnTo>
                    <a:pt x="255001" y="299626"/>
                  </a:lnTo>
                  <a:lnTo>
                    <a:pt x="170213" y="351263"/>
                  </a:lnTo>
                  <a:lnTo>
                    <a:pt x="154275" y="344888"/>
                  </a:lnTo>
                  <a:lnTo>
                    <a:pt x="91163" y="354451"/>
                  </a:lnTo>
                  <a:lnTo>
                    <a:pt x="33150" y="389513"/>
                  </a:lnTo>
                  <a:lnTo>
                    <a:pt x="36337" y="408001"/>
                  </a:lnTo>
                  <a:lnTo>
                    <a:pt x="56737" y="425851"/>
                  </a:lnTo>
                  <a:lnTo>
                    <a:pt x="45262" y="481951"/>
                  </a:lnTo>
                  <a:lnTo>
                    <a:pt x="0" y="536776"/>
                  </a:lnTo>
                  <a:lnTo>
                    <a:pt x="0" y="536776"/>
                  </a:lnTo>
                  <a:lnTo>
                    <a:pt x="0" y="536776"/>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26" name="Freeform 65">
              <a:extLst>
                <a:ext uri="{FF2B5EF4-FFF2-40B4-BE49-F238E27FC236}">
                  <a16:creationId xmlns:a16="http://schemas.microsoft.com/office/drawing/2014/main" id="{61B9E659-A1B2-6FAE-2CDF-CC1BDAF9F7D5}"/>
                </a:ext>
              </a:extLst>
            </p:cNvPr>
            <p:cNvSpPr/>
            <p:nvPr/>
          </p:nvSpPr>
          <p:spPr>
            <a:xfrm>
              <a:off x="6285318" y="1924598"/>
              <a:ext cx="601801" cy="438600"/>
            </a:xfrm>
            <a:custGeom>
              <a:avLst/>
              <a:gdLst>
                <a:gd name="connsiteX0" fmla="*/ 578214 w 601801"/>
                <a:gd name="connsiteY0" fmla="*/ 61838 h 438600"/>
                <a:gd name="connsiteX1" fmla="*/ 536776 w 601801"/>
                <a:gd name="connsiteY1" fmla="*/ 43988 h 438600"/>
                <a:gd name="connsiteX2" fmla="*/ 529763 w 601801"/>
                <a:gd name="connsiteY2" fmla="*/ 28050 h 438600"/>
                <a:gd name="connsiteX3" fmla="*/ 494064 w 601801"/>
                <a:gd name="connsiteY3" fmla="*/ 0 h 438600"/>
                <a:gd name="connsiteX4" fmla="*/ 297713 w 601801"/>
                <a:gd name="connsiteY4" fmla="*/ 58650 h 438600"/>
                <a:gd name="connsiteX5" fmla="*/ 102638 w 601801"/>
                <a:gd name="connsiteY5" fmla="*/ 112200 h 438600"/>
                <a:gd name="connsiteX6" fmla="*/ 68850 w 601801"/>
                <a:gd name="connsiteY6" fmla="*/ 103913 h 438600"/>
                <a:gd name="connsiteX7" fmla="*/ 64387 w 601801"/>
                <a:gd name="connsiteY7" fmla="*/ 84788 h 438600"/>
                <a:gd name="connsiteX8" fmla="*/ 52913 w 601801"/>
                <a:gd name="connsiteY8" fmla="*/ 93075 h 438600"/>
                <a:gd name="connsiteX9" fmla="*/ 35700 w 601801"/>
                <a:gd name="connsiteY9" fmla="*/ 105188 h 438600"/>
                <a:gd name="connsiteX10" fmla="*/ 3825 w 601801"/>
                <a:gd name="connsiteY10" fmla="*/ 137700 h 438600"/>
                <a:gd name="connsiteX11" fmla="*/ 0 w 601801"/>
                <a:gd name="connsiteY11" fmla="*/ 140888 h 438600"/>
                <a:gd name="connsiteX12" fmla="*/ 17850 w 601801"/>
                <a:gd name="connsiteY12" fmla="*/ 219938 h 438600"/>
                <a:gd name="connsiteX13" fmla="*/ 21037 w 601801"/>
                <a:gd name="connsiteY13" fmla="*/ 233963 h 438600"/>
                <a:gd name="connsiteX14" fmla="*/ 36975 w 601801"/>
                <a:gd name="connsiteY14" fmla="*/ 303450 h 438600"/>
                <a:gd name="connsiteX15" fmla="*/ 40163 w 601801"/>
                <a:gd name="connsiteY15" fmla="*/ 316838 h 438600"/>
                <a:gd name="connsiteX16" fmla="*/ 40163 w 601801"/>
                <a:gd name="connsiteY16" fmla="*/ 316838 h 438600"/>
                <a:gd name="connsiteX17" fmla="*/ 68850 w 601801"/>
                <a:gd name="connsiteY17" fmla="*/ 438601 h 438600"/>
                <a:gd name="connsiteX18" fmla="*/ 160013 w 601801"/>
                <a:gd name="connsiteY18" fmla="*/ 416288 h 438600"/>
                <a:gd name="connsiteX19" fmla="*/ 172763 w 601801"/>
                <a:gd name="connsiteY19" fmla="*/ 413101 h 438600"/>
                <a:gd name="connsiteX20" fmla="*/ 184238 w 601801"/>
                <a:gd name="connsiteY20" fmla="*/ 409913 h 438600"/>
                <a:gd name="connsiteX21" fmla="*/ 230138 w 601801"/>
                <a:gd name="connsiteY21" fmla="*/ 397801 h 438600"/>
                <a:gd name="connsiteX22" fmla="*/ 481313 w 601801"/>
                <a:gd name="connsiteY22" fmla="*/ 327676 h 438600"/>
                <a:gd name="connsiteX23" fmla="*/ 527214 w 601801"/>
                <a:gd name="connsiteY23" fmla="*/ 313651 h 438600"/>
                <a:gd name="connsiteX24" fmla="*/ 538689 w 601801"/>
                <a:gd name="connsiteY24" fmla="*/ 310463 h 438600"/>
                <a:gd name="connsiteX25" fmla="*/ 538689 w 601801"/>
                <a:gd name="connsiteY25" fmla="*/ 310463 h 438600"/>
                <a:gd name="connsiteX26" fmla="*/ 543789 w 601801"/>
                <a:gd name="connsiteY26" fmla="*/ 297713 h 438600"/>
                <a:gd name="connsiteX27" fmla="*/ 555263 w 601801"/>
                <a:gd name="connsiteY27" fmla="*/ 288150 h 438600"/>
                <a:gd name="connsiteX28" fmla="*/ 570564 w 601801"/>
                <a:gd name="connsiteY28" fmla="*/ 288150 h 438600"/>
                <a:gd name="connsiteX29" fmla="*/ 572476 w 601801"/>
                <a:gd name="connsiteY29" fmla="*/ 282413 h 438600"/>
                <a:gd name="connsiteX30" fmla="*/ 597339 w 601801"/>
                <a:gd name="connsiteY30" fmla="*/ 253725 h 438600"/>
                <a:gd name="connsiteX31" fmla="*/ 599889 w 601801"/>
                <a:gd name="connsiteY31" fmla="*/ 249263 h 438600"/>
                <a:gd name="connsiteX32" fmla="*/ 601801 w 601801"/>
                <a:gd name="connsiteY32" fmla="*/ 247988 h 438600"/>
                <a:gd name="connsiteX33" fmla="*/ 576939 w 601801"/>
                <a:gd name="connsiteY33" fmla="*/ 182325 h 438600"/>
                <a:gd name="connsiteX34" fmla="*/ 564826 w 601801"/>
                <a:gd name="connsiteY34" fmla="*/ 180413 h 438600"/>
                <a:gd name="connsiteX35" fmla="*/ 565464 w 601801"/>
                <a:gd name="connsiteY35" fmla="*/ 137700 h 438600"/>
                <a:gd name="connsiteX36" fmla="*/ 553989 w 601801"/>
                <a:gd name="connsiteY36" fmla="*/ 123675 h 438600"/>
                <a:gd name="connsiteX37" fmla="*/ 581401 w 601801"/>
                <a:gd name="connsiteY37" fmla="*/ 64387 h 438600"/>
                <a:gd name="connsiteX38" fmla="*/ 581401 w 601801"/>
                <a:gd name="connsiteY38" fmla="*/ 64387 h 438600"/>
                <a:gd name="connsiteX39" fmla="*/ 578214 w 601801"/>
                <a:gd name="connsiteY39" fmla="*/ 61838 h 438600"/>
                <a:gd name="connsiteX40" fmla="*/ 578214 w 601801"/>
                <a:gd name="connsiteY40" fmla="*/ 61838 h 4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1801" h="438600">
                  <a:moveTo>
                    <a:pt x="578214" y="61838"/>
                  </a:moveTo>
                  <a:lnTo>
                    <a:pt x="536776" y="43988"/>
                  </a:lnTo>
                  <a:lnTo>
                    <a:pt x="529763" y="28050"/>
                  </a:lnTo>
                  <a:lnTo>
                    <a:pt x="494064" y="0"/>
                  </a:lnTo>
                  <a:lnTo>
                    <a:pt x="297713" y="58650"/>
                  </a:lnTo>
                  <a:lnTo>
                    <a:pt x="102638" y="112200"/>
                  </a:lnTo>
                  <a:lnTo>
                    <a:pt x="68850" y="103913"/>
                  </a:lnTo>
                  <a:lnTo>
                    <a:pt x="64387" y="84788"/>
                  </a:lnTo>
                  <a:lnTo>
                    <a:pt x="52913" y="93075"/>
                  </a:lnTo>
                  <a:lnTo>
                    <a:pt x="35700" y="105188"/>
                  </a:lnTo>
                  <a:lnTo>
                    <a:pt x="3825" y="137700"/>
                  </a:lnTo>
                  <a:lnTo>
                    <a:pt x="0" y="140888"/>
                  </a:lnTo>
                  <a:lnTo>
                    <a:pt x="17850" y="219938"/>
                  </a:lnTo>
                  <a:lnTo>
                    <a:pt x="21037" y="233963"/>
                  </a:lnTo>
                  <a:lnTo>
                    <a:pt x="36975" y="303450"/>
                  </a:lnTo>
                  <a:lnTo>
                    <a:pt x="40163" y="316838"/>
                  </a:lnTo>
                  <a:lnTo>
                    <a:pt x="40163" y="316838"/>
                  </a:lnTo>
                  <a:lnTo>
                    <a:pt x="68850" y="438601"/>
                  </a:lnTo>
                  <a:lnTo>
                    <a:pt x="160013" y="416288"/>
                  </a:lnTo>
                  <a:lnTo>
                    <a:pt x="172763" y="413101"/>
                  </a:lnTo>
                  <a:lnTo>
                    <a:pt x="184238" y="409913"/>
                  </a:lnTo>
                  <a:lnTo>
                    <a:pt x="230138" y="397801"/>
                  </a:lnTo>
                  <a:lnTo>
                    <a:pt x="481313" y="327676"/>
                  </a:lnTo>
                  <a:lnTo>
                    <a:pt x="527214" y="313651"/>
                  </a:lnTo>
                  <a:lnTo>
                    <a:pt x="538689" y="310463"/>
                  </a:lnTo>
                  <a:lnTo>
                    <a:pt x="538689" y="310463"/>
                  </a:lnTo>
                  <a:lnTo>
                    <a:pt x="543789" y="297713"/>
                  </a:lnTo>
                  <a:lnTo>
                    <a:pt x="555263" y="288150"/>
                  </a:lnTo>
                  <a:lnTo>
                    <a:pt x="570564" y="288150"/>
                  </a:lnTo>
                  <a:lnTo>
                    <a:pt x="572476" y="282413"/>
                  </a:lnTo>
                  <a:lnTo>
                    <a:pt x="597339" y="253725"/>
                  </a:lnTo>
                  <a:lnTo>
                    <a:pt x="599889" y="249263"/>
                  </a:lnTo>
                  <a:lnTo>
                    <a:pt x="601801" y="247988"/>
                  </a:lnTo>
                  <a:lnTo>
                    <a:pt x="576939" y="182325"/>
                  </a:lnTo>
                  <a:lnTo>
                    <a:pt x="564826" y="180413"/>
                  </a:lnTo>
                  <a:lnTo>
                    <a:pt x="565464" y="137700"/>
                  </a:lnTo>
                  <a:lnTo>
                    <a:pt x="553989" y="123675"/>
                  </a:lnTo>
                  <a:lnTo>
                    <a:pt x="581401" y="64387"/>
                  </a:lnTo>
                  <a:lnTo>
                    <a:pt x="581401" y="64387"/>
                  </a:lnTo>
                  <a:lnTo>
                    <a:pt x="578214" y="61838"/>
                  </a:lnTo>
                  <a:lnTo>
                    <a:pt x="578214" y="6183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27" name="Freeform 66">
              <a:extLst>
                <a:ext uri="{FF2B5EF4-FFF2-40B4-BE49-F238E27FC236}">
                  <a16:creationId xmlns:a16="http://schemas.microsoft.com/office/drawing/2014/main" id="{F6C32125-1C54-6681-6B8A-1534E284E019}"/>
                </a:ext>
              </a:extLst>
            </p:cNvPr>
            <p:cNvSpPr/>
            <p:nvPr/>
          </p:nvSpPr>
          <p:spPr>
            <a:xfrm>
              <a:off x="7021632" y="1004683"/>
              <a:ext cx="382500" cy="640051"/>
            </a:xfrm>
            <a:custGeom>
              <a:avLst/>
              <a:gdLst>
                <a:gd name="connsiteX0" fmla="*/ 151725 w 382500"/>
                <a:gd name="connsiteY0" fmla="*/ 640051 h 640051"/>
                <a:gd name="connsiteX1" fmla="*/ 151725 w 382500"/>
                <a:gd name="connsiteY1" fmla="*/ 640051 h 640051"/>
                <a:gd name="connsiteX2" fmla="*/ 151725 w 382500"/>
                <a:gd name="connsiteY2" fmla="*/ 640051 h 640051"/>
                <a:gd name="connsiteX3" fmla="*/ 151725 w 382500"/>
                <a:gd name="connsiteY3" fmla="*/ 640051 h 640051"/>
                <a:gd name="connsiteX4" fmla="*/ 151725 w 382500"/>
                <a:gd name="connsiteY4" fmla="*/ 640051 h 640051"/>
                <a:gd name="connsiteX5" fmla="*/ 198900 w 382500"/>
                <a:gd name="connsiteY5" fmla="*/ 502988 h 640051"/>
                <a:gd name="connsiteX6" fmla="*/ 193801 w 382500"/>
                <a:gd name="connsiteY6" fmla="*/ 495339 h 640051"/>
                <a:gd name="connsiteX7" fmla="*/ 193801 w 382500"/>
                <a:gd name="connsiteY7" fmla="*/ 499164 h 640051"/>
                <a:gd name="connsiteX8" fmla="*/ 198900 w 382500"/>
                <a:gd name="connsiteY8" fmla="*/ 502988 h 640051"/>
                <a:gd name="connsiteX9" fmla="*/ 189975 w 382500"/>
                <a:gd name="connsiteY9" fmla="*/ 495976 h 640051"/>
                <a:gd name="connsiteX10" fmla="*/ 189975 w 382500"/>
                <a:gd name="connsiteY10" fmla="*/ 489601 h 640051"/>
                <a:gd name="connsiteX11" fmla="*/ 189338 w 382500"/>
                <a:gd name="connsiteY11" fmla="*/ 485776 h 640051"/>
                <a:gd name="connsiteX12" fmla="*/ 189975 w 382500"/>
                <a:gd name="connsiteY12" fmla="*/ 495976 h 640051"/>
                <a:gd name="connsiteX13" fmla="*/ 212926 w 382500"/>
                <a:gd name="connsiteY13" fmla="*/ 469201 h 640051"/>
                <a:gd name="connsiteX14" fmla="*/ 211651 w 382500"/>
                <a:gd name="connsiteY14" fmla="*/ 468563 h 640051"/>
                <a:gd name="connsiteX15" fmla="*/ 212288 w 382500"/>
                <a:gd name="connsiteY15" fmla="*/ 470476 h 640051"/>
                <a:gd name="connsiteX16" fmla="*/ 212926 w 382500"/>
                <a:gd name="connsiteY16" fmla="*/ 469201 h 640051"/>
                <a:gd name="connsiteX17" fmla="*/ 212926 w 382500"/>
                <a:gd name="connsiteY17" fmla="*/ 469201 h 640051"/>
                <a:gd name="connsiteX18" fmla="*/ 277313 w 382500"/>
                <a:gd name="connsiteY18" fmla="*/ 436688 h 640051"/>
                <a:gd name="connsiteX19" fmla="*/ 276038 w 382500"/>
                <a:gd name="connsiteY19" fmla="*/ 426488 h 640051"/>
                <a:gd name="connsiteX20" fmla="*/ 273488 w 382500"/>
                <a:gd name="connsiteY20" fmla="*/ 430951 h 640051"/>
                <a:gd name="connsiteX21" fmla="*/ 277313 w 382500"/>
                <a:gd name="connsiteY21" fmla="*/ 436688 h 640051"/>
                <a:gd name="connsiteX22" fmla="*/ 261376 w 382500"/>
                <a:gd name="connsiteY22" fmla="*/ 440513 h 640051"/>
                <a:gd name="connsiteX23" fmla="*/ 262013 w 382500"/>
                <a:gd name="connsiteY23" fmla="*/ 433501 h 640051"/>
                <a:gd name="connsiteX24" fmla="*/ 254363 w 382500"/>
                <a:gd name="connsiteY24" fmla="*/ 434776 h 640051"/>
                <a:gd name="connsiteX25" fmla="*/ 261376 w 382500"/>
                <a:gd name="connsiteY25" fmla="*/ 440513 h 640051"/>
                <a:gd name="connsiteX26" fmla="*/ 261376 w 382500"/>
                <a:gd name="connsiteY26" fmla="*/ 440513 h 640051"/>
                <a:gd name="connsiteX27" fmla="*/ 284963 w 382500"/>
                <a:gd name="connsiteY27" fmla="*/ 419476 h 640051"/>
                <a:gd name="connsiteX28" fmla="*/ 282413 w 382500"/>
                <a:gd name="connsiteY28" fmla="*/ 419476 h 640051"/>
                <a:gd name="connsiteX29" fmla="*/ 282413 w 382500"/>
                <a:gd name="connsiteY29" fmla="*/ 420751 h 640051"/>
                <a:gd name="connsiteX30" fmla="*/ 284963 w 382500"/>
                <a:gd name="connsiteY30" fmla="*/ 419476 h 640051"/>
                <a:gd name="connsiteX31" fmla="*/ 253088 w 382500"/>
                <a:gd name="connsiteY31" fmla="*/ 429676 h 640051"/>
                <a:gd name="connsiteX32" fmla="*/ 247350 w 382500"/>
                <a:gd name="connsiteY32" fmla="*/ 428401 h 640051"/>
                <a:gd name="connsiteX33" fmla="*/ 246713 w 382500"/>
                <a:gd name="connsiteY33" fmla="*/ 434138 h 640051"/>
                <a:gd name="connsiteX34" fmla="*/ 253088 w 382500"/>
                <a:gd name="connsiteY34" fmla="*/ 429676 h 640051"/>
                <a:gd name="connsiteX35" fmla="*/ 253088 w 382500"/>
                <a:gd name="connsiteY35" fmla="*/ 429676 h 640051"/>
                <a:gd name="connsiteX36" fmla="*/ 285601 w 382500"/>
                <a:gd name="connsiteY36" fmla="*/ 409276 h 640051"/>
                <a:gd name="connsiteX37" fmla="*/ 291338 w 382500"/>
                <a:gd name="connsiteY37" fmla="*/ 413738 h 640051"/>
                <a:gd name="connsiteX38" fmla="*/ 289426 w 382500"/>
                <a:gd name="connsiteY38" fmla="*/ 408638 h 640051"/>
                <a:gd name="connsiteX39" fmla="*/ 285601 w 382500"/>
                <a:gd name="connsiteY39" fmla="*/ 409276 h 640051"/>
                <a:gd name="connsiteX40" fmla="*/ 268388 w 382500"/>
                <a:gd name="connsiteY40" fmla="*/ 409913 h 640051"/>
                <a:gd name="connsiteX41" fmla="*/ 262651 w 382500"/>
                <a:gd name="connsiteY41" fmla="*/ 421388 h 640051"/>
                <a:gd name="connsiteX42" fmla="*/ 270301 w 382500"/>
                <a:gd name="connsiteY42" fmla="*/ 417563 h 640051"/>
                <a:gd name="connsiteX43" fmla="*/ 268388 w 382500"/>
                <a:gd name="connsiteY43" fmla="*/ 409913 h 640051"/>
                <a:gd name="connsiteX44" fmla="*/ 268388 w 382500"/>
                <a:gd name="connsiteY44" fmla="*/ 409913 h 640051"/>
                <a:gd name="connsiteX45" fmla="*/ 240975 w 382500"/>
                <a:gd name="connsiteY45" fmla="*/ 409913 h 640051"/>
                <a:gd name="connsiteX46" fmla="*/ 238426 w 382500"/>
                <a:gd name="connsiteY46" fmla="*/ 413738 h 640051"/>
                <a:gd name="connsiteX47" fmla="*/ 240338 w 382500"/>
                <a:gd name="connsiteY47" fmla="*/ 419476 h 640051"/>
                <a:gd name="connsiteX48" fmla="*/ 240975 w 382500"/>
                <a:gd name="connsiteY48" fmla="*/ 409913 h 640051"/>
                <a:gd name="connsiteX49" fmla="*/ 240975 w 382500"/>
                <a:gd name="connsiteY49" fmla="*/ 409913 h 640051"/>
                <a:gd name="connsiteX50" fmla="*/ 278588 w 382500"/>
                <a:gd name="connsiteY50" fmla="*/ 388876 h 640051"/>
                <a:gd name="connsiteX51" fmla="*/ 277950 w 382500"/>
                <a:gd name="connsiteY51" fmla="*/ 383776 h 640051"/>
                <a:gd name="connsiteX52" fmla="*/ 276038 w 382500"/>
                <a:gd name="connsiteY52" fmla="*/ 386963 h 640051"/>
                <a:gd name="connsiteX53" fmla="*/ 278588 w 382500"/>
                <a:gd name="connsiteY53" fmla="*/ 388876 h 640051"/>
                <a:gd name="connsiteX54" fmla="*/ 278588 w 382500"/>
                <a:gd name="connsiteY54" fmla="*/ 388876 h 640051"/>
                <a:gd name="connsiteX55" fmla="*/ 275401 w 382500"/>
                <a:gd name="connsiteY55" fmla="*/ 391426 h 640051"/>
                <a:gd name="connsiteX56" fmla="*/ 269663 w 382500"/>
                <a:gd name="connsiteY56" fmla="*/ 386326 h 640051"/>
                <a:gd name="connsiteX57" fmla="*/ 269663 w 382500"/>
                <a:gd name="connsiteY57" fmla="*/ 390788 h 640051"/>
                <a:gd name="connsiteX58" fmla="*/ 275401 w 382500"/>
                <a:gd name="connsiteY58" fmla="*/ 391426 h 640051"/>
                <a:gd name="connsiteX59" fmla="*/ 239700 w 382500"/>
                <a:gd name="connsiteY59" fmla="*/ 406726 h 640051"/>
                <a:gd name="connsiteX60" fmla="*/ 238426 w 382500"/>
                <a:gd name="connsiteY60" fmla="*/ 399713 h 640051"/>
                <a:gd name="connsiteX61" fmla="*/ 235875 w 382500"/>
                <a:gd name="connsiteY61" fmla="*/ 405451 h 640051"/>
                <a:gd name="connsiteX62" fmla="*/ 239700 w 382500"/>
                <a:gd name="connsiteY62" fmla="*/ 406726 h 640051"/>
                <a:gd name="connsiteX63" fmla="*/ 300263 w 382500"/>
                <a:gd name="connsiteY63" fmla="*/ 384413 h 640051"/>
                <a:gd name="connsiteX64" fmla="*/ 290063 w 382500"/>
                <a:gd name="connsiteY64" fmla="*/ 398438 h 640051"/>
                <a:gd name="connsiteX65" fmla="*/ 289426 w 382500"/>
                <a:gd name="connsiteY65" fmla="*/ 387601 h 640051"/>
                <a:gd name="connsiteX66" fmla="*/ 300263 w 382500"/>
                <a:gd name="connsiteY66" fmla="*/ 384413 h 640051"/>
                <a:gd name="connsiteX67" fmla="*/ 347438 w 382500"/>
                <a:gd name="connsiteY67" fmla="*/ 341063 h 640051"/>
                <a:gd name="connsiteX68" fmla="*/ 342976 w 382500"/>
                <a:gd name="connsiteY68" fmla="*/ 334688 h 640051"/>
                <a:gd name="connsiteX69" fmla="*/ 340426 w 382500"/>
                <a:gd name="connsiteY69" fmla="*/ 335963 h 640051"/>
                <a:gd name="connsiteX70" fmla="*/ 347438 w 382500"/>
                <a:gd name="connsiteY70" fmla="*/ 341063 h 640051"/>
                <a:gd name="connsiteX71" fmla="*/ 364651 w 382500"/>
                <a:gd name="connsiteY71" fmla="*/ 312376 h 640051"/>
                <a:gd name="connsiteX72" fmla="*/ 360826 w 382500"/>
                <a:gd name="connsiteY72" fmla="*/ 310463 h 640051"/>
                <a:gd name="connsiteX73" fmla="*/ 360188 w 382500"/>
                <a:gd name="connsiteY73" fmla="*/ 312376 h 640051"/>
                <a:gd name="connsiteX74" fmla="*/ 364651 w 382500"/>
                <a:gd name="connsiteY74" fmla="*/ 312376 h 640051"/>
                <a:gd name="connsiteX75" fmla="*/ 364651 w 382500"/>
                <a:gd name="connsiteY75" fmla="*/ 312376 h 640051"/>
                <a:gd name="connsiteX76" fmla="*/ 372938 w 382500"/>
                <a:gd name="connsiteY76" fmla="*/ 262013 h 640051"/>
                <a:gd name="connsiteX77" fmla="*/ 367201 w 382500"/>
                <a:gd name="connsiteY77" fmla="*/ 262013 h 640051"/>
                <a:gd name="connsiteX78" fmla="*/ 373576 w 382500"/>
                <a:gd name="connsiteY78" fmla="*/ 263926 h 640051"/>
                <a:gd name="connsiteX79" fmla="*/ 372938 w 382500"/>
                <a:gd name="connsiteY79" fmla="*/ 262013 h 640051"/>
                <a:gd name="connsiteX80" fmla="*/ 372938 w 382500"/>
                <a:gd name="connsiteY80" fmla="*/ 262013 h 640051"/>
                <a:gd name="connsiteX81" fmla="*/ 382501 w 382500"/>
                <a:gd name="connsiteY81" fmla="*/ 268388 h 640051"/>
                <a:gd name="connsiteX82" fmla="*/ 380588 w 382500"/>
                <a:gd name="connsiteY82" fmla="*/ 256913 h 640051"/>
                <a:gd name="connsiteX83" fmla="*/ 375488 w 382500"/>
                <a:gd name="connsiteY83" fmla="*/ 256276 h 640051"/>
                <a:gd name="connsiteX84" fmla="*/ 382501 w 382500"/>
                <a:gd name="connsiteY84" fmla="*/ 268388 h 640051"/>
                <a:gd name="connsiteX85" fmla="*/ 372301 w 382500"/>
                <a:gd name="connsiteY85" fmla="*/ 258188 h 640051"/>
                <a:gd name="connsiteX86" fmla="*/ 371026 w 382500"/>
                <a:gd name="connsiteY86" fmla="*/ 246076 h 640051"/>
                <a:gd name="connsiteX87" fmla="*/ 366563 w 382500"/>
                <a:gd name="connsiteY87" fmla="*/ 254363 h 640051"/>
                <a:gd name="connsiteX88" fmla="*/ 372301 w 382500"/>
                <a:gd name="connsiteY88" fmla="*/ 258188 h 640051"/>
                <a:gd name="connsiteX89" fmla="*/ 372301 w 382500"/>
                <a:gd name="connsiteY89" fmla="*/ 258188 h 640051"/>
                <a:gd name="connsiteX90" fmla="*/ 0 w 382500"/>
                <a:gd name="connsiteY90" fmla="*/ 359551 h 640051"/>
                <a:gd name="connsiteX91" fmla="*/ 93075 w 382500"/>
                <a:gd name="connsiteY91" fmla="*/ 578214 h 640051"/>
                <a:gd name="connsiteX92" fmla="*/ 94350 w 382500"/>
                <a:gd name="connsiteY92" fmla="*/ 582676 h 640051"/>
                <a:gd name="connsiteX93" fmla="*/ 134513 w 382500"/>
                <a:gd name="connsiteY93" fmla="*/ 632401 h 640051"/>
                <a:gd name="connsiteX94" fmla="*/ 134513 w 382500"/>
                <a:gd name="connsiteY94" fmla="*/ 631126 h 640051"/>
                <a:gd name="connsiteX95" fmla="*/ 140888 w 382500"/>
                <a:gd name="connsiteY95" fmla="*/ 629214 h 640051"/>
                <a:gd name="connsiteX96" fmla="*/ 142163 w 382500"/>
                <a:gd name="connsiteY96" fmla="*/ 592876 h 640051"/>
                <a:gd name="connsiteX97" fmla="*/ 153000 w 382500"/>
                <a:gd name="connsiteY97" fmla="*/ 580126 h 640051"/>
                <a:gd name="connsiteX98" fmla="*/ 159375 w 382500"/>
                <a:gd name="connsiteY98" fmla="*/ 546339 h 640051"/>
                <a:gd name="connsiteX99" fmla="*/ 153638 w 382500"/>
                <a:gd name="connsiteY99" fmla="*/ 540601 h 640051"/>
                <a:gd name="connsiteX100" fmla="*/ 165113 w 382500"/>
                <a:gd name="connsiteY100" fmla="*/ 507451 h 640051"/>
                <a:gd name="connsiteX101" fmla="*/ 202088 w 382500"/>
                <a:gd name="connsiteY101" fmla="*/ 490238 h 640051"/>
                <a:gd name="connsiteX102" fmla="*/ 226313 w 382500"/>
                <a:gd name="connsiteY102" fmla="*/ 460276 h 640051"/>
                <a:gd name="connsiteX103" fmla="*/ 235875 w 382500"/>
                <a:gd name="connsiteY103" fmla="*/ 408638 h 640051"/>
                <a:gd name="connsiteX104" fmla="*/ 274763 w 382500"/>
                <a:gd name="connsiteY104" fmla="*/ 406088 h 640051"/>
                <a:gd name="connsiteX105" fmla="*/ 269663 w 382500"/>
                <a:gd name="connsiteY105" fmla="*/ 379313 h 640051"/>
                <a:gd name="connsiteX106" fmla="*/ 318751 w 382500"/>
                <a:gd name="connsiteY106" fmla="*/ 360826 h 640051"/>
                <a:gd name="connsiteX107" fmla="*/ 321938 w 382500"/>
                <a:gd name="connsiteY107" fmla="*/ 331501 h 640051"/>
                <a:gd name="connsiteX108" fmla="*/ 333413 w 382500"/>
                <a:gd name="connsiteY108" fmla="*/ 334051 h 640051"/>
                <a:gd name="connsiteX109" fmla="*/ 365926 w 382500"/>
                <a:gd name="connsiteY109" fmla="*/ 307276 h 640051"/>
                <a:gd name="connsiteX110" fmla="*/ 379951 w 382500"/>
                <a:gd name="connsiteY110" fmla="*/ 273488 h 640051"/>
                <a:gd name="connsiteX111" fmla="*/ 346801 w 382500"/>
                <a:gd name="connsiteY111" fmla="*/ 240338 h 640051"/>
                <a:gd name="connsiteX112" fmla="*/ 312376 w 382500"/>
                <a:gd name="connsiteY112" fmla="*/ 233326 h 640051"/>
                <a:gd name="connsiteX113" fmla="*/ 299626 w 382500"/>
                <a:gd name="connsiteY113" fmla="*/ 206550 h 640051"/>
                <a:gd name="connsiteX114" fmla="*/ 299626 w 382500"/>
                <a:gd name="connsiteY114" fmla="*/ 191250 h 640051"/>
                <a:gd name="connsiteX115" fmla="*/ 278588 w 382500"/>
                <a:gd name="connsiteY115" fmla="*/ 197625 h 640051"/>
                <a:gd name="connsiteX116" fmla="*/ 255001 w 382500"/>
                <a:gd name="connsiteY116" fmla="*/ 189338 h 640051"/>
                <a:gd name="connsiteX117" fmla="*/ 255001 w 382500"/>
                <a:gd name="connsiteY117" fmla="*/ 163200 h 640051"/>
                <a:gd name="connsiteX118" fmla="*/ 190613 w 382500"/>
                <a:gd name="connsiteY118" fmla="*/ 24225 h 640051"/>
                <a:gd name="connsiteX119" fmla="*/ 143438 w 382500"/>
                <a:gd name="connsiteY119" fmla="*/ 0 h 640051"/>
                <a:gd name="connsiteX120" fmla="*/ 91163 w 382500"/>
                <a:gd name="connsiteY120" fmla="*/ 43988 h 640051"/>
                <a:gd name="connsiteX121" fmla="*/ 77138 w 382500"/>
                <a:gd name="connsiteY121" fmla="*/ 41438 h 640051"/>
                <a:gd name="connsiteX122" fmla="*/ 65025 w 382500"/>
                <a:gd name="connsiteY122" fmla="*/ 19125 h 640051"/>
                <a:gd name="connsiteX123" fmla="*/ 48450 w 382500"/>
                <a:gd name="connsiteY123" fmla="*/ 25500 h 640051"/>
                <a:gd name="connsiteX124" fmla="*/ 24863 w 382500"/>
                <a:gd name="connsiteY124" fmla="*/ 144075 h 640051"/>
                <a:gd name="connsiteX125" fmla="*/ 33150 w 382500"/>
                <a:gd name="connsiteY125" fmla="*/ 182325 h 640051"/>
                <a:gd name="connsiteX126" fmla="*/ 40163 w 382500"/>
                <a:gd name="connsiteY126" fmla="*/ 260101 h 640051"/>
                <a:gd name="connsiteX127" fmla="*/ 21675 w 382500"/>
                <a:gd name="connsiteY127" fmla="*/ 320026 h 640051"/>
                <a:gd name="connsiteX128" fmla="*/ 34425 w 382500"/>
                <a:gd name="connsiteY128" fmla="*/ 330226 h 640051"/>
                <a:gd name="connsiteX129" fmla="*/ 19125 w 382500"/>
                <a:gd name="connsiteY129" fmla="*/ 360188 h 640051"/>
                <a:gd name="connsiteX130" fmla="*/ 2550 w 382500"/>
                <a:gd name="connsiteY130" fmla="*/ 357638 h 640051"/>
                <a:gd name="connsiteX131" fmla="*/ 0 w 382500"/>
                <a:gd name="connsiteY131" fmla="*/ 359551 h 640051"/>
                <a:gd name="connsiteX132" fmla="*/ 0 w 382500"/>
                <a:gd name="connsiteY132" fmla="*/ 359551 h 64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82500" h="640051">
                  <a:moveTo>
                    <a:pt x="151725" y="640051"/>
                  </a:moveTo>
                  <a:lnTo>
                    <a:pt x="151725" y="640051"/>
                  </a:lnTo>
                  <a:lnTo>
                    <a:pt x="151725" y="640051"/>
                  </a:lnTo>
                  <a:lnTo>
                    <a:pt x="151725" y="640051"/>
                  </a:lnTo>
                  <a:lnTo>
                    <a:pt x="151725" y="640051"/>
                  </a:lnTo>
                  <a:close/>
                  <a:moveTo>
                    <a:pt x="198900" y="502988"/>
                  </a:moveTo>
                  <a:lnTo>
                    <a:pt x="193801" y="495339"/>
                  </a:lnTo>
                  <a:lnTo>
                    <a:pt x="193801" y="499164"/>
                  </a:lnTo>
                  <a:lnTo>
                    <a:pt x="198900" y="502988"/>
                  </a:lnTo>
                  <a:close/>
                  <a:moveTo>
                    <a:pt x="189975" y="495976"/>
                  </a:moveTo>
                  <a:lnTo>
                    <a:pt x="189975" y="489601"/>
                  </a:lnTo>
                  <a:lnTo>
                    <a:pt x="189338" y="485776"/>
                  </a:lnTo>
                  <a:lnTo>
                    <a:pt x="189975" y="495976"/>
                  </a:lnTo>
                  <a:close/>
                  <a:moveTo>
                    <a:pt x="212926" y="469201"/>
                  </a:moveTo>
                  <a:lnTo>
                    <a:pt x="211651" y="468563"/>
                  </a:lnTo>
                  <a:lnTo>
                    <a:pt x="212288" y="470476"/>
                  </a:lnTo>
                  <a:lnTo>
                    <a:pt x="212926" y="469201"/>
                  </a:lnTo>
                  <a:lnTo>
                    <a:pt x="212926" y="469201"/>
                  </a:lnTo>
                  <a:close/>
                  <a:moveTo>
                    <a:pt x="277313" y="436688"/>
                  </a:moveTo>
                  <a:lnTo>
                    <a:pt x="276038" y="426488"/>
                  </a:lnTo>
                  <a:lnTo>
                    <a:pt x="273488" y="430951"/>
                  </a:lnTo>
                  <a:lnTo>
                    <a:pt x="277313" y="436688"/>
                  </a:lnTo>
                  <a:close/>
                  <a:moveTo>
                    <a:pt x="261376" y="440513"/>
                  </a:moveTo>
                  <a:lnTo>
                    <a:pt x="262013" y="433501"/>
                  </a:lnTo>
                  <a:lnTo>
                    <a:pt x="254363" y="434776"/>
                  </a:lnTo>
                  <a:lnTo>
                    <a:pt x="261376" y="440513"/>
                  </a:lnTo>
                  <a:lnTo>
                    <a:pt x="261376" y="440513"/>
                  </a:lnTo>
                  <a:close/>
                  <a:moveTo>
                    <a:pt x="284963" y="419476"/>
                  </a:moveTo>
                  <a:lnTo>
                    <a:pt x="282413" y="419476"/>
                  </a:lnTo>
                  <a:lnTo>
                    <a:pt x="282413" y="420751"/>
                  </a:lnTo>
                  <a:lnTo>
                    <a:pt x="284963" y="419476"/>
                  </a:lnTo>
                  <a:close/>
                  <a:moveTo>
                    <a:pt x="253088" y="429676"/>
                  </a:moveTo>
                  <a:lnTo>
                    <a:pt x="247350" y="428401"/>
                  </a:lnTo>
                  <a:lnTo>
                    <a:pt x="246713" y="434138"/>
                  </a:lnTo>
                  <a:lnTo>
                    <a:pt x="253088" y="429676"/>
                  </a:lnTo>
                  <a:lnTo>
                    <a:pt x="253088" y="429676"/>
                  </a:lnTo>
                  <a:close/>
                  <a:moveTo>
                    <a:pt x="285601" y="409276"/>
                  </a:moveTo>
                  <a:lnTo>
                    <a:pt x="291338" y="413738"/>
                  </a:lnTo>
                  <a:lnTo>
                    <a:pt x="289426" y="408638"/>
                  </a:lnTo>
                  <a:lnTo>
                    <a:pt x="285601" y="409276"/>
                  </a:lnTo>
                  <a:close/>
                  <a:moveTo>
                    <a:pt x="268388" y="409913"/>
                  </a:moveTo>
                  <a:lnTo>
                    <a:pt x="262651" y="421388"/>
                  </a:lnTo>
                  <a:lnTo>
                    <a:pt x="270301" y="417563"/>
                  </a:lnTo>
                  <a:lnTo>
                    <a:pt x="268388" y="409913"/>
                  </a:lnTo>
                  <a:lnTo>
                    <a:pt x="268388" y="409913"/>
                  </a:lnTo>
                  <a:close/>
                  <a:moveTo>
                    <a:pt x="240975" y="409913"/>
                  </a:moveTo>
                  <a:lnTo>
                    <a:pt x="238426" y="413738"/>
                  </a:lnTo>
                  <a:lnTo>
                    <a:pt x="240338" y="419476"/>
                  </a:lnTo>
                  <a:lnTo>
                    <a:pt x="240975" y="409913"/>
                  </a:lnTo>
                  <a:lnTo>
                    <a:pt x="240975" y="409913"/>
                  </a:lnTo>
                  <a:close/>
                  <a:moveTo>
                    <a:pt x="278588" y="388876"/>
                  </a:moveTo>
                  <a:lnTo>
                    <a:pt x="277950" y="383776"/>
                  </a:lnTo>
                  <a:lnTo>
                    <a:pt x="276038" y="386963"/>
                  </a:lnTo>
                  <a:lnTo>
                    <a:pt x="278588" y="388876"/>
                  </a:lnTo>
                  <a:lnTo>
                    <a:pt x="278588" y="388876"/>
                  </a:lnTo>
                  <a:close/>
                  <a:moveTo>
                    <a:pt x="275401" y="391426"/>
                  </a:moveTo>
                  <a:lnTo>
                    <a:pt x="269663" y="386326"/>
                  </a:lnTo>
                  <a:lnTo>
                    <a:pt x="269663" y="390788"/>
                  </a:lnTo>
                  <a:lnTo>
                    <a:pt x="275401" y="391426"/>
                  </a:lnTo>
                  <a:close/>
                  <a:moveTo>
                    <a:pt x="239700" y="406726"/>
                  </a:moveTo>
                  <a:lnTo>
                    <a:pt x="238426" y="399713"/>
                  </a:lnTo>
                  <a:lnTo>
                    <a:pt x="235875" y="405451"/>
                  </a:lnTo>
                  <a:lnTo>
                    <a:pt x="239700" y="406726"/>
                  </a:lnTo>
                  <a:close/>
                  <a:moveTo>
                    <a:pt x="300263" y="384413"/>
                  </a:moveTo>
                  <a:lnTo>
                    <a:pt x="290063" y="398438"/>
                  </a:lnTo>
                  <a:lnTo>
                    <a:pt x="289426" y="387601"/>
                  </a:lnTo>
                  <a:lnTo>
                    <a:pt x="300263" y="384413"/>
                  </a:lnTo>
                  <a:close/>
                  <a:moveTo>
                    <a:pt x="347438" y="341063"/>
                  </a:moveTo>
                  <a:lnTo>
                    <a:pt x="342976" y="334688"/>
                  </a:lnTo>
                  <a:lnTo>
                    <a:pt x="340426" y="335963"/>
                  </a:lnTo>
                  <a:lnTo>
                    <a:pt x="347438" y="341063"/>
                  </a:lnTo>
                  <a:close/>
                  <a:moveTo>
                    <a:pt x="364651" y="312376"/>
                  </a:moveTo>
                  <a:lnTo>
                    <a:pt x="360826" y="310463"/>
                  </a:lnTo>
                  <a:lnTo>
                    <a:pt x="360188" y="312376"/>
                  </a:lnTo>
                  <a:lnTo>
                    <a:pt x="364651" y="312376"/>
                  </a:lnTo>
                  <a:lnTo>
                    <a:pt x="364651" y="312376"/>
                  </a:lnTo>
                  <a:close/>
                  <a:moveTo>
                    <a:pt x="372938" y="262013"/>
                  </a:moveTo>
                  <a:lnTo>
                    <a:pt x="367201" y="262013"/>
                  </a:lnTo>
                  <a:lnTo>
                    <a:pt x="373576" y="263926"/>
                  </a:lnTo>
                  <a:lnTo>
                    <a:pt x="372938" y="262013"/>
                  </a:lnTo>
                  <a:lnTo>
                    <a:pt x="372938" y="262013"/>
                  </a:lnTo>
                  <a:close/>
                  <a:moveTo>
                    <a:pt x="382501" y="268388"/>
                  </a:moveTo>
                  <a:lnTo>
                    <a:pt x="380588" y="256913"/>
                  </a:lnTo>
                  <a:lnTo>
                    <a:pt x="375488" y="256276"/>
                  </a:lnTo>
                  <a:cubicBezTo>
                    <a:pt x="376126" y="256913"/>
                    <a:pt x="382501" y="268388"/>
                    <a:pt x="382501" y="268388"/>
                  </a:cubicBezTo>
                  <a:close/>
                  <a:moveTo>
                    <a:pt x="372301" y="258188"/>
                  </a:moveTo>
                  <a:lnTo>
                    <a:pt x="371026" y="246076"/>
                  </a:lnTo>
                  <a:lnTo>
                    <a:pt x="366563" y="254363"/>
                  </a:lnTo>
                  <a:lnTo>
                    <a:pt x="372301" y="258188"/>
                  </a:lnTo>
                  <a:lnTo>
                    <a:pt x="372301" y="258188"/>
                  </a:lnTo>
                  <a:close/>
                  <a:moveTo>
                    <a:pt x="0" y="359551"/>
                  </a:moveTo>
                  <a:lnTo>
                    <a:pt x="93075" y="578214"/>
                  </a:lnTo>
                  <a:lnTo>
                    <a:pt x="94350" y="582676"/>
                  </a:lnTo>
                  <a:lnTo>
                    <a:pt x="134513" y="632401"/>
                  </a:lnTo>
                  <a:lnTo>
                    <a:pt x="134513" y="631126"/>
                  </a:lnTo>
                  <a:lnTo>
                    <a:pt x="140888" y="629214"/>
                  </a:lnTo>
                  <a:lnTo>
                    <a:pt x="142163" y="592876"/>
                  </a:lnTo>
                  <a:lnTo>
                    <a:pt x="153000" y="580126"/>
                  </a:lnTo>
                  <a:lnTo>
                    <a:pt x="159375" y="546339"/>
                  </a:lnTo>
                  <a:lnTo>
                    <a:pt x="153638" y="540601"/>
                  </a:lnTo>
                  <a:lnTo>
                    <a:pt x="165113" y="507451"/>
                  </a:lnTo>
                  <a:lnTo>
                    <a:pt x="202088" y="490238"/>
                  </a:lnTo>
                  <a:lnTo>
                    <a:pt x="226313" y="460276"/>
                  </a:lnTo>
                  <a:lnTo>
                    <a:pt x="235875" y="408638"/>
                  </a:lnTo>
                  <a:lnTo>
                    <a:pt x="274763" y="406088"/>
                  </a:lnTo>
                  <a:lnTo>
                    <a:pt x="269663" y="379313"/>
                  </a:lnTo>
                  <a:lnTo>
                    <a:pt x="318751" y="360826"/>
                  </a:lnTo>
                  <a:lnTo>
                    <a:pt x="321938" y="331501"/>
                  </a:lnTo>
                  <a:lnTo>
                    <a:pt x="333413" y="334051"/>
                  </a:lnTo>
                  <a:lnTo>
                    <a:pt x="365926" y="307276"/>
                  </a:lnTo>
                  <a:lnTo>
                    <a:pt x="379951" y="273488"/>
                  </a:lnTo>
                  <a:lnTo>
                    <a:pt x="346801" y="240338"/>
                  </a:lnTo>
                  <a:lnTo>
                    <a:pt x="312376" y="233326"/>
                  </a:lnTo>
                  <a:lnTo>
                    <a:pt x="299626" y="206550"/>
                  </a:lnTo>
                  <a:lnTo>
                    <a:pt x="299626" y="191250"/>
                  </a:lnTo>
                  <a:lnTo>
                    <a:pt x="278588" y="197625"/>
                  </a:lnTo>
                  <a:lnTo>
                    <a:pt x="255001" y="189338"/>
                  </a:lnTo>
                  <a:lnTo>
                    <a:pt x="255001" y="163200"/>
                  </a:lnTo>
                  <a:lnTo>
                    <a:pt x="190613" y="24225"/>
                  </a:lnTo>
                  <a:lnTo>
                    <a:pt x="143438" y="0"/>
                  </a:lnTo>
                  <a:lnTo>
                    <a:pt x="91163" y="43988"/>
                  </a:lnTo>
                  <a:lnTo>
                    <a:pt x="77138" y="41438"/>
                  </a:lnTo>
                  <a:lnTo>
                    <a:pt x="65025" y="19125"/>
                  </a:lnTo>
                  <a:lnTo>
                    <a:pt x="48450" y="25500"/>
                  </a:lnTo>
                  <a:lnTo>
                    <a:pt x="24863" y="144075"/>
                  </a:lnTo>
                  <a:lnTo>
                    <a:pt x="33150" y="182325"/>
                  </a:lnTo>
                  <a:lnTo>
                    <a:pt x="40163" y="260101"/>
                  </a:lnTo>
                  <a:lnTo>
                    <a:pt x="21675" y="320026"/>
                  </a:lnTo>
                  <a:lnTo>
                    <a:pt x="34425" y="330226"/>
                  </a:lnTo>
                  <a:lnTo>
                    <a:pt x="19125" y="360188"/>
                  </a:lnTo>
                  <a:lnTo>
                    <a:pt x="2550" y="357638"/>
                  </a:lnTo>
                  <a:lnTo>
                    <a:pt x="0" y="359551"/>
                  </a:lnTo>
                  <a:lnTo>
                    <a:pt x="0" y="359551"/>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28" name="Freeform 67">
              <a:extLst>
                <a:ext uri="{FF2B5EF4-FFF2-40B4-BE49-F238E27FC236}">
                  <a16:creationId xmlns:a16="http://schemas.microsoft.com/office/drawing/2014/main" id="{70A670F8-EB2D-5396-A0B6-EF4DC98A5E4B}"/>
                </a:ext>
              </a:extLst>
            </p:cNvPr>
            <p:cNvSpPr/>
            <p:nvPr/>
          </p:nvSpPr>
          <p:spPr>
            <a:xfrm>
              <a:off x="5243003" y="1390372"/>
              <a:ext cx="829389" cy="830664"/>
            </a:xfrm>
            <a:custGeom>
              <a:avLst/>
              <a:gdLst>
                <a:gd name="connsiteX0" fmla="*/ 429038 w 829389"/>
                <a:gd name="connsiteY0" fmla="*/ 385051 h 830664"/>
                <a:gd name="connsiteX1" fmla="*/ 425851 w 829389"/>
                <a:gd name="connsiteY1" fmla="*/ 379951 h 830664"/>
                <a:gd name="connsiteX2" fmla="*/ 425213 w 829389"/>
                <a:gd name="connsiteY2" fmla="*/ 386326 h 830664"/>
                <a:gd name="connsiteX3" fmla="*/ 429038 w 829389"/>
                <a:gd name="connsiteY3" fmla="*/ 385051 h 830664"/>
                <a:gd name="connsiteX4" fmla="*/ 439239 w 829389"/>
                <a:gd name="connsiteY4" fmla="*/ 374213 h 830664"/>
                <a:gd name="connsiteX5" fmla="*/ 431588 w 829389"/>
                <a:gd name="connsiteY5" fmla="*/ 363376 h 830664"/>
                <a:gd name="connsiteX6" fmla="*/ 430313 w 829389"/>
                <a:gd name="connsiteY6" fmla="*/ 367838 h 830664"/>
                <a:gd name="connsiteX7" fmla="*/ 439239 w 829389"/>
                <a:gd name="connsiteY7" fmla="*/ 374213 h 830664"/>
                <a:gd name="connsiteX8" fmla="*/ 445614 w 829389"/>
                <a:gd name="connsiteY8" fmla="*/ 327676 h 830664"/>
                <a:gd name="connsiteX9" fmla="*/ 439239 w 829389"/>
                <a:gd name="connsiteY9" fmla="*/ 321938 h 830664"/>
                <a:gd name="connsiteX10" fmla="*/ 439239 w 829389"/>
                <a:gd name="connsiteY10" fmla="*/ 323213 h 830664"/>
                <a:gd name="connsiteX11" fmla="*/ 445614 w 829389"/>
                <a:gd name="connsiteY11" fmla="*/ 327676 h 830664"/>
                <a:gd name="connsiteX12" fmla="*/ 429676 w 829389"/>
                <a:gd name="connsiteY12" fmla="*/ 830664 h 830664"/>
                <a:gd name="connsiteX13" fmla="*/ 509364 w 829389"/>
                <a:gd name="connsiteY13" fmla="*/ 817914 h 830664"/>
                <a:gd name="connsiteX14" fmla="*/ 531676 w 829389"/>
                <a:gd name="connsiteY14" fmla="*/ 813452 h 830664"/>
                <a:gd name="connsiteX15" fmla="*/ 630489 w 829389"/>
                <a:gd name="connsiteY15" fmla="*/ 796239 h 830664"/>
                <a:gd name="connsiteX16" fmla="*/ 632401 w 829389"/>
                <a:gd name="connsiteY16" fmla="*/ 804527 h 830664"/>
                <a:gd name="connsiteX17" fmla="*/ 638776 w 829389"/>
                <a:gd name="connsiteY17" fmla="*/ 802614 h 830664"/>
                <a:gd name="connsiteX18" fmla="*/ 680851 w 829389"/>
                <a:gd name="connsiteY18" fmla="*/ 793052 h 830664"/>
                <a:gd name="connsiteX19" fmla="*/ 721014 w 829389"/>
                <a:gd name="connsiteY19" fmla="*/ 782852 h 830664"/>
                <a:gd name="connsiteX20" fmla="*/ 761814 w 829389"/>
                <a:gd name="connsiteY20" fmla="*/ 772014 h 830664"/>
                <a:gd name="connsiteX21" fmla="*/ 761177 w 829389"/>
                <a:gd name="connsiteY21" fmla="*/ 770102 h 830664"/>
                <a:gd name="connsiteX22" fmla="*/ 782214 w 829389"/>
                <a:gd name="connsiteY22" fmla="*/ 728664 h 830664"/>
                <a:gd name="connsiteX23" fmla="*/ 780302 w 829389"/>
                <a:gd name="connsiteY23" fmla="*/ 694239 h 830664"/>
                <a:gd name="connsiteX24" fmla="*/ 803889 w 829389"/>
                <a:gd name="connsiteY24" fmla="*/ 634951 h 830664"/>
                <a:gd name="connsiteX25" fmla="*/ 822377 w 829389"/>
                <a:gd name="connsiteY25" fmla="*/ 646426 h 830664"/>
                <a:gd name="connsiteX26" fmla="*/ 829389 w 829389"/>
                <a:gd name="connsiteY26" fmla="*/ 633039 h 830664"/>
                <a:gd name="connsiteX27" fmla="*/ 827477 w 829389"/>
                <a:gd name="connsiteY27" fmla="*/ 581401 h 830664"/>
                <a:gd name="connsiteX28" fmla="*/ 810264 w 829389"/>
                <a:gd name="connsiteY28" fmla="*/ 548889 h 830664"/>
                <a:gd name="connsiteX29" fmla="*/ 784764 w 829389"/>
                <a:gd name="connsiteY29" fmla="*/ 480676 h 830664"/>
                <a:gd name="connsiteX30" fmla="*/ 762451 w 829389"/>
                <a:gd name="connsiteY30" fmla="*/ 455813 h 830664"/>
                <a:gd name="connsiteX31" fmla="*/ 750976 w 829389"/>
                <a:gd name="connsiteY31" fmla="*/ 452626 h 830664"/>
                <a:gd name="connsiteX32" fmla="*/ 709539 w 829389"/>
                <a:gd name="connsiteY32" fmla="*/ 481951 h 830664"/>
                <a:gd name="connsiteX33" fmla="*/ 714001 w 829389"/>
                <a:gd name="connsiteY33" fmla="*/ 487688 h 830664"/>
                <a:gd name="connsiteX34" fmla="*/ 692326 w 829389"/>
                <a:gd name="connsiteY34" fmla="*/ 528489 h 830664"/>
                <a:gd name="connsiteX35" fmla="*/ 671289 w 829389"/>
                <a:gd name="connsiteY35" fmla="*/ 524664 h 830664"/>
                <a:gd name="connsiteX36" fmla="*/ 664914 w 829389"/>
                <a:gd name="connsiteY36" fmla="*/ 481951 h 830664"/>
                <a:gd name="connsiteX37" fmla="*/ 674476 w 829389"/>
                <a:gd name="connsiteY37" fmla="*/ 478764 h 830664"/>
                <a:gd name="connsiteX38" fmla="*/ 692964 w 829389"/>
                <a:gd name="connsiteY38" fmla="*/ 436051 h 830664"/>
                <a:gd name="connsiteX39" fmla="*/ 694876 w 829389"/>
                <a:gd name="connsiteY39" fmla="*/ 360188 h 830664"/>
                <a:gd name="connsiteX40" fmla="*/ 665552 w 829389"/>
                <a:gd name="connsiteY40" fmla="*/ 295801 h 830664"/>
                <a:gd name="connsiteX41" fmla="*/ 600526 w 829389"/>
                <a:gd name="connsiteY41" fmla="*/ 284963 h 830664"/>
                <a:gd name="connsiteX42" fmla="*/ 594151 w 829389"/>
                <a:gd name="connsiteY42" fmla="*/ 274763 h 830664"/>
                <a:gd name="connsiteX43" fmla="*/ 534864 w 829389"/>
                <a:gd name="connsiteY43" fmla="*/ 257550 h 830664"/>
                <a:gd name="connsiteX44" fmla="*/ 507451 w 829389"/>
                <a:gd name="connsiteY44" fmla="*/ 290701 h 830664"/>
                <a:gd name="connsiteX45" fmla="*/ 510001 w 829389"/>
                <a:gd name="connsiteY45" fmla="*/ 320026 h 830664"/>
                <a:gd name="connsiteX46" fmla="*/ 489601 w 829389"/>
                <a:gd name="connsiteY46" fmla="*/ 345526 h 830664"/>
                <a:gd name="connsiteX47" fmla="*/ 494064 w 829389"/>
                <a:gd name="connsiteY47" fmla="*/ 385051 h 830664"/>
                <a:gd name="connsiteX48" fmla="*/ 474301 w 829389"/>
                <a:gd name="connsiteY48" fmla="*/ 399076 h 830664"/>
                <a:gd name="connsiteX49" fmla="*/ 474301 w 829389"/>
                <a:gd name="connsiteY49" fmla="*/ 348713 h 830664"/>
                <a:gd name="connsiteX50" fmla="*/ 456451 w 829389"/>
                <a:gd name="connsiteY50" fmla="*/ 386326 h 830664"/>
                <a:gd name="connsiteX51" fmla="*/ 435413 w 829389"/>
                <a:gd name="connsiteY51" fmla="*/ 419476 h 830664"/>
                <a:gd name="connsiteX52" fmla="*/ 421388 w 829389"/>
                <a:gd name="connsiteY52" fmla="*/ 430951 h 830664"/>
                <a:gd name="connsiteX53" fmla="*/ 428401 w 829389"/>
                <a:gd name="connsiteY53" fmla="*/ 466013 h 830664"/>
                <a:gd name="connsiteX54" fmla="*/ 418838 w 829389"/>
                <a:gd name="connsiteY54" fmla="*/ 502351 h 830664"/>
                <a:gd name="connsiteX55" fmla="*/ 423938 w 829389"/>
                <a:gd name="connsiteY55" fmla="*/ 548251 h 830664"/>
                <a:gd name="connsiteX56" fmla="*/ 417563 w 829389"/>
                <a:gd name="connsiteY56" fmla="*/ 570564 h 830664"/>
                <a:gd name="connsiteX57" fmla="*/ 464101 w 829389"/>
                <a:gd name="connsiteY57" fmla="*/ 659176 h 830664"/>
                <a:gd name="connsiteX58" fmla="*/ 469839 w 829389"/>
                <a:gd name="connsiteY58" fmla="*/ 692964 h 830664"/>
                <a:gd name="connsiteX59" fmla="*/ 464101 w 829389"/>
                <a:gd name="connsiteY59" fmla="*/ 756077 h 830664"/>
                <a:gd name="connsiteX60" fmla="*/ 432864 w 829389"/>
                <a:gd name="connsiteY60" fmla="*/ 826839 h 830664"/>
                <a:gd name="connsiteX61" fmla="*/ 429676 w 829389"/>
                <a:gd name="connsiteY61" fmla="*/ 830664 h 830664"/>
                <a:gd name="connsiteX62" fmla="*/ 429676 w 829389"/>
                <a:gd name="connsiteY62" fmla="*/ 830664 h 830664"/>
                <a:gd name="connsiteX63" fmla="*/ 566739 w 829389"/>
                <a:gd name="connsiteY63" fmla="*/ 251175 h 830664"/>
                <a:gd name="connsiteX64" fmla="*/ 550164 w 829389"/>
                <a:gd name="connsiteY64" fmla="*/ 252451 h 830664"/>
                <a:gd name="connsiteX65" fmla="*/ 561001 w 829389"/>
                <a:gd name="connsiteY65" fmla="*/ 260101 h 830664"/>
                <a:gd name="connsiteX66" fmla="*/ 566739 w 829389"/>
                <a:gd name="connsiteY66" fmla="*/ 251175 h 830664"/>
                <a:gd name="connsiteX67" fmla="*/ 566739 w 829389"/>
                <a:gd name="connsiteY67" fmla="*/ 251175 h 830664"/>
                <a:gd name="connsiteX68" fmla="*/ 469839 w 829389"/>
                <a:gd name="connsiteY68" fmla="*/ 267751 h 830664"/>
                <a:gd name="connsiteX69" fmla="*/ 464739 w 829389"/>
                <a:gd name="connsiteY69" fmla="*/ 267751 h 830664"/>
                <a:gd name="connsiteX70" fmla="*/ 470476 w 829389"/>
                <a:gd name="connsiteY70" fmla="*/ 270301 h 830664"/>
                <a:gd name="connsiteX71" fmla="*/ 469839 w 829389"/>
                <a:gd name="connsiteY71" fmla="*/ 267751 h 830664"/>
                <a:gd name="connsiteX72" fmla="*/ 582039 w 829389"/>
                <a:gd name="connsiteY72" fmla="*/ 186788 h 830664"/>
                <a:gd name="connsiteX73" fmla="*/ 575664 w 829389"/>
                <a:gd name="connsiteY73" fmla="*/ 175950 h 830664"/>
                <a:gd name="connsiteX74" fmla="*/ 573114 w 829389"/>
                <a:gd name="connsiteY74" fmla="*/ 176588 h 830664"/>
                <a:gd name="connsiteX75" fmla="*/ 582039 w 829389"/>
                <a:gd name="connsiteY75" fmla="*/ 186788 h 830664"/>
                <a:gd name="connsiteX76" fmla="*/ 582039 w 829389"/>
                <a:gd name="connsiteY76" fmla="*/ 186788 h 830664"/>
                <a:gd name="connsiteX77" fmla="*/ 0 w 829389"/>
                <a:gd name="connsiteY77" fmla="*/ 233326 h 830664"/>
                <a:gd name="connsiteX78" fmla="*/ 20400 w 829389"/>
                <a:gd name="connsiteY78" fmla="*/ 244800 h 830664"/>
                <a:gd name="connsiteX79" fmla="*/ 125588 w 829389"/>
                <a:gd name="connsiteY79" fmla="*/ 277313 h 830664"/>
                <a:gd name="connsiteX80" fmla="*/ 174676 w 829389"/>
                <a:gd name="connsiteY80" fmla="*/ 290063 h 830664"/>
                <a:gd name="connsiteX81" fmla="*/ 222488 w 829389"/>
                <a:gd name="connsiteY81" fmla="*/ 293251 h 830664"/>
                <a:gd name="connsiteX82" fmla="*/ 256913 w 829389"/>
                <a:gd name="connsiteY82" fmla="*/ 321938 h 830664"/>
                <a:gd name="connsiteX83" fmla="*/ 256913 w 829389"/>
                <a:gd name="connsiteY83" fmla="*/ 365926 h 830664"/>
                <a:gd name="connsiteX84" fmla="*/ 288151 w 829389"/>
                <a:gd name="connsiteY84" fmla="*/ 397163 h 830664"/>
                <a:gd name="connsiteX85" fmla="*/ 288151 w 829389"/>
                <a:gd name="connsiteY85" fmla="*/ 395888 h 830664"/>
                <a:gd name="connsiteX86" fmla="*/ 313013 w 829389"/>
                <a:gd name="connsiteY86" fmla="*/ 323213 h 830664"/>
                <a:gd name="connsiteX87" fmla="*/ 343613 w 829389"/>
                <a:gd name="connsiteY87" fmla="*/ 302176 h 830664"/>
                <a:gd name="connsiteX88" fmla="*/ 366563 w 829389"/>
                <a:gd name="connsiteY88" fmla="*/ 276676 h 830664"/>
                <a:gd name="connsiteX89" fmla="*/ 370388 w 829389"/>
                <a:gd name="connsiteY89" fmla="*/ 299626 h 830664"/>
                <a:gd name="connsiteX90" fmla="*/ 393976 w 829389"/>
                <a:gd name="connsiteY90" fmla="*/ 263288 h 830664"/>
                <a:gd name="connsiteX91" fmla="*/ 450713 w 829389"/>
                <a:gd name="connsiteY91" fmla="*/ 241613 h 830664"/>
                <a:gd name="connsiteX92" fmla="*/ 455176 w 829389"/>
                <a:gd name="connsiteY92" fmla="*/ 232050 h 830664"/>
                <a:gd name="connsiteX93" fmla="*/ 512551 w 829389"/>
                <a:gd name="connsiteY93" fmla="*/ 239063 h 830664"/>
                <a:gd name="connsiteX94" fmla="*/ 534864 w 829389"/>
                <a:gd name="connsiteY94" fmla="*/ 250538 h 830664"/>
                <a:gd name="connsiteX95" fmla="*/ 546339 w 829389"/>
                <a:gd name="connsiteY95" fmla="*/ 221851 h 830664"/>
                <a:gd name="connsiteX96" fmla="*/ 557176 w 829389"/>
                <a:gd name="connsiteY96" fmla="*/ 228226 h 830664"/>
                <a:gd name="connsiteX97" fmla="*/ 602439 w 829389"/>
                <a:gd name="connsiteY97" fmla="*/ 221213 h 830664"/>
                <a:gd name="connsiteX98" fmla="*/ 590964 w 829389"/>
                <a:gd name="connsiteY98" fmla="*/ 203363 h 830664"/>
                <a:gd name="connsiteX99" fmla="*/ 571201 w 829389"/>
                <a:gd name="connsiteY99" fmla="*/ 191888 h 830664"/>
                <a:gd name="connsiteX100" fmla="*/ 575026 w 829389"/>
                <a:gd name="connsiteY100" fmla="*/ 150450 h 830664"/>
                <a:gd name="connsiteX101" fmla="*/ 536138 w 829389"/>
                <a:gd name="connsiteY101" fmla="*/ 172125 h 830664"/>
                <a:gd name="connsiteX102" fmla="*/ 500439 w 829389"/>
                <a:gd name="connsiteY102" fmla="*/ 167663 h 830664"/>
                <a:gd name="connsiteX103" fmla="*/ 488964 w 829389"/>
                <a:gd name="connsiteY103" fmla="*/ 139613 h 830664"/>
                <a:gd name="connsiteX104" fmla="*/ 492788 w 829389"/>
                <a:gd name="connsiteY104" fmla="*/ 130050 h 830664"/>
                <a:gd name="connsiteX105" fmla="*/ 443701 w 829389"/>
                <a:gd name="connsiteY105" fmla="*/ 153000 h 830664"/>
                <a:gd name="connsiteX106" fmla="*/ 411826 w 829389"/>
                <a:gd name="connsiteY106" fmla="*/ 154913 h 830664"/>
                <a:gd name="connsiteX107" fmla="*/ 355726 w 829389"/>
                <a:gd name="connsiteY107" fmla="*/ 189338 h 830664"/>
                <a:gd name="connsiteX108" fmla="*/ 349351 w 829389"/>
                <a:gd name="connsiteY108" fmla="*/ 202088 h 830664"/>
                <a:gd name="connsiteX109" fmla="*/ 314926 w 829389"/>
                <a:gd name="connsiteY109" fmla="*/ 193800 h 830664"/>
                <a:gd name="connsiteX110" fmla="*/ 293251 w 829389"/>
                <a:gd name="connsiteY110" fmla="*/ 204000 h 830664"/>
                <a:gd name="connsiteX111" fmla="*/ 249263 w 829389"/>
                <a:gd name="connsiteY111" fmla="*/ 166388 h 830664"/>
                <a:gd name="connsiteX112" fmla="*/ 151725 w 829389"/>
                <a:gd name="connsiteY112" fmla="*/ 136425 h 830664"/>
                <a:gd name="connsiteX113" fmla="*/ 149813 w 829389"/>
                <a:gd name="connsiteY113" fmla="*/ 124950 h 830664"/>
                <a:gd name="connsiteX114" fmla="*/ 87338 w 829389"/>
                <a:gd name="connsiteY114" fmla="*/ 184238 h 830664"/>
                <a:gd name="connsiteX115" fmla="*/ 52275 w 829389"/>
                <a:gd name="connsiteY115" fmla="*/ 193800 h 830664"/>
                <a:gd name="connsiteX116" fmla="*/ 1912 w 829389"/>
                <a:gd name="connsiteY116" fmla="*/ 231413 h 830664"/>
                <a:gd name="connsiteX117" fmla="*/ 0 w 829389"/>
                <a:gd name="connsiteY117" fmla="*/ 233326 h 830664"/>
                <a:gd name="connsiteX118" fmla="*/ 0 w 829389"/>
                <a:gd name="connsiteY118" fmla="*/ 233326 h 830664"/>
                <a:gd name="connsiteX119" fmla="*/ 227588 w 829389"/>
                <a:gd name="connsiteY119" fmla="*/ 87975 h 830664"/>
                <a:gd name="connsiteX120" fmla="*/ 152363 w 829389"/>
                <a:gd name="connsiteY120" fmla="*/ 124950 h 830664"/>
                <a:gd name="connsiteX121" fmla="*/ 177225 w 829389"/>
                <a:gd name="connsiteY121" fmla="*/ 149175 h 830664"/>
                <a:gd name="connsiteX122" fmla="*/ 187426 w 829389"/>
                <a:gd name="connsiteY122" fmla="*/ 124950 h 830664"/>
                <a:gd name="connsiteX123" fmla="*/ 212926 w 829389"/>
                <a:gd name="connsiteY123" fmla="*/ 93075 h 830664"/>
                <a:gd name="connsiteX124" fmla="*/ 227588 w 829389"/>
                <a:gd name="connsiteY124" fmla="*/ 87975 h 830664"/>
                <a:gd name="connsiteX125" fmla="*/ 227588 w 829389"/>
                <a:gd name="connsiteY125" fmla="*/ 87975 h 830664"/>
                <a:gd name="connsiteX126" fmla="*/ 143438 w 829389"/>
                <a:gd name="connsiteY126" fmla="*/ 0 h 830664"/>
                <a:gd name="connsiteX127" fmla="*/ 91800 w 829389"/>
                <a:gd name="connsiteY127" fmla="*/ 35063 h 830664"/>
                <a:gd name="connsiteX128" fmla="*/ 89250 w 829389"/>
                <a:gd name="connsiteY128" fmla="*/ 52275 h 830664"/>
                <a:gd name="connsiteX129" fmla="*/ 129413 w 829389"/>
                <a:gd name="connsiteY129" fmla="*/ 22313 h 830664"/>
                <a:gd name="connsiteX130" fmla="*/ 143438 w 829389"/>
                <a:gd name="connsiteY130" fmla="*/ 0 h 83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29389" h="830664">
                  <a:moveTo>
                    <a:pt x="429038" y="385051"/>
                  </a:moveTo>
                  <a:lnTo>
                    <a:pt x="425851" y="379951"/>
                  </a:lnTo>
                  <a:lnTo>
                    <a:pt x="425213" y="386326"/>
                  </a:lnTo>
                  <a:lnTo>
                    <a:pt x="429038" y="385051"/>
                  </a:lnTo>
                  <a:close/>
                  <a:moveTo>
                    <a:pt x="439239" y="374213"/>
                  </a:moveTo>
                  <a:lnTo>
                    <a:pt x="431588" y="363376"/>
                  </a:lnTo>
                  <a:lnTo>
                    <a:pt x="430313" y="367838"/>
                  </a:lnTo>
                  <a:lnTo>
                    <a:pt x="439239" y="374213"/>
                  </a:lnTo>
                  <a:close/>
                  <a:moveTo>
                    <a:pt x="445614" y="327676"/>
                  </a:moveTo>
                  <a:lnTo>
                    <a:pt x="439239" y="321938"/>
                  </a:lnTo>
                  <a:lnTo>
                    <a:pt x="439239" y="323213"/>
                  </a:lnTo>
                  <a:lnTo>
                    <a:pt x="445614" y="327676"/>
                  </a:lnTo>
                  <a:close/>
                  <a:moveTo>
                    <a:pt x="429676" y="830664"/>
                  </a:moveTo>
                  <a:lnTo>
                    <a:pt x="509364" y="817914"/>
                  </a:lnTo>
                  <a:lnTo>
                    <a:pt x="531676" y="813452"/>
                  </a:lnTo>
                  <a:lnTo>
                    <a:pt x="630489" y="796239"/>
                  </a:lnTo>
                  <a:lnTo>
                    <a:pt x="632401" y="804527"/>
                  </a:lnTo>
                  <a:lnTo>
                    <a:pt x="638776" y="802614"/>
                  </a:lnTo>
                  <a:lnTo>
                    <a:pt x="680851" y="793052"/>
                  </a:lnTo>
                  <a:lnTo>
                    <a:pt x="721014" y="782852"/>
                  </a:lnTo>
                  <a:lnTo>
                    <a:pt x="761814" y="772014"/>
                  </a:lnTo>
                  <a:lnTo>
                    <a:pt x="761177" y="770102"/>
                  </a:lnTo>
                  <a:lnTo>
                    <a:pt x="782214" y="728664"/>
                  </a:lnTo>
                  <a:lnTo>
                    <a:pt x="780302" y="694239"/>
                  </a:lnTo>
                  <a:lnTo>
                    <a:pt x="803889" y="634951"/>
                  </a:lnTo>
                  <a:lnTo>
                    <a:pt x="822377" y="646426"/>
                  </a:lnTo>
                  <a:lnTo>
                    <a:pt x="829389" y="633039"/>
                  </a:lnTo>
                  <a:lnTo>
                    <a:pt x="827477" y="581401"/>
                  </a:lnTo>
                  <a:lnTo>
                    <a:pt x="810264" y="548889"/>
                  </a:lnTo>
                  <a:lnTo>
                    <a:pt x="784764" y="480676"/>
                  </a:lnTo>
                  <a:lnTo>
                    <a:pt x="762451" y="455813"/>
                  </a:lnTo>
                  <a:lnTo>
                    <a:pt x="750976" y="452626"/>
                  </a:lnTo>
                  <a:lnTo>
                    <a:pt x="709539" y="481951"/>
                  </a:lnTo>
                  <a:lnTo>
                    <a:pt x="714001" y="487688"/>
                  </a:lnTo>
                  <a:lnTo>
                    <a:pt x="692326" y="528489"/>
                  </a:lnTo>
                  <a:lnTo>
                    <a:pt x="671289" y="524664"/>
                  </a:lnTo>
                  <a:lnTo>
                    <a:pt x="664914" y="481951"/>
                  </a:lnTo>
                  <a:lnTo>
                    <a:pt x="674476" y="478764"/>
                  </a:lnTo>
                  <a:lnTo>
                    <a:pt x="692964" y="436051"/>
                  </a:lnTo>
                  <a:lnTo>
                    <a:pt x="694876" y="360188"/>
                  </a:lnTo>
                  <a:lnTo>
                    <a:pt x="665552" y="295801"/>
                  </a:lnTo>
                  <a:lnTo>
                    <a:pt x="600526" y="284963"/>
                  </a:lnTo>
                  <a:lnTo>
                    <a:pt x="594151" y="274763"/>
                  </a:lnTo>
                  <a:lnTo>
                    <a:pt x="534864" y="257550"/>
                  </a:lnTo>
                  <a:lnTo>
                    <a:pt x="507451" y="290701"/>
                  </a:lnTo>
                  <a:lnTo>
                    <a:pt x="510001" y="320026"/>
                  </a:lnTo>
                  <a:lnTo>
                    <a:pt x="489601" y="345526"/>
                  </a:lnTo>
                  <a:lnTo>
                    <a:pt x="494064" y="385051"/>
                  </a:lnTo>
                  <a:lnTo>
                    <a:pt x="474301" y="399076"/>
                  </a:lnTo>
                  <a:lnTo>
                    <a:pt x="474301" y="348713"/>
                  </a:lnTo>
                  <a:lnTo>
                    <a:pt x="456451" y="386326"/>
                  </a:lnTo>
                  <a:lnTo>
                    <a:pt x="435413" y="419476"/>
                  </a:lnTo>
                  <a:lnTo>
                    <a:pt x="421388" y="430951"/>
                  </a:lnTo>
                  <a:lnTo>
                    <a:pt x="428401" y="466013"/>
                  </a:lnTo>
                  <a:lnTo>
                    <a:pt x="418838" y="502351"/>
                  </a:lnTo>
                  <a:lnTo>
                    <a:pt x="423938" y="548251"/>
                  </a:lnTo>
                  <a:lnTo>
                    <a:pt x="417563" y="570564"/>
                  </a:lnTo>
                  <a:lnTo>
                    <a:pt x="464101" y="659176"/>
                  </a:lnTo>
                  <a:lnTo>
                    <a:pt x="469839" y="692964"/>
                  </a:lnTo>
                  <a:lnTo>
                    <a:pt x="464101" y="756077"/>
                  </a:lnTo>
                  <a:lnTo>
                    <a:pt x="432864" y="826839"/>
                  </a:lnTo>
                  <a:lnTo>
                    <a:pt x="429676" y="830664"/>
                  </a:lnTo>
                  <a:lnTo>
                    <a:pt x="429676" y="830664"/>
                  </a:lnTo>
                  <a:close/>
                  <a:moveTo>
                    <a:pt x="566739" y="251175"/>
                  </a:moveTo>
                  <a:lnTo>
                    <a:pt x="550164" y="252451"/>
                  </a:lnTo>
                  <a:lnTo>
                    <a:pt x="561001" y="260101"/>
                  </a:lnTo>
                  <a:lnTo>
                    <a:pt x="566739" y="251175"/>
                  </a:lnTo>
                  <a:lnTo>
                    <a:pt x="566739" y="251175"/>
                  </a:lnTo>
                  <a:close/>
                  <a:moveTo>
                    <a:pt x="469839" y="267751"/>
                  </a:moveTo>
                  <a:lnTo>
                    <a:pt x="464739" y="267751"/>
                  </a:lnTo>
                  <a:lnTo>
                    <a:pt x="470476" y="270301"/>
                  </a:lnTo>
                  <a:lnTo>
                    <a:pt x="469839" y="267751"/>
                  </a:lnTo>
                  <a:close/>
                  <a:moveTo>
                    <a:pt x="582039" y="186788"/>
                  </a:moveTo>
                  <a:lnTo>
                    <a:pt x="575664" y="175950"/>
                  </a:lnTo>
                  <a:lnTo>
                    <a:pt x="573114" y="176588"/>
                  </a:lnTo>
                  <a:lnTo>
                    <a:pt x="582039" y="186788"/>
                  </a:lnTo>
                  <a:lnTo>
                    <a:pt x="582039" y="186788"/>
                  </a:lnTo>
                  <a:close/>
                  <a:moveTo>
                    <a:pt x="0" y="233326"/>
                  </a:moveTo>
                  <a:lnTo>
                    <a:pt x="20400" y="244800"/>
                  </a:lnTo>
                  <a:lnTo>
                    <a:pt x="125588" y="277313"/>
                  </a:lnTo>
                  <a:lnTo>
                    <a:pt x="174676" y="290063"/>
                  </a:lnTo>
                  <a:lnTo>
                    <a:pt x="222488" y="293251"/>
                  </a:lnTo>
                  <a:lnTo>
                    <a:pt x="256913" y="321938"/>
                  </a:lnTo>
                  <a:lnTo>
                    <a:pt x="256913" y="365926"/>
                  </a:lnTo>
                  <a:lnTo>
                    <a:pt x="288151" y="397163"/>
                  </a:lnTo>
                  <a:lnTo>
                    <a:pt x="288151" y="395888"/>
                  </a:lnTo>
                  <a:lnTo>
                    <a:pt x="313013" y="323213"/>
                  </a:lnTo>
                  <a:lnTo>
                    <a:pt x="343613" y="302176"/>
                  </a:lnTo>
                  <a:lnTo>
                    <a:pt x="366563" y="276676"/>
                  </a:lnTo>
                  <a:lnTo>
                    <a:pt x="370388" y="299626"/>
                  </a:lnTo>
                  <a:lnTo>
                    <a:pt x="393976" y="263288"/>
                  </a:lnTo>
                  <a:lnTo>
                    <a:pt x="450713" y="241613"/>
                  </a:lnTo>
                  <a:lnTo>
                    <a:pt x="455176" y="232050"/>
                  </a:lnTo>
                  <a:lnTo>
                    <a:pt x="512551" y="239063"/>
                  </a:lnTo>
                  <a:lnTo>
                    <a:pt x="534864" y="250538"/>
                  </a:lnTo>
                  <a:lnTo>
                    <a:pt x="546339" y="221851"/>
                  </a:lnTo>
                  <a:lnTo>
                    <a:pt x="557176" y="228226"/>
                  </a:lnTo>
                  <a:lnTo>
                    <a:pt x="602439" y="221213"/>
                  </a:lnTo>
                  <a:lnTo>
                    <a:pt x="590964" y="203363"/>
                  </a:lnTo>
                  <a:lnTo>
                    <a:pt x="571201" y="191888"/>
                  </a:lnTo>
                  <a:lnTo>
                    <a:pt x="575026" y="150450"/>
                  </a:lnTo>
                  <a:lnTo>
                    <a:pt x="536138" y="172125"/>
                  </a:lnTo>
                  <a:lnTo>
                    <a:pt x="500439" y="167663"/>
                  </a:lnTo>
                  <a:lnTo>
                    <a:pt x="488964" y="139613"/>
                  </a:lnTo>
                  <a:lnTo>
                    <a:pt x="492788" y="130050"/>
                  </a:lnTo>
                  <a:lnTo>
                    <a:pt x="443701" y="153000"/>
                  </a:lnTo>
                  <a:lnTo>
                    <a:pt x="411826" y="154913"/>
                  </a:lnTo>
                  <a:lnTo>
                    <a:pt x="355726" y="189338"/>
                  </a:lnTo>
                  <a:lnTo>
                    <a:pt x="349351" y="202088"/>
                  </a:lnTo>
                  <a:lnTo>
                    <a:pt x="314926" y="193800"/>
                  </a:lnTo>
                  <a:lnTo>
                    <a:pt x="293251" y="204000"/>
                  </a:lnTo>
                  <a:lnTo>
                    <a:pt x="249263" y="166388"/>
                  </a:lnTo>
                  <a:lnTo>
                    <a:pt x="151725" y="136425"/>
                  </a:lnTo>
                  <a:lnTo>
                    <a:pt x="149813" y="124950"/>
                  </a:lnTo>
                  <a:lnTo>
                    <a:pt x="87338" y="184238"/>
                  </a:lnTo>
                  <a:lnTo>
                    <a:pt x="52275" y="193800"/>
                  </a:lnTo>
                  <a:lnTo>
                    <a:pt x="1912" y="231413"/>
                  </a:lnTo>
                  <a:lnTo>
                    <a:pt x="0" y="233326"/>
                  </a:lnTo>
                  <a:lnTo>
                    <a:pt x="0" y="233326"/>
                  </a:lnTo>
                  <a:close/>
                  <a:moveTo>
                    <a:pt x="227588" y="87975"/>
                  </a:moveTo>
                  <a:lnTo>
                    <a:pt x="152363" y="124950"/>
                  </a:lnTo>
                  <a:lnTo>
                    <a:pt x="177225" y="149175"/>
                  </a:lnTo>
                  <a:lnTo>
                    <a:pt x="187426" y="124950"/>
                  </a:lnTo>
                  <a:lnTo>
                    <a:pt x="212926" y="93075"/>
                  </a:lnTo>
                  <a:lnTo>
                    <a:pt x="227588" y="87975"/>
                  </a:lnTo>
                  <a:lnTo>
                    <a:pt x="227588" y="87975"/>
                  </a:lnTo>
                  <a:close/>
                  <a:moveTo>
                    <a:pt x="143438" y="0"/>
                  </a:moveTo>
                  <a:lnTo>
                    <a:pt x="91800" y="35063"/>
                  </a:lnTo>
                  <a:lnTo>
                    <a:pt x="89250" y="52275"/>
                  </a:lnTo>
                  <a:lnTo>
                    <a:pt x="129413" y="22313"/>
                  </a:lnTo>
                  <a:lnTo>
                    <a:pt x="143438"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088" name="Freeform 27">
              <a:extLst>
                <a:ext uri="{FF2B5EF4-FFF2-40B4-BE49-F238E27FC236}">
                  <a16:creationId xmlns:a16="http://schemas.microsoft.com/office/drawing/2014/main" id="{D346BC86-EDC8-D3ED-07C4-94E3626EC497}"/>
                </a:ext>
              </a:extLst>
            </p:cNvPr>
            <p:cNvSpPr/>
            <p:nvPr/>
          </p:nvSpPr>
          <p:spPr>
            <a:xfrm>
              <a:off x="3387874" y="2377861"/>
              <a:ext cx="762451" cy="586501"/>
            </a:xfrm>
            <a:custGeom>
              <a:avLst/>
              <a:gdLst>
                <a:gd name="connsiteX0" fmla="*/ 759902 w 762451"/>
                <a:gd name="connsiteY0" fmla="*/ 174038 h 586501"/>
                <a:gd name="connsiteX1" fmla="*/ 762452 w 762451"/>
                <a:gd name="connsiteY1" fmla="*/ 48450 h 586501"/>
                <a:gd name="connsiteX2" fmla="*/ 731214 w 762451"/>
                <a:gd name="connsiteY2" fmla="*/ 47175 h 586501"/>
                <a:gd name="connsiteX3" fmla="*/ 574389 w 762451"/>
                <a:gd name="connsiteY3" fmla="*/ 41438 h 586501"/>
                <a:gd name="connsiteX4" fmla="*/ 559089 w 762451"/>
                <a:gd name="connsiteY4" fmla="*/ 40800 h 586501"/>
                <a:gd name="connsiteX5" fmla="*/ 546339 w 762451"/>
                <a:gd name="connsiteY5" fmla="*/ 40163 h 586501"/>
                <a:gd name="connsiteX6" fmla="*/ 355726 w 762451"/>
                <a:gd name="connsiteY6" fmla="*/ 28050 h 586501"/>
                <a:gd name="connsiteX7" fmla="*/ 228863 w 762451"/>
                <a:gd name="connsiteY7" fmla="*/ 17213 h 586501"/>
                <a:gd name="connsiteX8" fmla="*/ 70125 w 762451"/>
                <a:gd name="connsiteY8" fmla="*/ 1913 h 586501"/>
                <a:gd name="connsiteX9" fmla="*/ 54825 w 762451"/>
                <a:gd name="connsiteY9" fmla="*/ 0 h 586501"/>
                <a:gd name="connsiteX10" fmla="*/ 52913 w 762451"/>
                <a:gd name="connsiteY10" fmla="*/ 16575 h 586501"/>
                <a:gd name="connsiteX11" fmla="*/ 18487 w 762451"/>
                <a:gd name="connsiteY11" fmla="*/ 351263 h 586501"/>
                <a:gd name="connsiteX12" fmla="*/ 6375 w 762451"/>
                <a:gd name="connsiteY12" fmla="*/ 468563 h 586501"/>
                <a:gd name="connsiteX13" fmla="*/ 1275 w 762451"/>
                <a:gd name="connsiteY13" fmla="*/ 519564 h 586501"/>
                <a:gd name="connsiteX14" fmla="*/ 0 w 762451"/>
                <a:gd name="connsiteY14" fmla="*/ 536139 h 586501"/>
                <a:gd name="connsiteX15" fmla="*/ 19763 w 762451"/>
                <a:gd name="connsiteY15" fmla="*/ 538051 h 586501"/>
                <a:gd name="connsiteX16" fmla="*/ 343613 w 762451"/>
                <a:gd name="connsiteY16" fmla="*/ 566739 h 586501"/>
                <a:gd name="connsiteX17" fmla="*/ 485776 w 762451"/>
                <a:gd name="connsiteY17" fmla="*/ 576301 h 586501"/>
                <a:gd name="connsiteX18" fmla="*/ 627939 w 762451"/>
                <a:gd name="connsiteY18" fmla="*/ 582676 h 586501"/>
                <a:gd name="connsiteX19" fmla="*/ 648339 w 762451"/>
                <a:gd name="connsiteY19" fmla="*/ 583314 h 586501"/>
                <a:gd name="connsiteX20" fmla="*/ 661089 w 762451"/>
                <a:gd name="connsiteY20" fmla="*/ 583951 h 586501"/>
                <a:gd name="connsiteX21" fmla="*/ 688501 w 762451"/>
                <a:gd name="connsiteY21" fmla="*/ 584589 h 586501"/>
                <a:gd name="connsiteX22" fmla="*/ 701251 w 762451"/>
                <a:gd name="connsiteY22" fmla="*/ 585226 h 586501"/>
                <a:gd name="connsiteX23" fmla="*/ 741414 w 762451"/>
                <a:gd name="connsiteY23" fmla="*/ 586501 h 586501"/>
                <a:gd name="connsiteX24" fmla="*/ 752252 w 762451"/>
                <a:gd name="connsiteY24" fmla="*/ 586501 h 586501"/>
                <a:gd name="connsiteX25" fmla="*/ 752252 w 762451"/>
                <a:gd name="connsiteY25" fmla="*/ 573751 h 586501"/>
                <a:gd name="connsiteX26" fmla="*/ 759264 w 762451"/>
                <a:gd name="connsiteY26" fmla="*/ 233963 h 586501"/>
                <a:gd name="connsiteX27" fmla="*/ 759902 w 762451"/>
                <a:gd name="connsiteY27" fmla="*/ 196351 h 586501"/>
                <a:gd name="connsiteX28" fmla="*/ 759902 w 762451"/>
                <a:gd name="connsiteY28" fmla="*/ 184238 h 586501"/>
                <a:gd name="connsiteX29" fmla="*/ 759902 w 762451"/>
                <a:gd name="connsiteY29" fmla="*/ 174038 h 586501"/>
                <a:gd name="connsiteX30" fmla="*/ 759902 w 762451"/>
                <a:gd name="connsiteY30" fmla="*/ 174038 h 5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2451" h="586501">
                  <a:moveTo>
                    <a:pt x="759902" y="174038"/>
                  </a:moveTo>
                  <a:lnTo>
                    <a:pt x="762452" y="48450"/>
                  </a:lnTo>
                  <a:lnTo>
                    <a:pt x="731214" y="47175"/>
                  </a:lnTo>
                  <a:lnTo>
                    <a:pt x="574389" y="41438"/>
                  </a:lnTo>
                  <a:lnTo>
                    <a:pt x="559089" y="40800"/>
                  </a:lnTo>
                  <a:lnTo>
                    <a:pt x="546339" y="40163"/>
                  </a:lnTo>
                  <a:lnTo>
                    <a:pt x="355726" y="28050"/>
                  </a:lnTo>
                  <a:lnTo>
                    <a:pt x="228863" y="17213"/>
                  </a:lnTo>
                  <a:lnTo>
                    <a:pt x="70125" y="1913"/>
                  </a:lnTo>
                  <a:lnTo>
                    <a:pt x="54825" y="0"/>
                  </a:lnTo>
                  <a:lnTo>
                    <a:pt x="52913" y="16575"/>
                  </a:lnTo>
                  <a:lnTo>
                    <a:pt x="18487" y="351263"/>
                  </a:lnTo>
                  <a:lnTo>
                    <a:pt x="6375" y="468563"/>
                  </a:lnTo>
                  <a:lnTo>
                    <a:pt x="1275" y="519564"/>
                  </a:lnTo>
                  <a:lnTo>
                    <a:pt x="0" y="536139"/>
                  </a:lnTo>
                  <a:lnTo>
                    <a:pt x="19763" y="538051"/>
                  </a:lnTo>
                  <a:lnTo>
                    <a:pt x="343613" y="566739"/>
                  </a:lnTo>
                  <a:lnTo>
                    <a:pt x="485776" y="576301"/>
                  </a:lnTo>
                  <a:lnTo>
                    <a:pt x="627939" y="582676"/>
                  </a:lnTo>
                  <a:lnTo>
                    <a:pt x="648339" y="583314"/>
                  </a:lnTo>
                  <a:lnTo>
                    <a:pt x="661089" y="583951"/>
                  </a:lnTo>
                  <a:lnTo>
                    <a:pt x="688501" y="584589"/>
                  </a:lnTo>
                  <a:lnTo>
                    <a:pt x="701251" y="585226"/>
                  </a:lnTo>
                  <a:lnTo>
                    <a:pt x="741414" y="586501"/>
                  </a:lnTo>
                  <a:lnTo>
                    <a:pt x="752252" y="586501"/>
                  </a:lnTo>
                  <a:lnTo>
                    <a:pt x="752252" y="573751"/>
                  </a:lnTo>
                  <a:lnTo>
                    <a:pt x="759264" y="233963"/>
                  </a:lnTo>
                  <a:lnTo>
                    <a:pt x="759902" y="196351"/>
                  </a:lnTo>
                  <a:lnTo>
                    <a:pt x="759902" y="184238"/>
                  </a:lnTo>
                  <a:lnTo>
                    <a:pt x="759902" y="174038"/>
                  </a:lnTo>
                  <a:lnTo>
                    <a:pt x="759902" y="174038"/>
                  </a:lnTo>
                  <a:close/>
                </a:path>
              </a:pathLst>
            </a:custGeom>
            <a:solidFill>
              <a:schemeClr val="bg2"/>
            </a:solidFill>
            <a:ln w="28575" cap="flat">
              <a:solidFill>
                <a:schemeClr val="accent5"/>
              </a:solidFill>
              <a:prstDash val="solid"/>
              <a:miter/>
            </a:ln>
          </p:spPr>
          <p:txBody>
            <a:bodyPr rtlCol="0" anchor="ctr"/>
            <a:lstStyle/>
            <a:p>
              <a:endParaRPr lang="en-KR" sz="1350"/>
            </a:p>
          </p:txBody>
        </p:sp>
      </p:grpSp>
      <p:sp>
        <p:nvSpPr>
          <p:cNvPr id="1231" name="Rectangle 1230">
            <a:extLst>
              <a:ext uri="{FF2B5EF4-FFF2-40B4-BE49-F238E27FC236}">
                <a16:creationId xmlns:a16="http://schemas.microsoft.com/office/drawing/2014/main" id="{A1CBDCC4-2802-2022-6530-0C498424AD50}"/>
              </a:ext>
            </a:extLst>
          </p:cNvPr>
          <p:cNvSpPr/>
          <p:nvPr/>
        </p:nvSpPr>
        <p:spPr>
          <a:xfrm>
            <a:off x="5338585" y="3883801"/>
            <a:ext cx="91570" cy="91570"/>
          </a:xfrm>
          <a:prstGeom prst="rect">
            <a:avLst/>
          </a:prstGeom>
          <a:solidFill>
            <a:schemeClr val="bg2"/>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1232" name="Rectangle 1231">
            <a:extLst>
              <a:ext uri="{FF2B5EF4-FFF2-40B4-BE49-F238E27FC236}">
                <a16:creationId xmlns:a16="http://schemas.microsoft.com/office/drawing/2014/main" id="{5D9F602C-612B-207F-B9C9-17E12A095EE7}"/>
              </a:ext>
            </a:extLst>
          </p:cNvPr>
          <p:cNvSpPr/>
          <p:nvPr/>
        </p:nvSpPr>
        <p:spPr>
          <a:xfrm>
            <a:off x="5338585" y="4010440"/>
            <a:ext cx="91570" cy="915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spcAft>
                <a:spcPts val="450"/>
              </a:spcAft>
            </a:pPr>
            <a:endParaRPr lang="en-US" sz="1200"/>
          </a:p>
        </p:txBody>
      </p:sp>
      <p:sp>
        <p:nvSpPr>
          <p:cNvPr id="1234" name="TextBox 1233">
            <a:extLst>
              <a:ext uri="{FF2B5EF4-FFF2-40B4-BE49-F238E27FC236}">
                <a16:creationId xmlns:a16="http://schemas.microsoft.com/office/drawing/2014/main" id="{08AA6F07-2723-5370-21A2-10C35B79F500}"/>
              </a:ext>
            </a:extLst>
          </p:cNvPr>
          <p:cNvSpPr txBox="1"/>
          <p:nvPr/>
        </p:nvSpPr>
        <p:spPr>
          <a:xfrm>
            <a:off x="5486656" y="3978293"/>
            <a:ext cx="1431997" cy="161583"/>
          </a:xfrm>
          <a:prstGeom prst="rect">
            <a:avLst/>
          </a:prstGeom>
          <a:noFill/>
        </p:spPr>
        <p:txBody>
          <a:bodyPr rot="0" spcFirstLastPara="0" vertOverflow="overflow" horzOverflow="overflow" vert="horz" wrap="square" lIns="0" tIns="34290" rIns="0" bIns="34290" numCol="1" spcCol="0" rtlCol="0" fromWordArt="0" anchor="t" anchorCtr="0" forceAA="0" compatLnSpc="1">
            <a:prstTxWarp prst="textNoShape">
              <a:avLst/>
            </a:prstTxWarp>
            <a:spAutoFit/>
          </a:bodyPr>
          <a:lstStyle/>
          <a:p>
            <a:pPr>
              <a:spcAft>
                <a:spcPts val="450"/>
              </a:spcAft>
            </a:pPr>
            <a:r>
              <a:rPr lang="en-US" sz="600">
                <a:cs typeface="Arial"/>
              </a:rPr>
              <a:t>New Covered Open State</a:t>
            </a:r>
          </a:p>
        </p:txBody>
      </p:sp>
      <p:sp>
        <p:nvSpPr>
          <p:cNvPr id="1235" name="TextBox 1234">
            <a:extLst>
              <a:ext uri="{FF2B5EF4-FFF2-40B4-BE49-F238E27FC236}">
                <a16:creationId xmlns:a16="http://schemas.microsoft.com/office/drawing/2014/main" id="{71C96444-2C44-F858-E5D4-AE441C3C804F}"/>
              </a:ext>
            </a:extLst>
          </p:cNvPr>
          <p:cNvSpPr txBox="1"/>
          <p:nvPr/>
        </p:nvSpPr>
        <p:spPr>
          <a:xfrm>
            <a:off x="5486656" y="3861395"/>
            <a:ext cx="1431997" cy="161583"/>
          </a:xfrm>
          <a:prstGeom prst="rect">
            <a:avLst/>
          </a:prstGeom>
          <a:noFill/>
        </p:spPr>
        <p:txBody>
          <a:bodyPr rot="0" spcFirstLastPara="0" vertOverflow="overflow" horzOverflow="overflow" vert="horz" wrap="square" lIns="0" tIns="34290" rIns="0" bIns="34290" numCol="1" spcCol="0" rtlCol="0" fromWordArt="0" anchor="t" anchorCtr="0" forceAA="0" compatLnSpc="1">
            <a:prstTxWarp prst="textNoShape">
              <a:avLst/>
            </a:prstTxWarp>
            <a:spAutoFit/>
          </a:bodyPr>
          <a:lstStyle/>
          <a:p>
            <a:pPr>
              <a:spcAft>
                <a:spcPts val="450"/>
              </a:spcAft>
            </a:pPr>
            <a:r>
              <a:rPr lang="en-US" sz="600">
                <a:cs typeface="Arial"/>
              </a:rPr>
              <a:t>Stateline</a:t>
            </a:r>
          </a:p>
        </p:txBody>
      </p:sp>
      <p:grpSp>
        <p:nvGrpSpPr>
          <p:cNvPr id="1236" name="Group 1235">
            <a:extLst>
              <a:ext uri="{FF2B5EF4-FFF2-40B4-BE49-F238E27FC236}">
                <a16:creationId xmlns:a16="http://schemas.microsoft.com/office/drawing/2014/main" id="{F5F7E641-9B94-1FA6-F5E0-FB0A16DBEBEC}"/>
              </a:ext>
            </a:extLst>
          </p:cNvPr>
          <p:cNvGrpSpPr/>
          <p:nvPr/>
        </p:nvGrpSpPr>
        <p:grpSpPr>
          <a:xfrm>
            <a:off x="6166029" y="2470394"/>
            <a:ext cx="2051887" cy="1208730"/>
            <a:chOff x="1902496" y="1004683"/>
            <a:chExt cx="5501636" cy="3438682"/>
          </a:xfrm>
        </p:grpSpPr>
        <p:sp>
          <p:nvSpPr>
            <p:cNvPr id="1237" name="Freeform 18">
              <a:extLst>
                <a:ext uri="{FF2B5EF4-FFF2-40B4-BE49-F238E27FC236}">
                  <a16:creationId xmlns:a16="http://schemas.microsoft.com/office/drawing/2014/main" id="{F0AFCE26-03B4-ACFD-CED9-5EB04D974751}"/>
                </a:ext>
              </a:extLst>
            </p:cNvPr>
            <p:cNvSpPr/>
            <p:nvPr/>
          </p:nvSpPr>
          <p:spPr>
            <a:xfrm>
              <a:off x="6942581" y="1666410"/>
              <a:ext cx="355088" cy="208462"/>
            </a:xfrm>
            <a:custGeom>
              <a:avLst/>
              <a:gdLst>
                <a:gd name="connsiteX0" fmla="*/ 293251 w 355088"/>
                <a:gd name="connsiteY0" fmla="*/ 207825 h 208462"/>
                <a:gd name="connsiteX1" fmla="*/ 291338 w 355088"/>
                <a:gd name="connsiteY1" fmla="*/ 206550 h 208462"/>
                <a:gd name="connsiteX2" fmla="*/ 291338 w 355088"/>
                <a:gd name="connsiteY2" fmla="*/ 208463 h 208462"/>
                <a:gd name="connsiteX3" fmla="*/ 293251 w 355088"/>
                <a:gd name="connsiteY3" fmla="*/ 207825 h 208462"/>
                <a:gd name="connsiteX4" fmla="*/ 293251 w 355088"/>
                <a:gd name="connsiteY4" fmla="*/ 207825 h 208462"/>
                <a:gd name="connsiteX5" fmla="*/ 274126 w 355088"/>
                <a:gd name="connsiteY5" fmla="*/ 189975 h 208462"/>
                <a:gd name="connsiteX6" fmla="*/ 278588 w 355088"/>
                <a:gd name="connsiteY6" fmla="*/ 188063 h 208462"/>
                <a:gd name="connsiteX7" fmla="*/ 278588 w 355088"/>
                <a:gd name="connsiteY7" fmla="*/ 185513 h 208462"/>
                <a:gd name="connsiteX8" fmla="*/ 274126 w 355088"/>
                <a:gd name="connsiteY8" fmla="*/ 189975 h 208462"/>
                <a:gd name="connsiteX9" fmla="*/ 274126 w 355088"/>
                <a:gd name="connsiteY9" fmla="*/ 189975 h 208462"/>
                <a:gd name="connsiteX10" fmla="*/ 353813 w 355088"/>
                <a:gd name="connsiteY10" fmla="*/ 140250 h 208462"/>
                <a:gd name="connsiteX11" fmla="*/ 353176 w 355088"/>
                <a:gd name="connsiteY11" fmla="*/ 130688 h 208462"/>
                <a:gd name="connsiteX12" fmla="*/ 351901 w 355088"/>
                <a:gd name="connsiteY12" fmla="*/ 125588 h 208462"/>
                <a:gd name="connsiteX13" fmla="*/ 353813 w 355088"/>
                <a:gd name="connsiteY13" fmla="*/ 140250 h 208462"/>
                <a:gd name="connsiteX14" fmla="*/ 73313 w 355088"/>
                <a:gd name="connsiteY14" fmla="*/ 73950 h 208462"/>
                <a:gd name="connsiteX15" fmla="*/ 68850 w 355088"/>
                <a:gd name="connsiteY15" fmla="*/ 75863 h 208462"/>
                <a:gd name="connsiteX16" fmla="*/ 32513 w 355088"/>
                <a:gd name="connsiteY16" fmla="*/ 87338 h 208462"/>
                <a:gd name="connsiteX17" fmla="*/ 19763 w 355088"/>
                <a:gd name="connsiteY17" fmla="*/ 91800 h 208462"/>
                <a:gd name="connsiteX18" fmla="*/ 5100 w 355088"/>
                <a:gd name="connsiteY18" fmla="*/ 96263 h 208462"/>
                <a:gd name="connsiteX19" fmla="*/ 0 w 355088"/>
                <a:gd name="connsiteY19" fmla="*/ 98175 h 208462"/>
                <a:gd name="connsiteX20" fmla="*/ 0 w 355088"/>
                <a:gd name="connsiteY20" fmla="*/ 100088 h 208462"/>
                <a:gd name="connsiteX21" fmla="*/ 1913 w 355088"/>
                <a:gd name="connsiteY21" fmla="*/ 133238 h 208462"/>
                <a:gd name="connsiteX22" fmla="*/ 3825 w 355088"/>
                <a:gd name="connsiteY22" fmla="*/ 164475 h 208462"/>
                <a:gd name="connsiteX23" fmla="*/ 5738 w 355088"/>
                <a:gd name="connsiteY23" fmla="*/ 193163 h 208462"/>
                <a:gd name="connsiteX24" fmla="*/ 8925 w 355088"/>
                <a:gd name="connsiteY24" fmla="*/ 195075 h 208462"/>
                <a:gd name="connsiteX25" fmla="*/ 20400 w 355088"/>
                <a:gd name="connsiteY25" fmla="*/ 191888 h 208462"/>
                <a:gd name="connsiteX26" fmla="*/ 72675 w 355088"/>
                <a:gd name="connsiteY26" fmla="*/ 176588 h 208462"/>
                <a:gd name="connsiteX27" fmla="*/ 73950 w 355088"/>
                <a:gd name="connsiteY27" fmla="*/ 179775 h 208462"/>
                <a:gd name="connsiteX28" fmla="*/ 166388 w 355088"/>
                <a:gd name="connsiteY28" fmla="*/ 144713 h 208462"/>
                <a:gd name="connsiteX29" fmla="*/ 167025 w 355088"/>
                <a:gd name="connsiteY29" fmla="*/ 145988 h 208462"/>
                <a:gd name="connsiteX30" fmla="*/ 175313 w 355088"/>
                <a:gd name="connsiteY30" fmla="*/ 142800 h 208462"/>
                <a:gd name="connsiteX31" fmla="*/ 205275 w 355088"/>
                <a:gd name="connsiteY31" fmla="*/ 131325 h 208462"/>
                <a:gd name="connsiteX32" fmla="*/ 233963 w 355088"/>
                <a:gd name="connsiteY32" fmla="*/ 165113 h 208462"/>
                <a:gd name="connsiteX33" fmla="*/ 233963 w 355088"/>
                <a:gd name="connsiteY33" fmla="*/ 165113 h 208462"/>
                <a:gd name="connsiteX34" fmla="*/ 237788 w 355088"/>
                <a:gd name="connsiteY34" fmla="*/ 161925 h 208462"/>
                <a:gd name="connsiteX35" fmla="*/ 239701 w 355088"/>
                <a:gd name="connsiteY35" fmla="*/ 151725 h 208462"/>
                <a:gd name="connsiteX36" fmla="*/ 239063 w 355088"/>
                <a:gd name="connsiteY36" fmla="*/ 167025 h 208462"/>
                <a:gd name="connsiteX37" fmla="*/ 239063 w 355088"/>
                <a:gd name="connsiteY37" fmla="*/ 167025 h 208462"/>
                <a:gd name="connsiteX38" fmla="*/ 245438 w 355088"/>
                <a:gd name="connsiteY38" fmla="*/ 167025 h 208462"/>
                <a:gd name="connsiteX39" fmla="*/ 247351 w 355088"/>
                <a:gd name="connsiteY39" fmla="*/ 174675 h 208462"/>
                <a:gd name="connsiteX40" fmla="*/ 253088 w 355088"/>
                <a:gd name="connsiteY40" fmla="*/ 186150 h 208462"/>
                <a:gd name="connsiteX41" fmla="*/ 253088 w 355088"/>
                <a:gd name="connsiteY41" fmla="*/ 186150 h 208462"/>
                <a:gd name="connsiteX42" fmla="*/ 283688 w 355088"/>
                <a:gd name="connsiteY42" fmla="*/ 149813 h 208462"/>
                <a:gd name="connsiteX43" fmla="*/ 308551 w 355088"/>
                <a:gd name="connsiteY43" fmla="*/ 158100 h 208462"/>
                <a:gd name="connsiteX44" fmla="*/ 314288 w 355088"/>
                <a:gd name="connsiteY44" fmla="*/ 145350 h 208462"/>
                <a:gd name="connsiteX45" fmla="*/ 355088 w 355088"/>
                <a:gd name="connsiteY45" fmla="*/ 123675 h 208462"/>
                <a:gd name="connsiteX46" fmla="*/ 337876 w 355088"/>
                <a:gd name="connsiteY46" fmla="*/ 89888 h 208462"/>
                <a:gd name="connsiteX47" fmla="*/ 342338 w 355088"/>
                <a:gd name="connsiteY47" fmla="*/ 111563 h 208462"/>
                <a:gd name="connsiteX48" fmla="*/ 321301 w 355088"/>
                <a:gd name="connsiteY48" fmla="*/ 127500 h 208462"/>
                <a:gd name="connsiteX49" fmla="*/ 297713 w 355088"/>
                <a:gd name="connsiteY49" fmla="*/ 129413 h 208462"/>
                <a:gd name="connsiteX50" fmla="*/ 249901 w 355088"/>
                <a:gd name="connsiteY50" fmla="*/ 78413 h 208462"/>
                <a:gd name="connsiteX51" fmla="*/ 228863 w 355088"/>
                <a:gd name="connsiteY51" fmla="*/ 45900 h 208462"/>
                <a:gd name="connsiteX52" fmla="*/ 249901 w 355088"/>
                <a:gd name="connsiteY52" fmla="*/ 23587 h 208462"/>
                <a:gd name="connsiteX53" fmla="*/ 228226 w 355088"/>
                <a:gd name="connsiteY53" fmla="*/ 22313 h 208462"/>
                <a:gd name="connsiteX54" fmla="*/ 218663 w 355088"/>
                <a:gd name="connsiteY54" fmla="*/ 1275 h 208462"/>
                <a:gd name="connsiteX55" fmla="*/ 218026 w 355088"/>
                <a:gd name="connsiteY55" fmla="*/ 0 h 208462"/>
                <a:gd name="connsiteX56" fmla="*/ 181688 w 355088"/>
                <a:gd name="connsiteY56" fmla="*/ 39525 h 208462"/>
                <a:gd name="connsiteX57" fmla="*/ 100726 w 355088"/>
                <a:gd name="connsiteY57" fmla="*/ 66938 h 208462"/>
                <a:gd name="connsiteX58" fmla="*/ 73313 w 355088"/>
                <a:gd name="connsiteY58" fmla="*/ 73950 h 208462"/>
                <a:gd name="connsiteX59" fmla="*/ 73313 w 355088"/>
                <a:gd name="connsiteY59" fmla="*/ 73950 h 2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5088" h="208462">
                  <a:moveTo>
                    <a:pt x="293251" y="207825"/>
                  </a:moveTo>
                  <a:lnTo>
                    <a:pt x="291338" y="206550"/>
                  </a:lnTo>
                  <a:lnTo>
                    <a:pt x="291338" y="208463"/>
                  </a:lnTo>
                  <a:lnTo>
                    <a:pt x="293251" y="207825"/>
                  </a:lnTo>
                  <a:lnTo>
                    <a:pt x="293251" y="207825"/>
                  </a:lnTo>
                  <a:close/>
                  <a:moveTo>
                    <a:pt x="274126" y="189975"/>
                  </a:moveTo>
                  <a:lnTo>
                    <a:pt x="278588" y="188063"/>
                  </a:lnTo>
                  <a:lnTo>
                    <a:pt x="278588" y="185513"/>
                  </a:lnTo>
                  <a:lnTo>
                    <a:pt x="274126" y="189975"/>
                  </a:lnTo>
                  <a:lnTo>
                    <a:pt x="274126" y="189975"/>
                  </a:lnTo>
                  <a:close/>
                  <a:moveTo>
                    <a:pt x="353813" y="140250"/>
                  </a:moveTo>
                  <a:lnTo>
                    <a:pt x="353176" y="130688"/>
                  </a:lnTo>
                  <a:lnTo>
                    <a:pt x="351901" y="125588"/>
                  </a:lnTo>
                  <a:lnTo>
                    <a:pt x="353813" y="140250"/>
                  </a:lnTo>
                  <a:close/>
                  <a:moveTo>
                    <a:pt x="73313" y="73950"/>
                  </a:moveTo>
                  <a:lnTo>
                    <a:pt x="68850" y="75863"/>
                  </a:lnTo>
                  <a:lnTo>
                    <a:pt x="32513" y="87338"/>
                  </a:lnTo>
                  <a:lnTo>
                    <a:pt x="19763" y="91800"/>
                  </a:lnTo>
                  <a:lnTo>
                    <a:pt x="5100" y="96263"/>
                  </a:lnTo>
                  <a:lnTo>
                    <a:pt x="0" y="98175"/>
                  </a:lnTo>
                  <a:lnTo>
                    <a:pt x="0" y="100088"/>
                  </a:lnTo>
                  <a:lnTo>
                    <a:pt x="1913" y="133238"/>
                  </a:lnTo>
                  <a:lnTo>
                    <a:pt x="3825" y="164475"/>
                  </a:lnTo>
                  <a:lnTo>
                    <a:pt x="5738" y="193163"/>
                  </a:lnTo>
                  <a:lnTo>
                    <a:pt x="8925" y="195075"/>
                  </a:lnTo>
                  <a:lnTo>
                    <a:pt x="20400" y="191888"/>
                  </a:lnTo>
                  <a:lnTo>
                    <a:pt x="72675" y="176588"/>
                  </a:lnTo>
                  <a:lnTo>
                    <a:pt x="73950" y="179775"/>
                  </a:lnTo>
                  <a:lnTo>
                    <a:pt x="166388" y="144713"/>
                  </a:lnTo>
                  <a:lnTo>
                    <a:pt x="167025" y="145988"/>
                  </a:lnTo>
                  <a:lnTo>
                    <a:pt x="175313" y="142800"/>
                  </a:lnTo>
                  <a:lnTo>
                    <a:pt x="205275" y="131325"/>
                  </a:lnTo>
                  <a:lnTo>
                    <a:pt x="233963" y="165113"/>
                  </a:lnTo>
                  <a:lnTo>
                    <a:pt x="233963" y="165113"/>
                  </a:lnTo>
                  <a:lnTo>
                    <a:pt x="237788" y="161925"/>
                  </a:lnTo>
                  <a:lnTo>
                    <a:pt x="239701" y="151725"/>
                  </a:lnTo>
                  <a:lnTo>
                    <a:pt x="239063" y="167025"/>
                  </a:lnTo>
                  <a:lnTo>
                    <a:pt x="239063" y="167025"/>
                  </a:lnTo>
                  <a:lnTo>
                    <a:pt x="245438" y="167025"/>
                  </a:lnTo>
                  <a:lnTo>
                    <a:pt x="247351" y="174675"/>
                  </a:lnTo>
                  <a:lnTo>
                    <a:pt x="253088" y="186150"/>
                  </a:lnTo>
                  <a:lnTo>
                    <a:pt x="253088" y="186150"/>
                  </a:lnTo>
                  <a:lnTo>
                    <a:pt x="283688" y="149813"/>
                  </a:lnTo>
                  <a:lnTo>
                    <a:pt x="308551" y="158100"/>
                  </a:lnTo>
                  <a:lnTo>
                    <a:pt x="314288" y="145350"/>
                  </a:lnTo>
                  <a:lnTo>
                    <a:pt x="355088" y="123675"/>
                  </a:lnTo>
                  <a:lnTo>
                    <a:pt x="337876" y="89888"/>
                  </a:lnTo>
                  <a:lnTo>
                    <a:pt x="342338" y="111563"/>
                  </a:lnTo>
                  <a:lnTo>
                    <a:pt x="321301" y="127500"/>
                  </a:lnTo>
                  <a:lnTo>
                    <a:pt x="297713" y="129413"/>
                  </a:lnTo>
                  <a:lnTo>
                    <a:pt x="249901" y="78413"/>
                  </a:lnTo>
                  <a:lnTo>
                    <a:pt x="228863" y="45900"/>
                  </a:lnTo>
                  <a:lnTo>
                    <a:pt x="249901" y="23587"/>
                  </a:lnTo>
                  <a:lnTo>
                    <a:pt x="228226" y="22313"/>
                  </a:lnTo>
                  <a:lnTo>
                    <a:pt x="218663" y="1275"/>
                  </a:lnTo>
                  <a:lnTo>
                    <a:pt x="218026" y="0"/>
                  </a:lnTo>
                  <a:lnTo>
                    <a:pt x="181688" y="39525"/>
                  </a:lnTo>
                  <a:lnTo>
                    <a:pt x="100726" y="66938"/>
                  </a:lnTo>
                  <a:lnTo>
                    <a:pt x="73313" y="73950"/>
                  </a:lnTo>
                  <a:lnTo>
                    <a:pt x="73313" y="739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38" name="Freeform 19">
              <a:extLst>
                <a:ext uri="{FF2B5EF4-FFF2-40B4-BE49-F238E27FC236}">
                  <a16:creationId xmlns:a16="http://schemas.microsoft.com/office/drawing/2014/main" id="{03682663-6589-97B0-09E9-77143245B3E5}"/>
                </a:ext>
              </a:extLst>
            </p:cNvPr>
            <p:cNvSpPr/>
            <p:nvPr/>
          </p:nvSpPr>
          <p:spPr>
            <a:xfrm>
              <a:off x="4603589" y="1289009"/>
              <a:ext cx="687863" cy="796876"/>
            </a:xfrm>
            <a:custGeom>
              <a:avLst/>
              <a:gdLst>
                <a:gd name="connsiteX0" fmla="*/ 0 w 687863"/>
                <a:gd name="connsiteY0" fmla="*/ 60563 h 796876"/>
                <a:gd name="connsiteX1" fmla="*/ 12750 w 687863"/>
                <a:gd name="connsiteY1" fmla="*/ 106463 h 796876"/>
                <a:gd name="connsiteX2" fmla="*/ 40163 w 687863"/>
                <a:gd name="connsiteY2" fmla="*/ 270301 h 796876"/>
                <a:gd name="connsiteX3" fmla="*/ 52913 w 687863"/>
                <a:gd name="connsiteY3" fmla="*/ 335963 h 796876"/>
                <a:gd name="connsiteX4" fmla="*/ 56737 w 687863"/>
                <a:gd name="connsiteY4" fmla="*/ 393338 h 796876"/>
                <a:gd name="connsiteX5" fmla="*/ 71400 w 687863"/>
                <a:gd name="connsiteY5" fmla="*/ 427763 h 796876"/>
                <a:gd name="connsiteX6" fmla="*/ 74588 w 687863"/>
                <a:gd name="connsiteY6" fmla="*/ 457726 h 796876"/>
                <a:gd name="connsiteX7" fmla="*/ 77138 w 687863"/>
                <a:gd name="connsiteY7" fmla="*/ 467926 h 796876"/>
                <a:gd name="connsiteX8" fmla="*/ 76500 w 687863"/>
                <a:gd name="connsiteY8" fmla="*/ 469839 h 796876"/>
                <a:gd name="connsiteX9" fmla="*/ 51000 w 687863"/>
                <a:gd name="connsiteY9" fmla="*/ 511913 h 796876"/>
                <a:gd name="connsiteX10" fmla="*/ 67575 w 687863"/>
                <a:gd name="connsiteY10" fmla="*/ 540601 h 796876"/>
                <a:gd name="connsiteX11" fmla="*/ 100088 w 687863"/>
                <a:gd name="connsiteY11" fmla="*/ 766914 h 796876"/>
                <a:gd name="connsiteX12" fmla="*/ 101362 w 687863"/>
                <a:gd name="connsiteY12" fmla="*/ 796877 h 796876"/>
                <a:gd name="connsiteX13" fmla="*/ 133875 w 687863"/>
                <a:gd name="connsiteY13" fmla="*/ 794964 h 796876"/>
                <a:gd name="connsiteX14" fmla="*/ 260100 w 687863"/>
                <a:gd name="connsiteY14" fmla="*/ 787952 h 796876"/>
                <a:gd name="connsiteX15" fmla="*/ 576301 w 687863"/>
                <a:gd name="connsiteY15" fmla="*/ 761177 h 796876"/>
                <a:gd name="connsiteX16" fmla="*/ 608176 w 687863"/>
                <a:gd name="connsiteY16" fmla="*/ 757989 h 796876"/>
                <a:gd name="connsiteX17" fmla="*/ 608176 w 687863"/>
                <a:gd name="connsiteY17" fmla="*/ 754801 h 796876"/>
                <a:gd name="connsiteX18" fmla="*/ 598613 w 687863"/>
                <a:gd name="connsiteY18" fmla="*/ 705076 h 796876"/>
                <a:gd name="connsiteX19" fmla="*/ 559726 w 687863"/>
                <a:gd name="connsiteY19" fmla="*/ 685314 h 796876"/>
                <a:gd name="connsiteX20" fmla="*/ 528488 w 687863"/>
                <a:gd name="connsiteY20" fmla="*/ 652801 h 796876"/>
                <a:gd name="connsiteX21" fmla="*/ 479401 w 687863"/>
                <a:gd name="connsiteY21" fmla="*/ 622839 h 796876"/>
                <a:gd name="connsiteX22" fmla="*/ 464101 w 687863"/>
                <a:gd name="connsiteY22" fmla="*/ 621564 h 796876"/>
                <a:gd name="connsiteX23" fmla="*/ 440513 w 687863"/>
                <a:gd name="connsiteY23" fmla="*/ 604989 h 796876"/>
                <a:gd name="connsiteX24" fmla="*/ 446888 w 687863"/>
                <a:gd name="connsiteY24" fmla="*/ 516376 h 796876"/>
                <a:gd name="connsiteX25" fmla="*/ 424576 w 687863"/>
                <a:gd name="connsiteY25" fmla="*/ 495976 h 796876"/>
                <a:gd name="connsiteX26" fmla="*/ 432226 w 687863"/>
                <a:gd name="connsiteY26" fmla="*/ 460276 h 796876"/>
                <a:gd name="connsiteX27" fmla="*/ 473026 w 687863"/>
                <a:gd name="connsiteY27" fmla="*/ 423301 h 796876"/>
                <a:gd name="connsiteX28" fmla="*/ 466013 w 687863"/>
                <a:gd name="connsiteY28" fmla="*/ 346801 h 796876"/>
                <a:gd name="connsiteX29" fmla="*/ 480676 w 687863"/>
                <a:gd name="connsiteY29" fmla="*/ 330226 h 796876"/>
                <a:gd name="connsiteX30" fmla="*/ 480676 w 687863"/>
                <a:gd name="connsiteY30" fmla="*/ 330226 h 796876"/>
                <a:gd name="connsiteX31" fmla="*/ 531039 w 687863"/>
                <a:gd name="connsiteY31" fmla="*/ 277313 h 796876"/>
                <a:gd name="connsiteX32" fmla="*/ 587776 w 687863"/>
                <a:gd name="connsiteY32" fmla="*/ 204000 h 796876"/>
                <a:gd name="connsiteX33" fmla="*/ 609451 w 687863"/>
                <a:gd name="connsiteY33" fmla="*/ 188700 h 796876"/>
                <a:gd name="connsiteX34" fmla="*/ 647701 w 687863"/>
                <a:gd name="connsiteY34" fmla="*/ 170213 h 796876"/>
                <a:gd name="connsiteX35" fmla="*/ 687864 w 687863"/>
                <a:gd name="connsiteY35" fmla="*/ 139613 h 796876"/>
                <a:gd name="connsiteX36" fmla="*/ 660451 w 687863"/>
                <a:gd name="connsiteY36" fmla="*/ 144713 h 796876"/>
                <a:gd name="connsiteX37" fmla="*/ 644514 w 687863"/>
                <a:gd name="connsiteY37" fmla="*/ 132600 h 796876"/>
                <a:gd name="connsiteX38" fmla="*/ 582676 w 687863"/>
                <a:gd name="connsiteY38" fmla="*/ 140888 h 796876"/>
                <a:gd name="connsiteX39" fmla="*/ 572476 w 687863"/>
                <a:gd name="connsiteY39" fmla="*/ 129413 h 796876"/>
                <a:gd name="connsiteX40" fmla="*/ 517651 w 687863"/>
                <a:gd name="connsiteY40" fmla="*/ 151725 h 796876"/>
                <a:gd name="connsiteX41" fmla="*/ 473026 w 687863"/>
                <a:gd name="connsiteY41" fmla="*/ 133238 h 796876"/>
                <a:gd name="connsiteX42" fmla="*/ 460913 w 687863"/>
                <a:gd name="connsiteY42" fmla="*/ 118575 h 796876"/>
                <a:gd name="connsiteX43" fmla="*/ 425851 w 687863"/>
                <a:gd name="connsiteY43" fmla="*/ 121125 h 796876"/>
                <a:gd name="connsiteX44" fmla="*/ 402263 w 687863"/>
                <a:gd name="connsiteY44" fmla="*/ 109013 h 796876"/>
                <a:gd name="connsiteX45" fmla="*/ 409913 w 687863"/>
                <a:gd name="connsiteY45" fmla="*/ 99450 h 796876"/>
                <a:gd name="connsiteX46" fmla="*/ 379313 w 687863"/>
                <a:gd name="connsiteY46" fmla="*/ 89250 h 796876"/>
                <a:gd name="connsiteX47" fmla="*/ 351901 w 687863"/>
                <a:gd name="connsiteY47" fmla="*/ 89250 h 796876"/>
                <a:gd name="connsiteX48" fmla="*/ 309188 w 687863"/>
                <a:gd name="connsiteY48" fmla="*/ 107738 h 796876"/>
                <a:gd name="connsiteX49" fmla="*/ 300901 w 687863"/>
                <a:gd name="connsiteY49" fmla="*/ 94988 h 796876"/>
                <a:gd name="connsiteX50" fmla="*/ 233325 w 687863"/>
                <a:gd name="connsiteY50" fmla="*/ 82875 h 796876"/>
                <a:gd name="connsiteX51" fmla="*/ 210375 w 687863"/>
                <a:gd name="connsiteY51" fmla="*/ 25500 h 796876"/>
                <a:gd name="connsiteX52" fmla="*/ 207825 w 687863"/>
                <a:gd name="connsiteY52" fmla="*/ 8287 h 796876"/>
                <a:gd name="connsiteX53" fmla="*/ 177863 w 687863"/>
                <a:gd name="connsiteY53" fmla="*/ 0 h 796876"/>
                <a:gd name="connsiteX54" fmla="*/ 180413 w 687863"/>
                <a:gd name="connsiteY54" fmla="*/ 49725 h 796876"/>
                <a:gd name="connsiteX55" fmla="*/ 102638 w 687863"/>
                <a:gd name="connsiteY55" fmla="*/ 55463 h 796876"/>
                <a:gd name="connsiteX56" fmla="*/ 5100 w 687863"/>
                <a:gd name="connsiteY56" fmla="*/ 59288 h 796876"/>
                <a:gd name="connsiteX57" fmla="*/ 0 w 687863"/>
                <a:gd name="connsiteY57" fmla="*/ 59288 h 796876"/>
                <a:gd name="connsiteX58" fmla="*/ 0 w 687863"/>
                <a:gd name="connsiteY58" fmla="*/ 60563 h 79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87863" h="796876">
                  <a:moveTo>
                    <a:pt x="0" y="60563"/>
                  </a:moveTo>
                  <a:lnTo>
                    <a:pt x="12750" y="106463"/>
                  </a:lnTo>
                  <a:lnTo>
                    <a:pt x="40163" y="270301"/>
                  </a:lnTo>
                  <a:lnTo>
                    <a:pt x="52913" y="335963"/>
                  </a:lnTo>
                  <a:lnTo>
                    <a:pt x="56737" y="393338"/>
                  </a:lnTo>
                  <a:lnTo>
                    <a:pt x="71400" y="427763"/>
                  </a:lnTo>
                  <a:lnTo>
                    <a:pt x="74588" y="457726"/>
                  </a:lnTo>
                  <a:lnTo>
                    <a:pt x="77138" y="467926"/>
                  </a:lnTo>
                  <a:lnTo>
                    <a:pt x="76500" y="469839"/>
                  </a:lnTo>
                  <a:lnTo>
                    <a:pt x="51000" y="511913"/>
                  </a:lnTo>
                  <a:lnTo>
                    <a:pt x="67575" y="540601"/>
                  </a:lnTo>
                  <a:lnTo>
                    <a:pt x="100088" y="766914"/>
                  </a:lnTo>
                  <a:lnTo>
                    <a:pt x="101362" y="796877"/>
                  </a:lnTo>
                  <a:lnTo>
                    <a:pt x="133875" y="794964"/>
                  </a:lnTo>
                  <a:lnTo>
                    <a:pt x="260100" y="787952"/>
                  </a:lnTo>
                  <a:lnTo>
                    <a:pt x="576301" y="761177"/>
                  </a:lnTo>
                  <a:lnTo>
                    <a:pt x="608176" y="757989"/>
                  </a:lnTo>
                  <a:lnTo>
                    <a:pt x="608176" y="754801"/>
                  </a:lnTo>
                  <a:lnTo>
                    <a:pt x="598613" y="705076"/>
                  </a:lnTo>
                  <a:lnTo>
                    <a:pt x="559726" y="685314"/>
                  </a:lnTo>
                  <a:lnTo>
                    <a:pt x="528488" y="652801"/>
                  </a:lnTo>
                  <a:lnTo>
                    <a:pt x="479401" y="622839"/>
                  </a:lnTo>
                  <a:lnTo>
                    <a:pt x="464101" y="621564"/>
                  </a:lnTo>
                  <a:lnTo>
                    <a:pt x="440513" y="604989"/>
                  </a:lnTo>
                  <a:lnTo>
                    <a:pt x="446888" y="516376"/>
                  </a:lnTo>
                  <a:lnTo>
                    <a:pt x="424576" y="495976"/>
                  </a:lnTo>
                  <a:lnTo>
                    <a:pt x="432226" y="460276"/>
                  </a:lnTo>
                  <a:lnTo>
                    <a:pt x="473026" y="423301"/>
                  </a:lnTo>
                  <a:lnTo>
                    <a:pt x="466013" y="346801"/>
                  </a:lnTo>
                  <a:lnTo>
                    <a:pt x="480676" y="330226"/>
                  </a:lnTo>
                  <a:lnTo>
                    <a:pt x="480676" y="330226"/>
                  </a:lnTo>
                  <a:lnTo>
                    <a:pt x="531039" y="277313"/>
                  </a:lnTo>
                  <a:lnTo>
                    <a:pt x="587776" y="204000"/>
                  </a:lnTo>
                  <a:lnTo>
                    <a:pt x="609451" y="188700"/>
                  </a:lnTo>
                  <a:lnTo>
                    <a:pt x="647701" y="170213"/>
                  </a:lnTo>
                  <a:lnTo>
                    <a:pt x="687864" y="139613"/>
                  </a:lnTo>
                  <a:lnTo>
                    <a:pt x="660451" y="144713"/>
                  </a:lnTo>
                  <a:lnTo>
                    <a:pt x="644514" y="132600"/>
                  </a:lnTo>
                  <a:lnTo>
                    <a:pt x="582676" y="140888"/>
                  </a:lnTo>
                  <a:lnTo>
                    <a:pt x="572476" y="129413"/>
                  </a:lnTo>
                  <a:lnTo>
                    <a:pt x="517651" y="151725"/>
                  </a:lnTo>
                  <a:lnTo>
                    <a:pt x="473026" y="133238"/>
                  </a:lnTo>
                  <a:lnTo>
                    <a:pt x="460913" y="118575"/>
                  </a:lnTo>
                  <a:lnTo>
                    <a:pt x="425851" y="121125"/>
                  </a:lnTo>
                  <a:lnTo>
                    <a:pt x="402263" y="109013"/>
                  </a:lnTo>
                  <a:lnTo>
                    <a:pt x="409913" y="99450"/>
                  </a:lnTo>
                  <a:lnTo>
                    <a:pt x="379313" y="89250"/>
                  </a:lnTo>
                  <a:lnTo>
                    <a:pt x="351901" y="89250"/>
                  </a:lnTo>
                  <a:lnTo>
                    <a:pt x="309188" y="107738"/>
                  </a:lnTo>
                  <a:lnTo>
                    <a:pt x="300901" y="94988"/>
                  </a:lnTo>
                  <a:lnTo>
                    <a:pt x="233325" y="82875"/>
                  </a:lnTo>
                  <a:lnTo>
                    <a:pt x="210375" y="25500"/>
                  </a:lnTo>
                  <a:lnTo>
                    <a:pt x="207825" y="8287"/>
                  </a:lnTo>
                  <a:lnTo>
                    <a:pt x="177863" y="0"/>
                  </a:lnTo>
                  <a:lnTo>
                    <a:pt x="180413" y="49725"/>
                  </a:lnTo>
                  <a:lnTo>
                    <a:pt x="102638" y="55463"/>
                  </a:lnTo>
                  <a:lnTo>
                    <a:pt x="5100" y="59288"/>
                  </a:lnTo>
                  <a:lnTo>
                    <a:pt x="0" y="59288"/>
                  </a:lnTo>
                  <a:lnTo>
                    <a:pt x="0" y="605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39" name="Freeform 20">
              <a:extLst>
                <a:ext uri="{FF2B5EF4-FFF2-40B4-BE49-F238E27FC236}">
                  <a16:creationId xmlns:a16="http://schemas.microsoft.com/office/drawing/2014/main" id="{3776AD60-5F64-7634-899B-057845BE3A35}"/>
                </a:ext>
              </a:extLst>
            </p:cNvPr>
            <p:cNvSpPr/>
            <p:nvPr/>
          </p:nvSpPr>
          <p:spPr>
            <a:xfrm>
              <a:off x="2925686" y="1211234"/>
              <a:ext cx="1075464" cy="673201"/>
            </a:xfrm>
            <a:custGeom>
              <a:avLst/>
              <a:gdLst>
                <a:gd name="connsiteX0" fmla="*/ 1063990 w 1075464"/>
                <a:gd name="connsiteY0" fmla="*/ 132600 h 673201"/>
                <a:gd name="connsiteX1" fmla="*/ 851702 w 1075464"/>
                <a:gd name="connsiteY1" fmla="*/ 118575 h 673201"/>
                <a:gd name="connsiteX2" fmla="*/ 696789 w 1075464"/>
                <a:gd name="connsiteY2" fmla="*/ 103913 h 673201"/>
                <a:gd name="connsiteX3" fmla="*/ 542514 w 1075464"/>
                <a:gd name="connsiteY3" fmla="*/ 86063 h 673201"/>
                <a:gd name="connsiteX4" fmla="*/ 446251 w 1075464"/>
                <a:gd name="connsiteY4" fmla="*/ 73313 h 673201"/>
                <a:gd name="connsiteX5" fmla="*/ 293251 w 1075464"/>
                <a:gd name="connsiteY5" fmla="*/ 49725 h 673201"/>
                <a:gd name="connsiteX6" fmla="*/ 216750 w 1075464"/>
                <a:gd name="connsiteY6" fmla="*/ 36975 h 673201"/>
                <a:gd name="connsiteX7" fmla="*/ 45900 w 1075464"/>
                <a:gd name="connsiteY7" fmla="*/ 3825 h 673201"/>
                <a:gd name="connsiteX8" fmla="*/ 28050 w 1075464"/>
                <a:gd name="connsiteY8" fmla="*/ 0 h 673201"/>
                <a:gd name="connsiteX9" fmla="*/ 0 w 1075464"/>
                <a:gd name="connsiteY9" fmla="*/ 130050 h 673201"/>
                <a:gd name="connsiteX10" fmla="*/ 12112 w 1075464"/>
                <a:gd name="connsiteY10" fmla="*/ 153638 h 673201"/>
                <a:gd name="connsiteX11" fmla="*/ 22313 w 1075464"/>
                <a:gd name="connsiteY11" fmla="*/ 189975 h 673201"/>
                <a:gd name="connsiteX12" fmla="*/ 16575 w 1075464"/>
                <a:gd name="connsiteY12" fmla="*/ 195075 h 673201"/>
                <a:gd name="connsiteX13" fmla="*/ 28688 w 1075464"/>
                <a:gd name="connsiteY13" fmla="*/ 228225 h 673201"/>
                <a:gd name="connsiteX14" fmla="*/ 45263 w 1075464"/>
                <a:gd name="connsiteY14" fmla="*/ 242250 h 673201"/>
                <a:gd name="connsiteX15" fmla="*/ 93075 w 1075464"/>
                <a:gd name="connsiteY15" fmla="*/ 321938 h 673201"/>
                <a:gd name="connsiteX16" fmla="*/ 97538 w 1075464"/>
                <a:gd name="connsiteY16" fmla="*/ 335326 h 673201"/>
                <a:gd name="connsiteX17" fmla="*/ 116663 w 1075464"/>
                <a:gd name="connsiteY17" fmla="*/ 334051 h 673201"/>
                <a:gd name="connsiteX18" fmla="*/ 94350 w 1075464"/>
                <a:gd name="connsiteY18" fmla="*/ 439238 h 673201"/>
                <a:gd name="connsiteX19" fmla="*/ 84788 w 1075464"/>
                <a:gd name="connsiteY19" fmla="*/ 441788 h 673201"/>
                <a:gd name="connsiteX20" fmla="*/ 72675 w 1075464"/>
                <a:gd name="connsiteY20" fmla="*/ 476851 h 673201"/>
                <a:gd name="connsiteX21" fmla="*/ 136425 w 1075464"/>
                <a:gd name="connsiteY21" fmla="*/ 481313 h 673201"/>
                <a:gd name="connsiteX22" fmla="*/ 141525 w 1075464"/>
                <a:gd name="connsiteY22" fmla="*/ 511276 h 673201"/>
                <a:gd name="connsiteX23" fmla="*/ 177225 w 1075464"/>
                <a:gd name="connsiteY23" fmla="*/ 599251 h 673201"/>
                <a:gd name="connsiteX24" fmla="*/ 183600 w 1075464"/>
                <a:gd name="connsiteY24" fmla="*/ 604351 h 673201"/>
                <a:gd name="connsiteX25" fmla="*/ 208463 w 1075464"/>
                <a:gd name="connsiteY25" fmla="*/ 655989 h 673201"/>
                <a:gd name="connsiteX26" fmla="*/ 214838 w 1075464"/>
                <a:gd name="connsiteY26" fmla="*/ 650889 h 673201"/>
                <a:gd name="connsiteX27" fmla="*/ 268388 w 1075464"/>
                <a:gd name="connsiteY27" fmla="*/ 650251 h 673201"/>
                <a:gd name="connsiteX28" fmla="*/ 335963 w 1075464"/>
                <a:gd name="connsiteY28" fmla="*/ 657264 h 673201"/>
                <a:gd name="connsiteX29" fmla="*/ 352538 w 1075464"/>
                <a:gd name="connsiteY29" fmla="*/ 635589 h 673201"/>
                <a:gd name="connsiteX30" fmla="*/ 372301 w 1075464"/>
                <a:gd name="connsiteY30" fmla="*/ 671289 h 673201"/>
                <a:gd name="connsiteX31" fmla="*/ 376126 w 1075464"/>
                <a:gd name="connsiteY31" fmla="*/ 673201 h 673201"/>
                <a:gd name="connsiteX32" fmla="*/ 376763 w 1075464"/>
                <a:gd name="connsiteY32" fmla="*/ 669376 h 673201"/>
                <a:gd name="connsiteX33" fmla="*/ 386326 w 1075464"/>
                <a:gd name="connsiteY33" fmla="*/ 606264 h 673201"/>
                <a:gd name="connsiteX34" fmla="*/ 606264 w 1075464"/>
                <a:gd name="connsiteY34" fmla="*/ 633676 h 673201"/>
                <a:gd name="connsiteX35" fmla="*/ 781577 w 1075464"/>
                <a:gd name="connsiteY35" fmla="*/ 650251 h 673201"/>
                <a:gd name="connsiteX36" fmla="*/ 874014 w 1075464"/>
                <a:gd name="connsiteY36" fmla="*/ 657901 h 673201"/>
                <a:gd name="connsiteX37" fmla="*/ 1038490 w 1075464"/>
                <a:gd name="connsiteY37" fmla="*/ 668101 h 673201"/>
                <a:gd name="connsiteX38" fmla="*/ 1046777 w 1075464"/>
                <a:gd name="connsiteY38" fmla="*/ 668739 h 673201"/>
                <a:gd name="connsiteX39" fmla="*/ 1048690 w 1075464"/>
                <a:gd name="connsiteY39" fmla="*/ 668739 h 673201"/>
                <a:gd name="connsiteX40" fmla="*/ 1049327 w 1075464"/>
                <a:gd name="connsiteY40" fmla="*/ 659176 h 673201"/>
                <a:gd name="connsiteX41" fmla="*/ 1051240 w 1075464"/>
                <a:gd name="connsiteY41" fmla="*/ 614551 h 673201"/>
                <a:gd name="connsiteX42" fmla="*/ 1053790 w 1075464"/>
                <a:gd name="connsiteY42" fmla="*/ 556539 h 673201"/>
                <a:gd name="connsiteX43" fmla="*/ 1054427 w 1075464"/>
                <a:gd name="connsiteY43" fmla="*/ 541876 h 673201"/>
                <a:gd name="connsiteX44" fmla="*/ 1055702 w 1075464"/>
                <a:gd name="connsiteY44" fmla="*/ 516376 h 673201"/>
                <a:gd name="connsiteX45" fmla="*/ 1066540 w 1075464"/>
                <a:gd name="connsiteY45" fmla="*/ 314288 h 673201"/>
                <a:gd name="connsiteX46" fmla="*/ 1074827 w 1075464"/>
                <a:gd name="connsiteY46" fmla="*/ 157463 h 673201"/>
                <a:gd name="connsiteX47" fmla="*/ 1075465 w 1075464"/>
                <a:gd name="connsiteY47" fmla="*/ 131963 h 673201"/>
                <a:gd name="connsiteX48" fmla="*/ 1063990 w 1075464"/>
                <a:gd name="connsiteY48" fmla="*/ 132600 h 673201"/>
                <a:gd name="connsiteX49" fmla="*/ 1063990 w 1075464"/>
                <a:gd name="connsiteY49" fmla="*/ 132600 h 6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75464" h="673201">
                  <a:moveTo>
                    <a:pt x="1063990" y="132600"/>
                  </a:moveTo>
                  <a:lnTo>
                    <a:pt x="851702" y="118575"/>
                  </a:lnTo>
                  <a:lnTo>
                    <a:pt x="696789" y="103913"/>
                  </a:lnTo>
                  <a:lnTo>
                    <a:pt x="542514" y="86063"/>
                  </a:lnTo>
                  <a:lnTo>
                    <a:pt x="446251" y="73313"/>
                  </a:lnTo>
                  <a:lnTo>
                    <a:pt x="293251" y="49725"/>
                  </a:lnTo>
                  <a:lnTo>
                    <a:pt x="216750" y="36975"/>
                  </a:lnTo>
                  <a:lnTo>
                    <a:pt x="45900" y="3825"/>
                  </a:lnTo>
                  <a:lnTo>
                    <a:pt x="28050" y="0"/>
                  </a:lnTo>
                  <a:lnTo>
                    <a:pt x="0" y="130050"/>
                  </a:lnTo>
                  <a:lnTo>
                    <a:pt x="12112" y="153638"/>
                  </a:lnTo>
                  <a:lnTo>
                    <a:pt x="22313" y="189975"/>
                  </a:lnTo>
                  <a:lnTo>
                    <a:pt x="16575" y="195075"/>
                  </a:lnTo>
                  <a:lnTo>
                    <a:pt x="28688" y="228225"/>
                  </a:lnTo>
                  <a:lnTo>
                    <a:pt x="45263" y="242250"/>
                  </a:lnTo>
                  <a:lnTo>
                    <a:pt x="93075" y="321938"/>
                  </a:lnTo>
                  <a:lnTo>
                    <a:pt x="97538" y="335326"/>
                  </a:lnTo>
                  <a:lnTo>
                    <a:pt x="116663" y="334051"/>
                  </a:lnTo>
                  <a:lnTo>
                    <a:pt x="94350" y="439238"/>
                  </a:lnTo>
                  <a:lnTo>
                    <a:pt x="84788" y="441788"/>
                  </a:lnTo>
                  <a:lnTo>
                    <a:pt x="72675" y="476851"/>
                  </a:lnTo>
                  <a:lnTo>
                    <a:pt x="136425" y="481313"/>
                  </a:lnTo>
                  <a:lnTo>
                    <a:pt x="141525" y="511276"/>
                  </a:lnTo>
                  <a:lnTo>
                    <a:pt x="177225" y="599251"/>
                  </a:lnTo>
                  <a:lnTo>
                    <a:pt x="183600" y="604351"/>
                  </a:lnTo>
                  <a:lnTo>
                    <a:pt x="208463" y="655989"/>
                  </a:lnTo>
                  <a:lnTo>
                    <a:pt x="214838" y="650889"/>
                  </a:lnTo>
                  <a:lnTo>
                    <a:pt x="268388" y="650251"/>
                  </a:lnTo>
                  <a:lnTo>
                    <a:pt x="335963" y="657264"/>
                  </a:lnTo>
                  <a:lnTo>
                    <a:pt x="352538" y="635589"/>
                  </a:lnTo>
                  <a:lnTo>
                    <a:pt x="372301" y="671289"/>
                  </a:lnTo>
                  <a:lnTo>
                    <a:pt x="376126" y="673201"/>
                  </a:lnTo>
                  <a:lnTo>
                    <a:pt x="376763" y="669376"/>
                  </a:lnTo>
                  <a:lnTo>
                    <a:pt x="386326" y="606264"/>
                  </a:lnTo>
                  <a:lnTo>
                    <a:pt x="606264" y="633676"/>
                  </a:lnTo>
                  <a:lnTo>
                    <a:pt x="781577" y="650251"/>
                  </a:lnTo>
                  <a:lnTo>
                    <a:pt x="874014" y="657901"/>
                  </a:lnTo>
                  <a:lnTo>
                    <a:pt x="1038490" y="668101"/>
                  </a:lnTo>
                  <a:lnTo>
                    <a:pt x="1046777" y="668739"/>
                  </a:lnTo>
                  <a:lnTo>
                    <a:pt x="1048690" y="668739"/>
                  </a:lnTo>
                  <a:lnTo>
                    <a:pt x="1049327" y="659176"/>
                  </a:lnTo>
                  <a:lnTo>
                    <a:pt x="1051240" y="614551"/>
                  </a:lnTo>
                  <a:lnTo>
                    <a:pt x="1053790" y="556539"/>
                  </a:lnTo>
                  <a:lnTo>
                    <a:pt x="1054427" y="541876"/>
                  </a:lnTo>
                  <a:lnTo>
                    <a:pt x="1055702" y="516376"/>
                  </a:lnTo>
                  <a:lnTo>
                    <a:pt x="1066540" y="314288"/>
                  </a:lnTo>
                  <a:lnTo>
                    <a:pt x="1074827" y="157463"/>
                  </a:lnTo>
                  <a:lnTo>
                    <a:pt x="1075465" y="131963"/>
                  </a:lnTo>
                  <a:lnTo>
                    <a:pt x="1063990" y="132600"/>
                  </a:lnTo>
                  <a:lnTo>
                    <a:pt x="1063990" y="1326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40" name="Freeform 21">
              <a:extLst>
                <a:ext uri="{FF2B5EF4-FFF2-40B4-BE49-F238E27FC236}">
                  <a16:creationId xmlns:a16="http://schemas.microsoft.com/office/drawing/2014/main" id="{933101F5-0E37-27F4-BDB8-CAEF4F1B7549}"/>
                </a:ext>
              </a:extLst>
            </p:cNvPr>
            <p:cNvSpPr/>
            <p:nvPr/>
          </p:nvSpPr>
          <p:spPr>
            <a:xfrm>
              <a:off x="3979475" y="1344472"/>
              <a:ext cx="699338" cy="418838"/>
            </a:xfrm>
            <a:custGeom>
              <a:avLst/>
              <a:gdLst>
                <a:gd name="connsiteX0" fmla="*/ 610726 w 699338"/>
                <a:gd name="connsiteY0" fmla="*/ 5100 h 418838"/>
                <a:gd name="connsiteX1" fmla="*/ 416926 w 699338"/>
                <a:gd name="connsiteY1" fmla="*/ 8925 h 418838"/>
                <a:gd name="connsiteX2" fmla="*/ 281138 w 699338"/>
                <a:gd name="connsiteY2" fmla="*/ 8287 h 418838"/>
                <a:gd name="connsiteX3" fmla="*/ 164475 w 699338"/>
                <a:gd name="connsiteY3" fmla="*/ 5737 h 418838"/>
                <a:gd name="connsiteX4" fmla="*/ 28050 w 699338"/>
                <a:gd name="connsiteY4" fmla="*/ 637 h 418838"/>
                <a:gd name="connsiteX5" fmla="*/ 21038 w 699338"/>
                <a:gd name="connsiteY5" fmla="*/ 0 h 418838"/>
                <a:gd name="connsiteX6" fmla="*/ 20400 w 699338"/>
                <a:gd name="connsiteY6" fmla="*/ 25500 h 418838"/>
                <a:gd name="connsiteX7" fmla="*/ 12113 w 699338"/>
                <a:gd name="connsiteY7" fmla="*/ 182325 h 418838"/>
                <a:gd name="connsiteX8" fmla="*/ 1275 w 699338"/>
                <a:gd name="connsiteY8" fmla="*/ 384413 h 418838"/>
                <a:gd name="connsiteX9" fmla="*/ 0 w 699338"/>
                <a:gd name="connsiteY9" fmla="*/ 409913 h 418838"/>
                <a:gd name="connsiteX10" fmla="*/ 24863 w 699338"/>
                <a:gd name="connsiteY10" fmla="*/ 411188 h 418838"/>
                <a:gd name="connsiteX11" fmla="*/ 307913 w 699338"/>
                <a:gd name="connsiteY11" fmla="*/ 418838 h 418838"/>
                <a:gd name="connsiteX12" fmla="*/ 569289 w 699338"/>
                <a:gd name="connsiteY12" fmla="*/ 416926 h 418838"/>
                <a:gd name="connsiteX13" fmla="*/ 677664 w 699338"/>
                <a:gd name="connsiteY13" fmla="*/ 413738 h 418838"/>
                <a:gd name="connsiteX14" fmla="*/ 699339 w 699338"/>
                <a:gd name="connsiteY14" fmla="*/ 412463 h 418838"/>
                <a:gd name="connsiteX15" fmla="*/ 696789 w 699338"/>
                <a:gd name="connsiteY15" fmla="*/ 402263 h 418838"/>
                <a:gd name="connsiteX16" fmla="*/ 693601 w 699338"/>
                <a:gd name="connsiteY16" fmla="*/ 372301 h 418838"/>
                <a:gd name="connsiteX17" fmla="*/ 678939 w 699338"/>
                <a:gd name="connsiteY17" fmla="*/ 337876 h 418838"/>
                <a:gd name="connsiteX18" fmla="*/ 675114 w 699338"/>
                <a:gd name="connsiteY18" fmla="*/ 280501 h 418838"/>
                <a:gd name="connsiteX19" fmla="*/ 662364 w 699338"/>
                <a:gd name="connsiteY19" fmla="*/ 214838 h 418838"/>
                <a:gd name="connsiteX20" fmla="*/ 634952 w 699338"/>
                <a:gd name="connsiteY20" fmla="*/ 51000 h 418838"/>
                <a:gd name="connsiteX21" fmla="*/ 622202 w 699338"/>
                <a:gd name="connsiteY21" fmla="*/ 5100 h 418838"/>
                <a:gd name="connsiteX22" fmla="*/ 610726 w 699338"/>
                <a:gd name="connsiteY22" fmla="*/ 5100 h 418838"/>
                <a:gd name="connsiteX23" fmla="*/ 610726 w 699338"/>
                <a:gd name="connsiteY23" fmla="*/ 5100 h 41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338" h="418838">
                  <a:moveTo>
                    <a:pt x="610726" y="5100"/>
                  </a:moveTo>
                  <a:lnTo>
                    <a:pt x="416926" y="8925"/>
                  </a:lnTo>
                  <a:lnTo>
                    <a:pt x="281138" y="8287"/>
                  </a:lnTo>
                  <a:lnTo>
                    <a:pt x="164475" y="5737"/>
                  </a:lnTo>
                  <a:lnTo>
                    <a:pt x="28050" y="637"/>
                  </a:lnTo>
                  <a:lnTo>
                    <a:pt x="21038" y="0"/>
                  </a:lnTo>
                  <a:lnTo>
                    <a:pt x="20400" y="25500"/>
                  </a:lnTo>
                  <a:lnTo>
                    <a:pt x="12113" y="182325"/>
                  </a:lnTo>
                  <a:lnTo>
                    <a:pt x="1275" y="384413"/>
                  </a:lnTo>
                  <a:lnTo>
                    <a:pt x="0" y="409913"/>
                  </a:lnTo>
                  <a:lnTo>
                    <a:pt x="24863" y="411188"/>
                  </a:lnTo>
                  <a:lnTo>
                    <a:pt x="307913" y="418838"/>
                  </a:lnTo>
                  <a:lnTo>
                    <a:pt x="569289" y="416926"/>
                  </a:lnTo>
                  <a:lnTo>
                    <a:pt x="677664" y="413738"/>
                  </a:lnTo>
                  <a:lnTo>
                    <a:pt x="699339" y="412463"/>
                  </a:lnTo>
                  <a:lnTo>
                    <a:pt x="696789" y="402263"/>
                  </a:lnTo>
                  <a:lnTo>
                    <a:pt x="693601" y="372301"/>
                  </a:lnTo>
                  <a:lnTo>
                    <a:pt x="678939" y="337876"/>
                  </a:lnTo>
                  <a:lnTo>
                    <a:pt x="675114" y="280501"/>
                  </a:lnTo>
                  <a:lnTo>
                    <a:pt x="662364" y="214838"/>
                  </a:lnTo>
                  <a:lnTo>
                    <a:pt x="634952" y="51000"/>
                  </a:lnTo>
                  <a:lnTo>
                    <a:pt x="622202" y="5100"/>
                  </a:lnTo>
                  <a:lnTo>
                    <a:pt x="610726" y="5100"/>
                  </a:lnTo>
                  <a:lnTo>
                    <a:pt x="610726" y="51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41" name="Freeform 23">
              <a:extLst>
                <a:ext uri="{FF2B5EF4-FFF2-40B4-BE49-F238E27FC236}">
                  <a16:creationId xmlns:a16="http://schemas.microsoft.com/office/drawing/2014/main" id="{9B9A7CED-A594-1F7B-E4C5-1BAFF253D718}"/>
                </a:ext>
              </a:extLst>
            </p:cNvPr>
            <p:cNvSpPr/>
            <p:nvPr/>
          </p:nvSpPr>
          <p:spPr>
            <a:xfrm>
              <a:off x="2673235" y="1193384"/>
              <a:ext cx="629213" cy="1025739"/>
            </a:xfrm>
            <a:custGeom>
              <a:avLst/>
              <a:gdLst>
                <a:gd name="connsiteX0" fmla="*/ 279863 w 629213"/>
                <a:gd name="connsiteY0" fmla="*/ 17850 h 1025739"/>
                <a:gd name="connsiteX1" fmla="*/ 223125 w 629213"/>
                <a:gd name="connsiteY1" fmla="*/ 6375 h 1025739"/>
                <a:gd name="connsiteX2" fmla="*/ 204638 w 629213"/>
                <a:gd name="connsiteY2" fmla="*/ 1913 h 1025739"/>
                <a:gd name="connsiteX3" fmla="*/ 196351 w 629213"/>
                <a:gd name="connsiteY3" fmla="*/ 0 h 1025739"/>
                <a:gd name="connsiteX4" fmla="*/ 121763 w 629213"/>
                <a:gd name="connsiteY4" fmla="*/ 335326 h 1025739"/>
                <a:gd name="connsiteX5" fmla="*/ 124950 w 629213"/>
                <a:gd name="connsiteY5" fmla="*/ 363376 h 1025739"/>
                <a:gd name="connsiteX6" fmla="*/ 122400 w 629213"/>
                <a:gd name="connsiteY6" fmla="*/ 392701 h 1025739"/>
                <a:gd name="connsiteX7" fmla="*/ 123675 w 629213"/>
                <a:gd name="connsiteY7" fmla="*/ 399076 h 1025739"/>
                <a:gd name="connsiteX8" fmla="*/ 123675 w 629213"/>
                <a:gd name="connsiteY8" fmla="*/ 399713 h 1025739"/>
                <a:gd name="connsiteX9" fmla="*/ 124313 w 629213"/>
                <a:gd name="connsiteY9" fmla="*/ 411826 h 1025739"/>
                <a:gd name="connsiteX10" fmla="*/ 145988 w 629213"/>
                <a:gd name="connsiteY10" fmla="*/ 435413 h 1025739"/>
                <a:gd name="connsiteX11" fmla="*/ 114113 w 629213"/>
                <a:gd name="connsiteY11" fmla="*/ 514464 h 1025739"/>
                <a:gd name="connsiteX12" fmla="*/ 47813 w 629213"/>
                <a:gd name="connsiteY12" fmla="*/ 601164 h 1025739"/>
                <a:gd name="connsiteX13" fmla="*/ 45900 w 629213"/>
                <a:gd name="connsiteY13" fmla="*/ 617101 h 1025739"/>
                <a:gd name="connsiteX14" fmla="*/ 63113 w 629213"/>
                <a:gd name="connsiteY14" fmla="*/ 657901 h 1025739"/>
                <a:gd name="connsiteX15" fmla="*/ 2550 w 629213"/>
                <a:gd name="connsiteY15" fmla="*/ 910989 h 1025739"/>
                <a:gd name="connsiteX16" fmla="*/ 0 w 629213"/>
                <a:gd name="connsiteY16" fmla="*/ 924377 h 1025739"/>
                <a:gd name="connsiteX17" fmla="*/ 17850 w 629213"/>
                <a:gd name="connsiteY17" fmla="*/ 928202 h 1025739"/>
                <a:gd name="connsiteX18" fmla="*/ 199538 w 629213"/>
                <a:gd name="connsiteY18" fmla="*/ 963902 h 1025739"/>
                <a:gd name="connsiteX19" fmla="*/ 272213 w 629213"/>
                <a:gd name="connsiteY19" fmla="*/ 977289 h 1025739"/>
                <a:gd name="connsiteX20" fmla="*/ 290701 w 629213"/>
                <a:gd name="connsiteY20" fmla="*/ 980477 h 1025739"/>
                <a:gd name="connsiteX21" fmla="*/ 308551 w 629213"/>
                <a:gd name="connsiteY21" fmla="*/ 983664 h 1025739"/>
                <a:gd name="connsiteX22" fmla="*/ 400988 w 629213"/>
                <a:gd name="connsiteY22" fmla="*/ 998327 h 1025739"/>
                <a:gd name="connsiteX23" fmla="*/ 566739 w 629213"/>
                <a:gd name="connsiteY23" fmla="*/ 1023190 h 1025739"/>
                <a:gd name="connsiteX24" fmla="*/ 585226 w 629213"/>
                <a:gd name="connsiteY24" fmla="*/ 1025740 h 1025739"/>
                <a:gd name="connsiteX25" fmla="*/ 587776 w 629213"/>
                <a:gd name="connsiteY25" fmla="*/ 1004702 h 1025739"/>
                <a:gd name="connsiteX26" fmla="*/ 593514 w 629213"/>
                <a:gd name="connsiteY26" fmla="*/ 963264 h 1025739"/>
                <a:gd name="connsiteX27" fmla="*/ 615189 w 629213"/>
                <a:gd name="connsiteY27" fmla="*/ 796239 h 1025739"/>
                <a:gd name="connsiteX28" fmla="*/ 626664 w 629213"/>
                <a:gd name="connsiteY28" fmla="*/ 713364 h 1025739"/>
                <a:gd name="connsiteX29" fmla="*/ 629214 w 629213"/>
                <a:gd name="connsiteY29" fmla="*/ 692326 h 1025739"/>
                <a:gd name="connsiteX30" fmla="*/ 625389 w 629213"/>
                <a:gd name="connsiteY30" fmla="*/ 690414 h 1025739"/>
                <a:gd name="connsiteX31" fmla="*/ 605626 w 629213"/>
                <a:gd name="connsiteY31" fmla="*/ 654714 h 1025739"/>
                <a:gd name="connsiteX32" fmla="*/ 589051 w 629213"/>
                <a:gd name="connsiteY32" fmla="*/ 676389 h 1025739"/>
                <a:gd name="connsiteX33" fmla="*/ 521476 w 629213"/>
                <a:gd name="connsiteY33" fmla="*/ 669376 h 1025739"/>
                <a:gd name="connsiteX34" fmla="*/ 467926 w 629213"/>
                <a:gd name="connsiteY34" fmla="*/ 670014 h 1025739"/>
                <a:gd name="connsiteX35" fmla="*/ 461551 w 629213"/>
                <a:gd name="connsiteY35" fmla="*/ 675114 h 1025739"/>
                <a:gd name="connsiteX36" fmla="*/ 436688 w 629213"/>
                <a:gd name="connsiteY36" fmla="*/ 623476 h 1025739"/>
                <a:gd name="connsiteX37" fmla="*/ 430313 w 629213"/>
                <a:gd name="connsiteY37" fmla="*/ 618376 h 1025739"/>
                <a:gd name="connsiteX38" fmla="*/ 394613 w 629213"/>
                <a:gd name="connsiteY38" fmla="*/ 530401 h 1025739"/>
                <a:gd name="connsiteX39" fmla="*/ 389513 w 629213"/>
                <a:gd name="connsiteY39" fmla="*/ 500439 h 1025739"/>
                <a:gd name="connsiteX40" fmla="*/ 325763 w 629213"/>
                <a:gd name="connsiteY40" fmla="*/ 495976 h 1025739"/>
                <a:gd name="connsiteX41" fmla="*/ 337876 w 629213"/>
                <a:gd name="connsiteY41" fmla="*/ 460913 h 1025739"/>
                <a:gd name="connsiteX42" fmla="*/ 347438 w 629213"/>
                <a:gd name="connsiteY42" fmla="*/ 458363 h 1025739"/>
                <a:gd name="connsiteX43" fmla="*/ 369751 w 629213"/>
                <a:gd name="connsiteY43" fmla="*/ 353176 h 1025739"/>
                <a:gd name="connsiteX44" fmla="*/ 350626 w 629213"/>
                <a:gd name="connsiteY44" fmla="*/ 354451 h 1025739"/>
                <a:gd name="connsiteX45" fmla="*/ 346163 w 629213"/>
                <a:gd name="connsiteY45" fmla="*/ 341063 h 1025739"/>
                <a:gd name="connsiteX46" fmla="*/ 298351 w 629213"/>
                <a:gd name="connsiteY46" fmla="*/ 261376 h 1025739"/>
                <a:gd name="connsiteX47" fmla="*/ 281776 w 629213"/>
                <a:gd name="connsiteY47" fmla="*/ 247350 h 1025739"/>
                <a:gd name="connsiteX48" fmla="*/ 269663 w 629213"/>
                <a:gd name="connsiteY48" fmla="*/ 214200 h 1025739"/>
                <a:gd name="connsiteX49" fmla="*/ 275401 w 629213"/>
                <a:gd name="connsiteY49" fmla="*/ 209100 h 1025739"/>
                <a:gd name="connsiteX50" fmla="*/ 265201 w 629213"/>
                <a:gd name="connsiteY50" fmla="*/ 172763 h 1025739"/>
                <a:gd name="connsiteX51" fmla="*/ 253088 w 629213"/>
                <a:gd name="connsiteY51" fmla="*/ 149175 h 1025739"/>
                <a:gd name="connsiteX52" fmla="*/ 279863 w 629213"/>
                <a:gd name="connsiteY52" fmla="*/ 17850 h 1025739"/>
                <a:gd name="connsiteX53" fmla="*/ 279863 w 629213"/>
                <a:gd name="connsiteY53" fmla="*/ 17850 h 1025739"/>
                <a:gd name="connsiteX54" fmla="*/ 279863 w 629213"/>
                <a:gd name="connsiteY54" fmla="*/ 17850 h 10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29213" h="1025739">
                  <a:moveTo>
                    <a:pt x="279863" y="17850"/>
                  </a:moveTo>
                  <a:lnTo>
                    <a:pt x="223125" y="6375"/>
                  </a:lnTo>
                  <a:lnTo>
                    <a:pt x="204638" y="1913"/>
                  </a:lnTo>
                  <a:lnTo>
                    <a:pt x="196351" y="0"/>
                  </a:lnTo>
                  <a:lnTo>
                    <a:pt x="121763" y="335326"/>
                  </a:lnTo>
                  <a:lnTo>
                    <a:pt x="124950" y="363376"/>
                  </a:lnTo>
                  <a:lnTo>
                    <a:pt x="122400" y="392701"/>
                  </a:lnTo>
                  <a:lnTo>
                    <a:pt x="123675" y="399076"/>
                  </a:lnTo>
                  <a:lnTo>
                    <a:pt x="123675" y="399713"/>
                  </a:lnTo>
                  <a:lnTo>
                    <a:pt x="124313" y="411826"/>
                  </a:lnTo>
                  <a:lnTo>
                    <a:pt x="145988" y="435413"/>
                  </a:lnTo>
                  <a:lnTo>
                    <a:pt x="114113" y="514464"/>
                  </a:lnTo>
                  <a:lnTo>
                    <a:pt x="47813" y="601164"/>
                  </a:lnTo>
                  <a:lnTo>
                    <a:pt x="45900" y="617101"/>
                  </a:lnTo>
                  <a:lnTo>
                    <a:pt x="63113" y="657901"/>
                  </a:lnTo>
                  <a:lnTo>
                    <a:pt x="2550" y="910989"/>
                  </a:lnTo>
                  <a:lnTo>
                    <a:pt x="0" y="924377"/>
                  </a:lnTo>
                  <a:lnTo>
                    <a:pt x="17850" y="928202"/>
                  </a:lnTo>
                  <a:lnTo>
                    <a:pt x="199538" y="963902"/>
                  </a:lnTo>
                  <a:lnTo>
                    <a:pt x="272213" y="977289"/>
                  </a:lnTo>
                  <a:lnTo>
                    <a:pt x="290701" y="980477"/>
                  </a:lnTo>
                  <a:lnTo>
                    <a:pt x="308551" y="983664"/>
                  </a:lnTo>
                  <a:lnTo>
                    <a:pt x="400988" y="998327"/>
                  </a:lnTo>
                  <a:lnTo>
                    <a:pt x="566739" y="1023190"/>
                  </a:lnTo>
                  <a:lnTo>
                    <a:pt x="585226" y="1025740"/>
                  </a:lnTo>
                  <a:lnTo>
                    <a:pt x="587776" y="1004702"/>
                  </a:lnTo>
                  <a:lnTo>
                    <a:pt x="593514" y="963264"/>
                  </a:lnTo>
                  <a:lnTo>
                    <a:pt x="615189" y="796239"/>
                  </a:lnTo>
                  <a:lnTo>
                    <a:pt x="626664" y="713364"/>
                  </a:lnTo>
                  <a:lnTo>
                    <a:pt x="629214" y="692326"/>
                  </a:lnTo>
                  <a:lnTo>
                    <a:pt x="625389" y="690414"/>
                  </a:lnTo>
                  <a:lnTo>
                    <a:pt x="605626" y="654714"/>
                  </a:lnTo>
                  <a:lnTo>
                    <a:pt x="589051" y="676389"/>
                  </a:lnTo>
                  <a:lnTo>
                    <a:pt x="521476" y="669376"/>
                  </a:lnTo>
                  <a:lnTo>
                    <a:pt x="467926" y="670014"/>
                  </a:lnTo>
                  <a:lnTo>
                    <a:pt x="461551" y="675114"/>
                  </a:lnTo>
                  <a:lnTo>
                    <a:pt x="436688" y="623476"/>
                  </a:lnTo>
                  <a:lnTo>
                    <a:pt x="430313" y="618376"/>
                  </a:lnTo>
                  <a:lnTo>
                    <a:pt x="394613" y="530401"/>
                  </a:lnTo>
                  <a:lnTo>
                    <a:pt x="389513" y="500439"/>
                  </a:lnTo>
                  <a:lnTo>
                    <a:pt x="325763" y="495976"/>
                  </a:lnTo>
                  <a:lnTo>
                    <a:pt x="337876" y="460913"/>
                  </a:lnTo>
                  <a:lnTo>
                    <a:pt x="347438" y="458363"/>
                  </a:lnTo>
                  <a:lnTo>
                    <a:pt x="369751" y="353176"/>
                  </a:lnTo>
                  <a:lnTo>
                    <a:pt x="350626" y="354451"/>
                  </a:lnTo>
                  <a:lnTo>
                    <a:pt x="346163" y="341063"/>
                  </a:lnTo>
                  <a:lnTo>
                    <a:pt x="298351" y="261376"/>
                  </a:lnTo>
                  <a:lnTo>
                    <a:pt x="281776" y="247350"/>
                  </a:lnTo>
                  <a:lnTo>
                    <a:pt x="269663" y="214200"/>
                  </a:lnTo>
                  <a:lnTo>
                    <a:pt x="275401" y="209100"/>
                  </a:lnTo>
                  <a:lnTo>
                    <a:pt x="265201" y="172763"/>
                  </a:lnTo>
                  <a:lnTo>
                    <a:pt x="253088" y="149175"/>
                  </a:lnTo>
                  <a:lnTo>
                    <a:pt x="279863" y="17850"/>
                  </a:lnTo>
                  <a:lnTo>
                    <a:pt x="279863" y="17850"/>
                  </a:lnTo>
                  <a:lnTo>
                    <a:pt x="279863" y="178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42" name="Freeform 24">
              <a:extLst>
                <a:ext uri="{FF2B5EF4-FFF2-40B4-BE49-F238E27FC236}">
                  <a16:creationId xmlns:a16="http://schemas.microsoft.com/office/drawing/2014/main" id="{0D36C13C-154F-5458-FD08-C088BD2CCE66}"/>
                </a:ext>
              </a:extLst>
            </p:cNvPr>
            <p:cNvSpPr/>
            <p:nvPr/>
          </p:nvSpPr>
          <p:spPr>
            <a:xfrm>
              <a:off x="2166422" y="1069709"/>
              <a:ext cx="703801" cy="521475"/>
            </a:xfrm>
            <a:custGeom>
              <a:avLst/>
              <a:gdLst>
                <a:gd name="connsiteX0" fmla="*/ 12750 w 703801"/>
                <a:gd name="connsiteY0" fmla="*/ 301538 h 521475"/>
                <a:gd name="connsiteX1" fmla="*/ 13388 w 703801"/>
                <a:gd name="connsiteY1" fmla="*/ 290063 h 521475"/>
                <a:gd name="connsiteX2" fmla="*/ 12113 w 703801"/>
                <a:gd name="connsiteY2" fmla="*/ 290701 h 521475"/>
                <a:gd name="connsiteX3" fmla="*/ 12750 w 703801"/>
                <a:gd name="connsiteY3" fmla="*/ 301538 h 521475"/>
                <a:gd name="connsiteX4" fmla="*/ 12750 w 703801"/>
                <a:gd name="connsiteY4" fmla="*/ 301538 h 521475"/>
                <a:gd name="connsiteX5" fmla="*/ 149175 w 703801"/>
                <a:gd name="connsiteY5" fmla="*/ 242888 h 521475"/>
                <a:gd name="connsiteX6" fmla="*/ 153000 w 703801"/>
                <a:gd name="connsiteY6" fmla="*/ 236513 h 521475"/>
                <a:gd name="connsiteX7" fmla="*/ 148538 w 703801"/>
                <a:gd name="connsiteY7" fmla="*/ 235875 h 521475"/>
                <a:gd name="connsiteX8" fmla="*/ 149175 w 703801"/>
                <a:gd name="connsiteY8" fmla="*/ 242888 h 521475"/>
                <a:gd name="connsiteX9" fmla="*/ 149175 w 703801"/>
                <a:gd name="connsiteY9" fmla="*/ 242888 h 521475"/>
                <a:gd name="connsiteX10" fmla="*/ 137700 w 703801"/>
                <a:gd name="connsiteY10" fmla="*/ 231413 h 521475"/>
                <a:gd name="connsiteX11" fmla="*/ 141525 w 703801"/>
                <a:gd name="connsiteY11" fmla="*/ 218663 h 521475"/>
                <a:gd name="connsiteX12" fmla="*/ 137700 w 703801"/>
                <a:gd name="connsiteY12" fmla="*/ 217388 h 521475"/>
                <a:gd name="connsiteX13" fmla="*/ 137700 w 703801"/>
                <a:gd name="connsiteY13" fmla="*/ 231413 h 521475"/>
                <a:gd name="connsiteX14" fmla="*/ 183600 w 703801"/>
                <a:gd name="connsiteY14" fmla="*/ 212925 h 521475"/>
                <a:gd name="connsiteX15" fmla="*/ 182963 w 703801"/>
                <a:gd name="connsiteY15" fmla="*/ 200175 h 521475"/>
                <a:gd name="connsiteX16" fmla="*/ 171488 w 703801"/>
                <a:gd name="connsiteY16" fmla="*/ 216750 h 521475"/>
                <a:gd name="connsiteX17" fmla="*/ 183600 w 703801"/>
                <a:gd name="connsiteY17" fmla="*/ 212925 h 521475"/>
                <a:gd name="connsiteX18" fmla="*/ 183600 w 703801"/>
                <a:gd name="connsiteY18" fmla="*/ 212925 h 521475"/>
                <a:gd name="connsiteX19" fmla="*/ 185513 w 703801"/>
                <a:gd name="connsiteY19" fmla="*/ 185513 h 521475"/>
                <a:gd name="connsiteX20" fmla="*/ 187425 w 703801"/>
                <a:gd name="connsiteY20" fmla="*/ 172763 h 521475"/>
                <a:gd name="connsiteX21" fmla="*/ 186150 w 703801"/>
                <a:gd name="connsiteY21" fmla="*/ 169575 h 521475"/>
                <a:gd name="connsiteX22" fmla="*/ 185513 w 703801"/>
                <a:gd name="connsiteY22" fmla="*/ 185513 h 521475"/>
                <a:gd name="connsiteX23" fmla="*/ 185513 w 703801"/>
                <a:gd name="connsiteY23" fmla="*/ 185513 h 521475"/>
                <a:gd name="connsiteX24" fmla="*/ 187425 w 703801"/>
                <a:gd name="connsiteY24" fmla="*/ 123038 h 521475"/>
                <a:gd name="connsiteX25" fmla="*/ 186788 w 703801"/>
                <a:gd name="connsiteY25" fmla="*/ 116025 h 521475"/>
                <a:gd name="connsiteX26" fmla="*/ 184238 w 703801"/>
                <a:gd name="connsiteY26" fmla="*/ 115388 h 521475"/>
                <a:gd name="connsiteX27" fmla="*/ 187425 w 703801"/>
                <a:gd name="connsiteY27" fmla="*/ 123038 h 521475"/>
                <a:gd name="connsiteX28" fmla="*/ 187425 w 703801"/>
                <a:gd name="connsiteY28" fmla="*/ 123038 h 521475"/>
                <a:gd name="connsiteX29" fmla="*/ 207825 w 703801"/>
                <a:gd name="connsiteY29" fmla="*/ 80325 h 521475"/>
                <a:gd name="connsiteX30" fmla="*/ 202088 w 703801"/>
                <a:gd name="connsiteY30" fmla="*/ 79688 h 521475"/>
                <a:gd name="connsiteX31" fmla="*/ 190613 w 703801"/>
                <a:gd name="connsiteY31" fmla="*/ 97538 h 521475"/>
                <a:gd name="connsiteX32" fmla="*/ 207825 w 703801"/>
                <a:gd name="connsiteY32" fmla="*/ 80325 h 521475"/>
                <a:gd name="connsiteX33" fmla="*/ 191888 w 703801"/>
                <a:gd name="connsiteY33" fmla="*/ 62475 h 521475"/>
                <a:gd name="connsiteX34" fmla="*/ 195075 w 703801"/>
                <a:gd name="connsiteY34" fmla="*/ 59925 h 521475"/>
                <a:gd name="connsiteX35" fmla="*/ 195713 w 703801"/>
                <a:gd name="connsiteY35" fmla="*/ 58013 h 521475"/>
                <a:gd name="connsiteX36" fmla="*/ 191888 w 703801"/>
                <a:gd name="connsiteY36" fmla="*/ 62475 h 521475"/>
                <a:gd name="connsiteX37" fmla="*/ 191888 w 703801"/>
                <a:gd name="connsiteY37" fmla="*/ 62475 h 521475"/>
                <a:gd name="connsiteX38" fmla="*/ 188700 w 703801"/>
                <a:gd name="connsiteY38" fmla="*/ 64388 h 521475"/>
                <a:gd name="connsiteX39" fmla="*/ 186788 w 703801"/>
                <a:gd name="connsiteY39" fmla="*/ 51638 h 521475"/>
                <a:gd name="connsiteX40" fmla="*/ 181050 w 703801"/>
                <a:gd name="connsiteY40" fmla="*/ 63113 h 521475"/>
                <a:gd name="connsiteX41" fmla="*/ 188700 w 703801"/>
                <a:gd name="connsiteY41" fmla="*/ 64388 h 521475"/>
                <a:gd name="connsiteX42" fmla="*/ 188700 w 703801"/>
                <a:gd name="connsiteY42" fmla="*/ 64388 h 521475"/>
                <a:gd name="connsiteX43" fmla="*/ 185513 w 703801"/>
                <a:gd name="connsiteY43" fmla="*/ 46538 h 521475"/>
                <a:gd name="connsiteX44" fmla="*/ 179775 w 703801"/>
                <a:gd name="connsiteY44" fmla="*/ 43988 h 521475"/>
                <a:gd name="connsiteX45" fmla="*/ 184238 w 703801"/>
                <a:gd name="connsiteY45" fmla="*/ 50363 h 521475"/>
                <a:gd name="connsiteX46" fmla="*/ 185513 w 703801"/>
                <a:gd name="connsiteY46" fmla="*/ 46538 h 521475"/>
                <a:gd name="connsiteX47" fmla="*/ 185513 w 703801"/>
                <a:gd name="connsiteY47" fmla="*/ 46538 h 521475"/>
                <a:gd name="connsiteX48" fmla="*/ 205275 w 703801"/>
                <a:gd name="connsiteY48" fmla="*/ 58013 h 521475"/>
                <a:gd name="connsiteX49" fmla="*/ 205275 w 703801"/>
                <a:gd name="connsiteY49" fmla="*/ 49725 h 521475"/>
                <a:gd name="connsiteX50" fmla="*/ 203363 w 703801"/>
                <a:gd name="connsiteY50" fmla="*/ 52913 h 521475"/>
                <a:gd name="connsiteX51" fmla="*/ 205275 w 703801"/>
                <a:gd name="connsiteY51" fmla="*/ 58013 h 521475"/>
                <a:gd name="connsiteX52" fmla="*/ 210375 w 703801"/>
                <a:gd name="connsiteY52" fmla="*/ 49088 h 521475"/>
                <a:gd name="connsiteX53" fmla="*/ 207825 w 703801"/>
                <a:gd name="connsiteY53" fmla="*/ 47175 h 521475"/>
                <a:gd name="connsiteX54" fmla="*/ 207188 w 703801"/>
                <a:gd name="connsiteY54" fmla="*/ 47175 h 521475"/>
                <a:gd name="connsiteX55" fmla="*/ 210375 w 703801"/>
                <a:gd name="connsiteY55" fmla="*/ 49088 h 521475"/>
                <a:gd name="connsiteX56" fmla="*/ 210375 w 703801"/>
                <a:gd name="connsiteY56" fmla="*/ 49088 h 521475"/>
                <a:gd name="connsiteX57" fmla="*/ 174038 w 703801"/>
                <a:gd name="connsiteY57" fmla="*/ 35700 h 521475"/>
                <a:gd name="connsiteX58" fmla="*/ 170850 w 703801"/>
                <a:gd name="connsiteY58" fmla="*/ 33150 h 521475"/>
                <a:gd name="connsiteX59" fmla="*/ 169575 w 703801"/>
                <a:gd name="connsiteY59" fmla="*/ 32513 h 521475"/>
                <a:gd name="connsiteX60" fmla="*/ 174038 w 703801"/>
                <a:gd name="connsiteY60" fmla="*/ 35700 h 521475"/>
                <a:gd name="connsiteX61" fmla="*/ 197625 w 703801"/>
                <a:gd name="connsiteY61" fmla="*/ 32513 h 521475"/>
                <a:gd name="connsiteX62" fmla="*/ 180413 w 703801"/>
                <a:gd name="connsiteY62" fmla="*/ 36975 h 521475"/>
                <a:gd name="connsiteX63" fmla="*/ 184875 w 703801"/>
                <a:gd name="connsiteY63" fmla="*/ 38250 h 521475"/>
                <a:gd name="connsiteX64" fmla="*/ 197625 w 703801"/>
                <a:gd name="connsiteY64" fmla="*/ 32513 h 521475"/>
                <a:gd name="connsiteX65" fmla="*/ 183600 w 703801"/>
                <a:gd name="connsiteY65" fmla="*/ 31238 h 521475"/>
                <a:gd name="connsiteX66" fmla="*/ 180413 w 703801"/>
                <a:gd name="connsiteY66" fmla="*/ 27412 h 521475"/>
                <a:gd name="connsiteX67" fmla="*/ 179775 w 703801"/>
                <a:gd name="connsiteY67" fmla="*/ 28050 h 521475"/>
                <a:gd name="connsiteX68" fmla="*/ 183600 w 703801"/>
                <a:gd name="connsiteY68" fmla="*/ 31238 h 521475"/>
                <a:gd name="connsiteX69" fmla="*/ 183600 w 703801"/>
                <a:gd name="connsiteY69" fmla="*/ 31238 h 521475"/>
                <a:gd name="connsiteX70" fmla="*/ 196988 w 703801"/>
                <a:gd name="connsiteY70" fmla="*/ 23588 h 521475"/>
                <a:gd name="connsiteX71" fmla="*/ 194438 w 703801"/>
                <a:gd name="connsiteY71" fmla="*/ 23588 h 521475"/>
                <a:gd name="connsiteX72" fmla="*/ 197625 w 703801"/>
                <a:gd name="connsiteY72" fmla="*/ 24863 h 521475"/>
                <a:gd name="connsiteX73" fmla="*/ 196988 w 703801"/>
                <a:gd name="connsiteY73" fmla="*/ 23588 h 521475"/>
                <a:gd name="connsiteX74" fmla="*/ 196988 w 703801"/>
                <a:gd name="connsiteY74" fmla="*/ 23588 h 521475"/>
                <a:gd name="connsiteX75" fmla="*/ 71400 w 703801"/>
                <a:gd name="connsiteY75" fmla="*/ 353176 h 521475"/>
                <a:gd name="connsiteX76" fmla="*/ 94350 w 703801"/>
                <a:gd name="connsiteY76" fmla="*/ 378038 h 521475"/>
                <a:gd name="connsiteX77" fmla="*/ 90525 w 703801"/>
                <a:gd name="connsiteY77" fmla="*/ 426488 h 521475"/>
                <a:gd name="connsiteX78" fmla="*/ 94988 w 703801"/>
                <a:gd name="connsiteY78" fmla="*/ 438601 h 521475"/>
                <a:gd name="connsiteX79" fmla="*/ 129413 w 703801"/>
                <a:gd name="connsiteY79" fmla="*/ 457088 h 521475"/>
                <a:gd name="connsiteX80" fmla="*/ 227588 w 703801"/>
                <a:gd name="connsiteY80" fmla="*/ 466651 h 521475"/>
                <a:gd name="connsiteX81" fmla="*/ 231413 w 703801"/>
                <a:gd name="connsiteY81" fmla="*/ 478126 h 521475"/>
                <a:gd name="connsiteX82" fmla="*/ 277951 w 703801"/>
                <a:gd name="connsiteY82" fmla="*/ 478764 h 521475"/>
                <a:gd name="connsiteX83" fmla="*/ 321938 w 703801"/>
                <a:gd name="connsiteY83" fmla="*/ 484501 h 521475"/>
                <a:gd name="connsiteX84" fmla="*/ 393338 w 703801"/>
                <a:gd name="connsiteY84" fmla="*/ 476851 h 521475"/>
                <a:gd name="connsiteX85" fmla="*/ 428401 w 703801"/>
                <a:gd name="connsiteY85" fmla="*/ 482588 h 521475"/>
                <a:gd name="connsiteX86" fmla="*/ 438601 w 703801"/>
                <a:gd name="connsiteY86" fmla="*/ 478126 h 521475"/>
                <a:gd name="connsiteX87" fmla="*/ 619014 w 703801"/>
                <a:gd name="connsiteY87" fmla="*/ 518926 h 521475"/>
                <a:gd name="connsiteX88" fmla="*/ 631126 w 703801"/>
                <a:gd name="connsiteY88" fmla="*/ 521476 h 521475"/>
                <a:gd name="connsiteX89" fmla="*/ 629851 w 703801"/>
                <a:gd name="connsiteY89" fmla="*/ 515101 h 521475"/>
                <a:gd name="connsiteX90" fmla="*/ 632401 w 703801"/>
                <a:gd name="connsiteY90" fmla="*/ 485776 h 521475"/>
                <a:gd name="connsiteX91" fmla="*/ 629214 w 703801"/>
                <a:gd name="connsiteY91" fmla="*/ 457726 h 521475"/>
                <a:gd name="connsiteX92" fmla="*/ 703801 w 703801"/>
                <a:gd name="connsiteY92" fmla="*/ 122400 h 521475"/>
                <a:gd name="connsiteX93" fmla="*/ 692964 w 703801"/>
                <a:gd name="connsiteY93" fmla="*/ 120488 h 521475"/>
                <a:gd name="connsiteX94" fmla="*/ 542514 w 703801"/>
                <a:gd name="connsiteY94" fmla="*/ 85425 h 521475"/>
                <a:gd name="connsiteX95" fmla="*/ 411188 w 703801"/>
                <a:gd name="connsiteY95" fmla="*/ 52275 h 521475"/>
                <a:gd name="connsiteX96" fmla="*/ 262651 w 703801"/>
                <a:gd name="connsiteY96" fmla="*/ 11475 h 521475"/>
                <a:gd name="connsiteX97" fmla="*/ 218026 w 703801"/>
                <a:gd name="connsiteY97" fmla="*/ 0 h 521475"/>
                <a:gd name="connsiteX98" fmla="*/ 228863 w 703801"/>
                <a:gd name="connsiteY98" fmla="*/ 55463 h 521475"/>
                <a:gd name="connsiteX99" fmla="*/ 218663 w 703801"/>
                <a:gd name="connsiteY99" fmla="*/ 73313 h 521475"/>
                <a:gd name="connsiteX100" fmla="*/ 201450 w 703801"/>
                <a:gd name="connsiteY100" fmla="*/ 63750 h 521475"/>
                <a:gd name="connsiteX101" fmla="*/ 218026 w 703801"/>
                <a:gd name="connsiteY101" fmla="*/ 140888 h 521475"/>
                <a:gd name="connsiteX102" fmla="*/ 200175 w 703801"/>
                <a:gd name="connsiteY102" fmla="*/ 166388 h 521475"/>
                <a:gd name="connsiteX103" fmla="*/ 191888 w 703801"/>
                <a:gd name="connsiteY103" fmla="*/ 189975 h 521475"/>
                <a:gd name="connsiteX104" fmla="*/ 191888 w 703801"/>
                <a:gd name="connsiteY104" fmla="*/ 214200 h 521475"/>
                <a:gd name="connsiteX105" fmla="*/ 154275 w 703801"/>
                <a:gd name="connsiteY105" fmla="*/ 240975 h 521475"/>
                <a:gd name="connsiteX106" fmla="*/ 138338 w 703801"/>
                <a:gd name="connsiteY106" fmla="*/ 230138 h 521475"/>
                <a:gd name="connsiteX107" fmla="*/ 123038 w 703801"/>
                <a:gd name="connsiteY107" fmla="*/ 237788 h 521475"/>
                <a:gd name="connsiteX108" fmla="*/ 151725 w 703801"/>
                <a:gd name="connsiteY108" fmla="*/ 201450 h 521475"/>
                <a:gd name="connsiteX109" fmla="*/ 144713 w 703801"/>
                <a:gd name="connsiteY109" fmla="*/ 226313 h 521475"/>
                <a:gd name="connsiteX110" fmla="*/ 160650 w 703801"/>
                <a:gd name="connsiteY110" fmla="*/ 209100 h 521475"/>
                <a:gd name="connsiteX111" fmla="*/ 173400 w 703801"/>
                <a:gd name="connsiteY111" fmla="*/ 211650 h 521475"/>
                <a:gd name="connsiteX112" fmla="*/ 169575 w 703801"/>
                <a:gd name="connsiteY112" fmla="*/ 181050 h 521475"/>
                <a:gd name="connsiteX113" fmla="*/ 177863 w 703801"/>
                <a:gd name="connsiteY113" fmla="*/ 182325 h 521475"/>
                <a:gd name="connsiteX114" fmla="*/ 195075 w 703801"/>
                <a:gd name="connsiteY114" fmla="*/ 144075 h 521475"/>
                <a:gd name="connsiteX115" fmla="*/ 189338 w 703801"/>
                <a:gd name="connsiteY115" fmla="*/ 138338 h 521475"/>
                <a:gd name="connsiteX116" fmla="*/ 167025 w 703801"/>
                <a:gd name="connsiteY116" fmla="*/ 167663 h 521475"/>
                <a:gd name="connsiteX117" fmla="*/ 152363 w 703801"/>
                <a:gd name="connsiteY117" fmla="*/ 168300 h 521475"/>
                <a:gd name="connsiteX118" fmla="*/ 168300 w 703801"/>
                <a:gd name="connsiteY118" fmla="*/ 150450 h 521475"/>
                <a:gd name="connsiteX119" fmla="*/ 186150 w 703801"/>
                <a:gd name="connsiteY119" fmla="*/ 145988 h 521475"/>
                <a:gd name="connsiteX120" fmla="*/ 179775 w 703801"/>
                <a:gd name="connsiteY120" fmla="*/ 112838 h 521475"/>
                <a:gd name="connsiteX121" fmla="*/ 161925 w 703801"/>
                <a:gd name="connsiteY121" fmla="*/ 108375 h 521475"/>
                <a:gd name="connsiteX122" fmla="*/ 152363 w 703801"/>
                <a:gd name="connsiteY122" fmla="*/ 93075 h 521475"/>
                <a:gd name="connsiteX123" fmla="*/ 140888 w 703801"/>
                <a:gd name="connsiteY123" fmla="*/ 98813 h 521475"/>
                <a:gd name="connsiteX124" fmla="*/ 82238 w 703801"/>
                <a:gd name="connsiteY124" fmla="*/ 73313 h 521475"/>
                <a:gd name="connsiteX125" fmla="*/ 29963 w 703801"/>
                <a:gd name="connsiteY125" fmla="*/ 33150 h 521475"/>
                <a:gd name="connsiteX126" fmla="*/ 15938 w 703801"/>
                <a:gd name="connsiteY126" fmla="*/ 72038 h 521475"/>
                <a:gd name="connsiteX127" fmla="*/ 14663 w 703801"/>
                <a:gd name="connsiteY127" fmla="*/ 88613 h 521475"/>
                <a:gd name="connsiteX128" fmla="*/ 26138 w 703801"/>
                <a:gd name="connsiteY128" fmla="*/ 118575 h 521475"/>
                <a:gd name="connsiteX129" fmla="*/ 19125 w 703801"/>
                <a:gd name="connsiteY129" fmla="*/ 215475 h 521475"/>
                <a:gd name="connsiteX130" fmla="*/ 14025 w 703801"/>
                <a:gd name="connsiteY130" fmla="*/ 230138 h 521475"/>
                <a:gd name="connsiteX131" fmla="*/ 43350 w 703801"/>
                <a:gd name="connsiteY131" fmla="*/ 232688 h 521475"/>
                <a:gd name="connsiteX132" fmla="*/ 14025 w 703801"/>
                <a:gd name="connsiteY132" fmla="*/ 253088 h 521475"/>
                <a:gd name="connsiteX133" fmla="*/ 29325 w 703801"/>
                <a:gd name="connsiteY133" fmla="*/ 260738 h 521475"/>
                <a:gd name="connsiteX134" fmla="*/ 17213 w 703801"/>
                <a:gd name="connsiteY134" fmla="*/ 301538 h 521475"/>
                <a:gd name="connsiteX135" fmla="*/ 11475 w 703801"/>
                <a:gd name="connsiteY135" fmla="*/ 269025 h 521475"/>
                <a:gd name="connsiteX136" fmla="*/ 0 w 703801"/>
                <a:gd name="connsiteY136" fmla="*/ 306001 h 521475"/>
                <a:gd name="connsiteX137" fmla="*/ 14663 w 703801"/>
                <a:gd name="connsiteY137" fmla="*/ 323851 h 521475"/>
                <a:gd name="connsiteX138" fmla="*/ 30600 w 703801"/>
                <a:gd name="connsiteY138" fmla="*/ 322576 h 521475"/>
                <a:gd name="connsiteX139" fmla="*/ 49725 w 703801"/>
                <a:gd name="connsiteY139" fmla="*/ 334051 h 521475"/>
                <a:gd name="connsiteX140" fmla="*/ 59925 w 703801"/>
                <a:gd name="connsiteY140" fmla="*/ 352538 h 521475"/>
                <a:gd name="connsiteX141" fmla="*/ 71400 w 703801"/>
                <a:gd name="connsiteY141" fmla="*/ 353176 h 521475"/>
                <a:gd name="connsiteX142" fmla="*/ 71400 w 703801"/>
                <a:gd name="connsiteY142" fmla="*/ 353176 h 521475"/>
                <a:gd name="connsiteX143" fmla="*/ 71400 w 703801"/>
                <a:gd name="connsiteY143" fmla="*/ 353176 h 5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703801" h="521475">
                  <a:moveTo>
                    <a:pt x="12750" y="301538"/>
                  </a:moveTo>
                  <a:lnTo>
                    <a:pt x="13388" y="290063"/>
                  </a:lnTo>
                  <a:lnTo>
                    <a:pt x="12113" y="290701"/>
                  </a:lnTo>
                  <a:lnTo>
                    <a:pt x="12750" y="301538"/>
                  </a:lnTo>
                  <a:lnTo>
                    <a:pt x="12750" y="301538"/>
                  </a:lnTo>
                  <a:close/>
                  <a:moveTo>
                    <a:pt x="149175" y="242888"/>
                  </a:moveTo>
                  <a:lnTo>
                    <a:pt x="153000" y="236513"/>
                  </a:lnTo>
                  <a:lnTo>
                    <a:pt x="148538" y="235875"/>
                  </a:lnTo>
                  <a:lnTo>
                    <a:pt x="149175" y="242888"/>
                  </a:lnTo>
                  <a:lnTo>
                    <a:pt x="149175" y="242888"/>
                  </a:lnTo>
                  <a:close/>
                  <a:moveTo>
                    <a:pt x="137700" y="231413"/>
                  </a:moveTo>
                  <a:lnTo>
                    <a:pt x="141525" y="218663"/>
                  </a:lnTo>
                  <a:lnTo>
                    <a:pt x="137700" y="217388"/>
                  </a:lnTo>
                  <a:lnTo>
                    <a:pt x="137700" y="231413"/>
                  </a:lnTo>
                  <a:close/>
                  <a:moveTo>
                    <a:pt x="183600" y="212925"/>
                  </a:moveTo>
                  <a:lnTo>
                    <a:pt x="182963" y="200175"/>
                  </a:lnTo>
                  <a:lnTo>
                    <a:pt x="171488" y="216750"/>
                  </a:lnTo>
                  <a:lnTo>
                    <a:pt x="183600" y="212925"/>
                  </a:lnTo>
                  <a:lnTo>
                    <a:pt x="183600" y="212925"/>
                  </a:lnTo>
                  <a:close/>
                  <a:moveTo>
                    <a:pt x="185513" y="185513"/>
                  </a:moveTo>
                  <a:lnTo>
                    <a:pt x="187425" y="172763"/>
                  </a:lnTo>
                  <a:lnTo>
                    <a:pt x="186150" y="169575"/>
                  </a:lnTo>
                  <a:lnTo>
                    <a:pt x="185513" y="185513"/>
                  </a:lnTo>
                  <a:lnTo>
                    <a:pt x="185513" y="185513"/>
                  </a:lnTo>
                  <a:close/>
                  <a:moveTo>
                    <a:pt x="187425" y="123038"/>
                  </a:moveTo>
                  <a:lnTo>
                    <a:pt x="186788" y="116025"/>
                  </a:lnTo>
                  <a:lnTo>
                    <a:pt x="184238" y="115388"/>
                  </a:lnTo>
                  <a:lnTo>
                    <a:pt x="187425" y="123038"/>
                  </a:lnTo>
                  <a:lnTo>
                    <a:pt x="187425" y="123038"/>
                  </a:lnTo>
                  <a:close/>
                  <a:moveTo>
                    <a:pt x="207825" y="80325"/>
                  </a:moveTo>
                  <a:lnTo>
                    <a:pt x="202088" y="79688"/>
                  </a:lnTo>
                  <a:lnTo>
                    <a:pt x="190613" y="97538"/>
                  </a:lnTo>
                  <a:lnTo>
                    <a:pt x="207825" y="80325"/>
                  </a:lnTo>
                  <a:close/>
                  <a:moveTo>
                    <a:pt x="191888" y="62475"/>
                  </a:moveTo>
                  <a:lnTo>
                    <a:pt x="195075" y="59925"/>
                  </a:lnTo>
                  <a:lnTo>
                    <a:pt x="195713" y="58013"/>
                  </a:lnTo>
                  <a:lnTo>
                    <a:pt x="191888" y="62475"/>
                  </a:lnTo>
                  <a:lnTo>
                    <a:pt x="191888" y="62475"/>
                  </a:lnTo>
                  <a:close/>
                  <a:moveTo>
                    <a:pt x="188700" y="64388"/>
                  </a:moveTo>
                  <a:lnTo>
                    <a:pt x="186788" y="51638"/>
                  </a:lnTo>
                  <a:lnTo>
                    <a:pt x="181050" y="63113"/>
                  </a:lnTo>
                  <a:lnTo>
                    <a:pt x="188700" y="64388"/>
                  </a:lnTo>
                  <a:lnTo>
                    <a:pt x="188700" y="64388"/>
                  </a:lnTo>
                  <a:close/>
                  <a:moveTo>
                    <a:pt x="185513" y="46538"/>
                  </a:moveTo>
                  <a:lnTo>
                    <a:pt x="179775" y="43988"/>
                  </a:lnTo>
                  <a:lnTo>
                    <a:pt x="184238" y="50363"/>
                  </a:lnTo>
                  <a:lnTo>
                    <a:pt x="185513" y="46538"/>
                  </a:lnTo>
                  <a:lnTo>
                    <a:pt x="185513" y="46538"/>
                  </a:lnTo>
                  <a:close/>
                  <a:moveTo>
                    <a:pt x="205275" y="58013"/>
                  </a:moveTo>
                  <a:lnTo>
                    <a:pt x="205275" y="49725"/>
                  </a:lnTo>
                  <a:lnTo>
                    <a:pt x="203363" y="52913"/>
                  </a:lnTo>
                  <a:lnTo>
                    <a:pt x="205275" y="58013"/>
                  </a:lnTo>
                  <a:close/>
                  <a:moveTo>
                    <a:pt x="210375" y="49088"/>
                  </a:moveTo>
                  <a:lnTo>
                    <a:pt x="207825" y="47175"/>
                  </a:lnTo>
                  <a:lnTo>
                    <a:pt x="207188" y="47175"/>
                  </a:lnTo>
                  <a:lnTo>
                    <a:pt x="210375" y="49088"/>
                  </a:lnTo>
                  <a:lnTo>
                    <a:pt x="210375" y="49088"/>
                  </a:lnTo>
                  <a:close/>
                  <a:moveTo>
                    <a:pt x="174038" y="35700"/>
                  </a:moveTo>
                  <a:lnTo>
                    <a:pt x="170850" y="33150"/>
                  </a:lnTo>
                  <a:lnTo>
                    <a:pt x="169575" y="32513"/>
                  </a:lnTo>
                  <a:lnTo>
                    <a:pt x="174038" y="35700"/>
                  </a:lnTo>
                  <a:close/>
                  <a:moveTo>
                    <a:pt x="197625" y="32513"/>
                  </a:moveTo>
                  <a:lnTo>
                    <a:pt x="180413" y="36975"/>
                  </a:lnTo>
                  <a:lnTo>
                    <a:pt x="184875" y="38250"/>
                  </a:lnTo>
                  <a:lnTo>
                    <a:pt x="197625" y="32513"/>
                  </a:lnTo>
                  <a:close/>
                  <a:moveTo>
                    <a:pt x="183600" y="31238"/>
                  </a:moveTo>
                  <a:lnTo>
                    <a:pt x="180413" y="27412"/>
                  </a:lnTo>
                  <a:lnTo>
                    <a:pt x="179775" y="28050"/>
                  </a:lnTo>
                  <a:lnTo>
                    <a:pt x="183600" y="31238"/>
                  </a:lnTo>
                  <a:lnTo>
                    <a:pt x="183600" y="31238"/>
                  </a:lnTo>
                  <a:close/>
                  <a:moveTo>
                    <a:pt x="196988" y="23588"/>
                  </a:moveTo>
                  <a:lnTo>
                    <a:pt x="194438" y="23588"/>
                  </a:lnTo>
                  <a:lnTo>
                    <a:pt x="197625" y="24863"/>
                  </a:lnTo>
                  <a:lnTo>
                    <a:pt x="196988" y="23588"/>
                  </a:lnTo>
                  <a:lnTo>
                    <a:pt x="196988" y="23588"/>
                  </a:lnTo>
                  <a:close/>
                  <a:moveTo>
                    <a:pt x="71400" y="353176"/>
                  </a:moveTo>
                  <a:lnTo>
                    <a:pt x="94350" y="378038"/>
                  </a:lnTo>
                  <a:lnTo>
                    <a:pt x="90525" y="426488"/>
                  </a:lnTo>
                  <a:lnTo>
                    <a:pt x="94988" y="438601"/>
                  </a:lnTo>
                  <a:lnTo>
                    <a:pt x="129413" y="457088"/>
                  </a:lnTo>
                  <a:lnTo>
                    <a:pt x="227588" y="466651"/>
                  </a:lnTo>
                  <a:lnTo>
                    <a:pt x="231413" y="478126"/>
                  </a:lnTo>
                  <a:lnTo>
                    <a:pt x="277951" y="478764"/>
                  </a:lnTo>
                  <a:lnTo>
                    <a:pt x="321938" y="484501"/>
                  </a:lnTo>
                  <a:lnTo>
                    <a:pt x="393338" y="476851"/>
                  </a:lnTo>
                  <a:lnTo>
                    <a:pt x="428401" y="482588"/>
                  </a:lnTo>
                  <a:lnTo>
                    <a:pt x="438601" y="478126"/>
                  </a:lnTo>
                  <a:lnTo>
                    <a:pt x="619014" y="518926"/>
                  </a:lnTo>
                  <a:lnTo>
                    <a:pt x="631126" y="521476"/>
                  </a:lnTo>
                  <a:lnTo>
                    <a:pt x="629851" y="515101"/>
                  </a:lnTo>
                  <a:lnTo>
                    <a:pt x="632401" y="485776"/>
                  </a:lnTo>
                  <a:lnTo>
                    <a:pt x="629214" y="457726"/>
                  </a:lnTo>
                  <a:lnTo>
                    <a:pt x="703801" y="122400"/>
                  </a:lnTo>
                  <a:lnTo>
                    <a:pt x="692964" y="120488"/>
                  </a:lnTo>
                  <a:lnTo>
                    <a:pt x="542514" y="85425"/>
                  </a:lnTo>
                  <a:lnTo>
                    <a:pt x="411188" y="52275"/>
                  </a:lnTo>
                  <a:lnTo>
                    <a:pt x="262651" y="11475"/>
                  </a:lnTo>
                  <a:lnTo>
                    <a:pt x="218026" y="0"/>
                  </a:lnTo>
                  <a:lnTo>
                    <a:pt x="228863" y="55463"/>
                  </a:lnTo>
                  <a:lnTo>
                    <a:pt x="218663" y="73313"/>
                  </a:lnTo>
                  <a:lnTo>
                    <a:pt x="201450" y="63750"/>
                  </a:lnTo>
                  <a:lnTo>
                    <a:pt x="218026" y="140888"/>
                  </a:lnTo>
                  <a:lnTo>
                    <a:pt x="200175" y="166388"/>
                  </a:lnTo>
                  <a:lnTo>
                    <a:pt x="191888" y="189975"/>
                  </a:lnTo>
                  <a:lnTo>
                    <a:pt x="191888" y="214200"/>
                  </a:lnTo>
                  <a:lnTo>
                    <a:pt x="154275" y="240975"/>
                  </a:lnTo>
                  <a:lnTo>
                    <a:pt x="138338" y="230138"/>
                  </a:lnTo>
                  <a:lnTo>
                    <a:pt x="123038" y="237788"/>
                  </a:lnTo>
                  <a:lnTo>
                    <a:pt x="151725" y="201450"/>
                  </a:lnTo>
                  <a:lnTo>
                    <a:pt x="144713" y="226313"/>
                  </a:lnTo>
                  <a:lnTo>
                    <a:pt x="160650" y="209100"/>
                  </a:lnTo>
                  <a:lnTo>
                    <a:pt x="173400" y="211650"/>
                  </a:lnTo>
                  <a:lnTo>
                    <a:pt x="169575" y="181050"/>
                  </a:lnTo>
                  <a:lnTo>
                    <a:pt x="177863" y="182325"/>
                  </a:lnTo>
                  <a:lnTo>
                    <a:pt x="195075" y="144075"/>
                  </a:lnTo>
                  <a:lnTo>
                    <a:pt x="189338" y="138338"/>
                  </a:lnTo>
                  <a:lnTo>
                    <a:pt x="167025" y="167663"/>
                  </a:lnTo>
                  <a:lnTo>
                    <a:pt x="152363" y="168300"/>
                  </a:lnTo>
                  <a:lnTo>
                    <a:pt x="168300" y="150450"/>
                  </a:lnTo>
                  <a:lnTo>
                    <a:pt x="186150" y="145988"/>
                  </a:lnTo>
                  <a:lnTo>
                    <a:pt x="179775" y="112838"/>
                  </a:lnTo>
                  <a:lnTo>
                    <a:pt x="161925" y="108375"/>
                  </a:lnTo>
                  <a:lnTo>
                    <a:pt x="152363" y="93075"/>
                  </a:lnTo>
                  <a:lnTo>
                    <a:pt x="140888" y="98813"/>
                  </a:lnTo>
                  <a:lnTo>
                    <a:pt x="82238" y="73313"/>
                  </a:lnTo>
                  <a:lnTo>
                    <a:pt x="29963" y="33150"/>
                  </a:lnTo>
                  <a:lnTo>
                    <a:pt x="15938" y="72038"/>
                  </a:lnTo>
                  <a:lnTo>
                    <a:pt x="14663" y="88613"/>
                  </a:lnTo>
                  <a:lnTo>
                    <a:pt x="26138" y="118575"/>
                  </a:lnTo>
                  <a:lnTo>
                    <a:pt x="19125" y="215475"/>
                  </a:lnTo>
                  <a:lnTo>
                    <a:pt x="14025" y="230138"/>
                  </a:lnTo>
                  <a:lnTo>
                    <a:pt x="43350" y="232688"/>
                  </a:lnTo>
                  <a:lnTo>
                    <a:pt x="14025" y="253088"/>
                  </a:lnTo>
                  <a:lnTo>
                    <a:pt x="29325" y="260738"/>
                  </a:lnTo>
                  <a:lnTo>
                    <a:pt x="17213" y="301538"/>
                  </a:lnTo>
                  <a:lnTo>
                    <a:pt x="11475" y="269025"/>
                  </a:lnTo>
                  <a:lnTo>
                    <a:pt x="0" y="306001"/>
                  </a:lnTo>
                  <a:lnTo>
                    <a:pt x="14663" y="323851"/>
                  </a:lnTo>
                  <a:lnTo>
                    <a:pt x="30600" y="322576"/>
                  </a:lnTo>
                  <a:lnTo>
                    <a:pt x="49725" y="334051"/>
                  </a:lnTo>
                  <a:lnTo>
                    <a:pt x="59925" y="352538"/>
                  </a:lnTo>
                  <a:lnTo>
                    <a:pt x="71400" y="353176"/>
                  </a:lnTo>
                  <a:lnTo>
                    <a:pt x="71400" y="353176"/>
                  </a:lnTo>
                  <a:lnTo>
                    <a:pt x="71400" y="353176"/>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43" name="Freeform 25">
              <a:extLst>
                <a:ext uri="{FF2B5EF4-FFF2-40B4-BE49-F238E27FC236}">
                  <a16:creationId xmlns:a16="http://schemas.microsoft.com/office/drawing/2014/main" id="{BAEBFB26-64E8-1DE7-6F8B-47855F62C096}"/>
                </a:ext>
              </a:extLst>
            </p:cNvPr>
            <p:cNvSpPr/>
            <p:nvPr/>
          </p:nvSpPr>
          <p:spPr>
            <a:xfrm>
              <a:off x="2678336" y="2838137"/>
              <a:ext cx="708901" cy="831301"/>
            </a:xfrm>
            <a:custGeom>
              <a:avLst/>
              <a:gdLst>
                <a:gd name="connsiteX0" fmla="*/ 692326 w 708901"/>
                <a:gd name="connsiteY0" fmla="*/ 73313 h 831301"/>
                <a:gd name="connsiteX1" fmla="*/ 476213 w 708901"/>
                <a:gd name="connsiteY1" fmla="*/ 45900 h 831301"/>
                <a:gd name="connsiteX2" fmla="*/ 359551 w 708901"/>
                <a:gd name="connsiteY2" fmla="*/ 29325 h 831301"/>
                <a:gd name="connsiteX3" fmla="*/ 193800 w 708901"/>
                <a:gd name="connsiteY3" fmla="*/ 2550 h 831301"/>
                <a:gd name="connsiteX4" fmla="*/ 177225 w 708901"/>
                <a:gd name="connsiteY4" fmla="*/ 0 h 831301"/>
                <a:gd name="connsiteX5" fmla="*/ 177225 w 708901"/>
                <a:gd name="connsiteY5" fmla="*/ 1275 h 831301"/>
                <a:gd name="connsiteX6" fmla="*/ 148538 w 708901"/>
                <a:gd name="connsiteY6" fmla="*/ 125588 h 831301"/>
                <a:gd name="connsiteX7" fmla="*/ 133875 w 708901"/>
                <a:gd name="connsiteY7" fmla="*/ 124950 h 831301"/>
                <a:gd name="connsiteX8" fmla="*/ 111563 w 708901"/>
                <a:gd name="connsiteY8" fmla="*/ 105188 h 831301"/>
                <a:gd name="connsiteX9" fmla="*/ 82875 w 708901"/>
                <a:gd name="connsiteY9" fmla="*/ 128775 h 831301"/>
                <a:gd name="connsiteX10" fmla="*/ 82238 w 708901"/>
                <a:gd name="connsiteY10" fmla="*/ 230776 h 831301"/>
                <a:gd name="connsiteX11" fmla="*/ 71400 w 708901"/>
                <a:gd name="connsiteY11" fmla="*/ 252450 h 831301"/>
                <a:gd name="connsiteX12" fmla="*/ 71400 w 708901"/>
                <a:gd name="connsiteY12" fmla="*/ 254363 h 831301"/>
                <a:gd name="connsiteX13" fmla="*/ 71400 w 708901"/>
                <a:gd name="connsiteY13" fmla="*/ 255001 h 831301"/>
                <a:gd name="connsiteX14" fmla="*/ 70125 w 708901"/>
                <a:gd name="connsiteY14" fmla="*/ 270938 h 831301"/>
                <a:gd name="connsiteX15" fmla="*/ 92438 w 708901"/>
                <a:gd name="connsiteY15" fmla="*/ 330863 h 831301"/>
                <a:gd name="connsiteX16" fmla="*/ 112200 w 708901"/>
                <a:gd name="connsiteY16" fmla="*/ 358276 h 831301"/>
                <a:gd name="connsiteX17" fmla="*/ 76500 w 708901"/>
                <a:gd name="connsiteY17" fmla="*/ 379313 h 831301"/>
                <a:gd name="connsiteX18" fmla="*/ 62475 w 708901"/>
                <a:gd name="connsiteY18" fmla="*/ 406088 h 831301"/>
                <a:gd name="connsiteX19" fmla="*/ 39525 w 708901"/>
                <a:gd name="connsiteY19" fmla="*/ 462188 h 831301"/>
                <a:gd name="connsiteX20" fmla="*/ 28050 w 708901"/>
                <a:gd name="connsiteY20" fmla="*/ 464739 h 831301"/>
                <a:gd name="connsiteX21" fmla="*/ 27412 w 708901"/>
                <a:gd name="connsiteY21" fmla="*/ 511913 h 831301"/>
                <a:gd name="connsiteX22" fmla="*/ 47175 w 708901"/>
                <a:gd name="connsiteY22" fmla="*/ 526576 h 831301"/>
                <a:gd name="connsiteX23" fmla="*/ 36337 w 708901"/>
                <a:gd name="connsiteY23" fmla="*/ 555263 h 831301"/>
                <a:gd name="connsiteX24" fmla="*/ 13387 w 708901"/>
                <a:gd name="connsiteY24" fmla="*/ 556539 h 831301"/>
                <a:gd name="connsiteX25" fmla="*/ 13387 w 708901"/>
                <a:gd name="connsiteY25" fmla="*/ 556539 h 831301"/>
                <a:gd name="connsiteX26" fmla="*/ 0 w 708901"/>
                <a:gd name="connsiteY26" fmla="*/ 581401 h 831301"/>
                <a:gd name="connsiteX27" fmla="*/ 46538 w 708901"/>
                <a:gd name="connsiteY27" fmla="*/ 610726 h 831301"/>
                <a:gd name="connsiteX28" fmla="*/ 133875 w 708901"/>
                <a:gd name="connsiteY28" fmla="*/ 659814 h 831301"/>
                <a:gd name="connsiteX29" fmla="*/ 404176 w 708901"/>
                <a:gd name="connsiteY29" fmla="*/ 802614 h 831301"/>
                <a:gd name="connsiteX30" fmla="*/ 633039 w 708901"/>
                <a:gd name="connsiteY30" fmla="*/ 831302 h 831301"/>
                <a:gd name="connsiteX31" fmla="*/ 635589 w 708901"/>
                <a:gd name="connsiteY31" fmla="*/ 831302 h 831301"/>
                <a:gd name="connsiteX32" fmla="*/ 653439 w 708901"/>
                <a:gd name="connsiteY32" fmla="*/ 641964 h 831301"/>
                <a:gd name="connsiteX33" fmla="*/ 657901 w 708901"/>
                <a:gd name="connsiteY33" fmla="*/ 594789 h 831301"/>
                <a:gd name="connsiteX34" fmla="*/ 706351 w 708901"/>
                <a:gd name="connsiteY34" fmla="*/ 97538 h 831301"/>
                <a:gd name="connsiteX35" fmla="*/ 708901 w 708901"/>
                <a:gd name="connsiteY35" fmla="*/ 74588 h 831301"/>
                <a:gd name="connsiteX36" fmla="*/ 692326 w 708901"/>
                <a:gd name="connsiteY36" fmla="*/ 73313 h 831301"/>
                <a:gd name="connsiteX37" fmla="*/ 692326 w 708901"/>
                <a:gd name="connsiteY37" fmla="*/ 73313 h 83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8901" h="831301">
                  <a:moveTo>
                    <a:pt x="692326" y="73313"/>
                  </a:moveTo>
                  <a:lnTo>
                    <a:pt x="476213" y="45900"/>
                  </a:lnTo>
                  <a:lnTo>
                    <a:pt x="359551" y="29325"/>
                  </a:lnTo>
                  <a:lnTo>
                    <a:pt x="193800" y="2550"/>
                  </a:lnTo>
                  <a:lnTo>
                    <a:pt x="177225" y="0"/>
                  </a:lnTo>
                  <a:lnTo>
                    <a:pt x="177225" y="1275"/>
                  </a:lnTo>
                  <a:lnTo>
                    <a:pt x="148538" y="125588"/>
                  </a:lnTo>
                  <a:lnTo>
                    <a:pt x="133875" y="124950"/>
                  </a:lnTo>
                  <a:lnTo>
                    <a:pt x="111563" y="105188"/>
                  </a:lnTo>
                  <a:lnTo>
                    <a:pt x="82875" y="128775"/>
                  </a:lnTo>
                  <a:lnTo>
                    <a:pt x="82238" y="230776"/>
                  </a:lnTo>
                  <a:lnTo>
                    <a:pt x="71400" y="252450"/>
                  </a:lnTo>
                  <a:lnTo>
                    <a:pt x="71400" y="254363"/>
                  </a:lnTo>
                  <a:lnTo>
                    <a:pt x="71400" y="255001"/>
                  </a:lnTo>
                  <a:lnTo>
                    <a:pt x="70125" y="270938"/>
                  </a:lnTo>
                  <a:lnTo>
                    <a:pt x="92438" y="330863"/>
                  </a:lnTo>
                  <a:lnTo>
                    <a:pt x="112200" y="358276"/>
                  </a:lnTo>
                  <a:lnTo>
                    <a:pt x="76500" y="379313"/>
                  </a:lnTo>
                  <a:lnTo>
                    <a:pt x="62475" y="406088"/>
                  </a:lnTo>
                  <a:lnTo>
                    <a:pt x="39525" y="462188"/>
                  </a:lnTo>
                  <a:lnTo>
                    <a:pt x="28050" y="464739"/>
                  </a:lnTo>
                  <a:lnTo>
                    <a:pt x="27412" y="511913"/>
                  </a:lnTo>
                  <a:lnTo>
                    <a:pt x="47175" y="526576"/>
                  </a:lnTo>
                  <a:lnTo>
                    <a:pt x="36337" y="555263"/>
                  </a:lnTo>
                  <a:lnTo>
                    <a:pt x="13387" y="556539"/>
                  </a:lnTo>
                  <a:lnTo>
                    <a:pt x="13387" y="556539"/>
                  </a:lnTo>
                  <a:lnTo>
                    <a:pt x="0" y="581401"/>
                  </a:lnTo>
                  <a:lnTo>
                    <a:pt x="46538" y="610726"/>
                  </a:lnTo>
                  <a:lnTo>
                    <a:pt x="133875" y="659814"/>
                  </a:lnTo>
                  <a:lnTo>
                    <a:pt x="404176" y="802614"/>
                  </a:lnTo>
                  <a:lnTo>
                    <a:pt x="633039" y="831302"/>
                  </a:lnTo>
                  <a:lnTo>
                    <a:pt x="635589" y="831302"/>
                  </a:lnTo>
                  <a:lnTo>
                    <a:pt x="653439" y="641964"/>
                  </a:lnTo>
                  <a:lnTo>
                    <a:pt x="657901" y="594789"/>
                  </a:lnTo>
                  <a:lnTo>
                    <a:pt x="706351" y="97538"/>
                  </a:lnTo>
                  <a:lnTo>
                    <a:pt x="708901" y="74588"/>
                  </a:lnTo>
                  <a:lnTo>
                    <a:pt x="692326" y="73313"/>
                  </a:lnTo>
                  <a:lnTo>
                    <a:pt x="692326" y="7331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46" name="Freeform 28">
              <a:extLst>
                <a:ext uri="{FF2B5EF4-FFF2-40B4-BE49-F238E27FC236}">
                  <a16:creationId xmlns:a16="http://schemas.microsoft.com/office/drawing/2014/main" id="{9255F9B2-974C-6FEA-B780-CB8F8E41753D}"/>
                </a:ext>
              </a:extLst>
            </p:cNvPr>
            <p:cNvSpPr/>
            <p:nvPr/>
          </p:nvSpPr>
          <p:spPr>
            <a:xfrm>
              <a:off x="2290735" y="2052098"/>
              <a:ext cx="672563" cy="1042314"/>
            </a:xfrm>
            <a:custGeom>
              <a:avLst/>
              <a:gdLst>
                <a:gd name="connsiteX0" fmla="*/ 568014 w 672563"/>
                <a:gd name="connsiteY0" fmla="*/ 766276 h 1042314"/>
                <a:gd name="connsiteX1" fmla="*/ 634951 w 672563"/>
                <a:gd name="connsiteY1" fmla="*/ 350626 h 1042314"/>
                <a:gd name="connsiteX2" fmla="*/ 668739 w 672563"/>
                <a:gd name="connsiteY2" fmla="*/ 142800 h 1042314"/>
                <a:gd name="connsiteX3" fmla="*/ 672564 w 672563"/>
                <a:gd name="connsiteY3" fmla="*/ 122400 h 1042314"/>
                <a:gd name="connsiteX4" fmla="*/ 654076 w 672563"/>
                <a:gd name="connsiteY4" fmla="*/ 119213 h 1042314"/>
                <a:gd name="connsiteX5" fmla="*/ 581401 w 672563"/>
                <a:gd name="connsiteY5" fmla="*/ 105825 h 1042314"/>
                <a:gd name="connsiteX6" fmla="*/ 399713 w 672563"/>
                <a:gd name="connsiteY6" fmla="*/ 70125 h 1042314"/>
                <a:gd name="connsiteX7" fmla="*/ 381863 w 672563"/>
                <a:gd name="connsiteY7" fmla="*/ 66300 h 1042314"/>
                <a:gd name="connsiteX8" fmla="*/ 364013 w 672563"/>
                <a:gd name="connsiteY8" fmla="*/ 62475 h 1042314"/>
                <a:gd name="connsiteX9" fmla="*/ 273488 w 672563"/>
                <a:gd name="connsiteY9" fmla="*/ 42712 h 1042314"/>
                <a:gd name="connsiteX10" fmla="*/ 110925 w 672563"/>
                <a:gd name="connsiteY10" fmla="*/ 4462 h 1042314"/>
                <a:gd name="connsiteX11" fmla="*/ 93075 w 672563"/>
                <a:gd name="connsiteY11" fmla="*/ 0 h 1042314"/>
                <a:gd name="connsiteX12" fmla="*/ 87338 w 672563"/>
                <a:gd name="connsiteY12" fmla="*/ 24225 h 1042314"/>
                <a:gd name="connsiteX13" fmla="*/ 0 w 672563"/>
                <a:gd name="connsiteY13" fmla="*/ 394613 h 1042314"/>
                <a:gd name="connsiteX14" fmla="*/ 75863 w 672563"/>
                <a:gd name="connsiteY14" fmla="*/ 503626 h 1042314"/>
                <a:gd name="connsiteX15" fmla="*/ 153638 w 672563"/>
                <a:gd name="connsiteY15" fmla="*/ 612001 h 1042314"/>
                <a:gd name="connsiteX16" fmla="*/ 292613 w 672563"/>
                <a:gd name="connsiteY16" fmla="*/ 810902 h 1042314"/>
                <a:gd name="connsiteX17" fmla="*/ 392063 w 672563"/>
                <a:gd name="connsiteY17" fmla="*/ 951152 h 1042314"/>
                <a:gd name="connsiteX18" fmla="*/ 443701 w 672563"/>
                <a:gd name="connsiteY18" fmla="*/ 1020002 h 1042314"/>
                <a:gd name="connsiteX19" fmla="*/ 460276 w 672563"/>
                <a:gd name="connsiteY19" fmla="*/ 1042315 h 1042314"/>
                <a:gd name="connsiteX20" fmla="*/ 460276 w 672563"/>
                <a:gd name="connsiteY20" fmla="*/ 1041040 h 1042314"/>
                <a:gd name="connsiteX21" fmla="*/ 471113 w 672563"/>
                <a:gd name="connsiteY21" fmla="*/ 1019364 h 1042314"/>
                <a:gd name="connsiteX22" fmla="*/ 471751 w 672563"/>
                <a:gd name="connsiteY22" fmla="*/ 917364 h 1042314"/>
                <a:gd name="connsiteX23" fmla="*/ 500439 w 672563"/>
                <a:gd name="connsiteY23" fmla="*/ 893777 h 1042314"/>
                <a:gd name="connsiteX24" fmla="*/ 522751 w 672563"/>
                <a:gd name="connsiteY24" fmla="*/ 913539 h 1042314"/>
                <a:gd name="connsiteX25" fmla="*/ 537414 w 672563"/>
                <a:gd name="connsiteY25" fmla="*/ 914177 h 1042314"/>
                <a:gd name="connsiteX26" fmla="*/ 566101 w 672563"/>
                <a:gd name="connsiteY26" fmla="*/ 789864 h 1042314"/>
                <a:gd name="connsiteX27" fmla="*/ 566101 w 672563"/>
                <a:gd name="connsiteY27" fmla="*/ 788589 h 1042314"/>
                <a:gd name="connsiteX28" fmla="*/ 568014 w 672563"/>
                <a:gd name="connsiteY28" fmla="*/ 766276 h 1042314"/>
                <a:gd name="connsiteX29" fmla="*/ 568014 w 672563"/>
                <a:gd name="connsiteY29" fmla="*/ 766276 h 104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2563" h="1042314">
                  <a:moveTo>
                    <a:pt x="568014" y="766276"/>
                  </a:moveTo>
                  <a:lnTo>
                    <a:pt x="634951" y="350626"/>
                  </a:lnTo>
                  <a:lnTo>
                    <a:pt x="668739" y="142800"/>
                  </a:lnTo>
                  <a:lnTo>
                    <a:pt x="672564" y="122400"/>
                  </a:lnTo>
                  <a:lnTo>
                    <a:pt x="654076" y="119213"/>
                  </a:lnTo>
                  <a:lnTo>
                    <a:pt x="581401" y="105825"/>
                  </a:lnTo>
                  <a:lnTo>
                    <a:pt x="399713" y="70125"/>
                  </a:lnTo>
                  <a:lnTo>
                    <a:pt x="381863" y="66300"/>
                  </a:lnTo>
                  <a:lnTo>
                    <a:pt x="364013" y="62475"/>
                  </a:lnTo>
                  <a:lnTo>
                    <a:pt x="273488" y="42712"/>
                  </a:lnTo>
                  <a:lnTo>
                    <a:pt x="110925" y="4462"/>
                  </a:lnTo>
                  <a:lnTo>
                    <a:pt x="93075" y="0"/>
                  </a:lnTo>
                  <a:lnTo>
                    <a:pt x="87338" y="24225"/>
                  </a:lnTo>
                  <a:lnTo>
                    <a:pt x="0" y="394613"/>
                  </a:lnTo>
                  <a:lnTo>
                    <a:pt x="75863" y="503626"/>
                  </a:lnTo>
                  <a:lnTo>
                    <a:pt x="153638" y="612001"/>
                  </a:lnTo>
                  <a:lnTo>
                    <a:pt x="292613" y="810902"/>
                  </a:lnTo>
                  <a:lnTo>
                    <a:pt x="392063" y="951152"/>
                  </a:lnTo>
                  <a:lnTo>
                    <a:pt x="443701" y="1020002"/>
                  </a:lnTo>
                  <a:lnTo>
                    <a:pt x="460276" y="1042315"/>
                  </a:lnTo>
                  <a:lnTo>
                    <a:pt x="460276" y="1041040"/>
                  </a:lnTo>
                  <a:lnTo>
                    <a:pt x="471113" y="1019364"/>
                  </a:lnTo>
                  <a:lnTo>
                    <a:pt x="471751" y="917364"/>
                  </a:lnTo>
                  <a:lnTo>
                    <a:pt x="500439" y="893777"/>
                  </a:lnTo>
                  <a:lnTo>
                    <a:pt x="522751" y="913539"/>
                  </a:lnTo>
                  <a:lnTo>
                    <a:pt x="537414" y="914177"/>
                  </a:lnTo>
                  <a:lnTo>
                    <a:pt x="566101" y="789864"/>
                  </a:lnTo>
                  <a:lnTo>
                    <a:pt x="566101" y="788589"/>
                  </a:lnTo>
                  <a:lnTo>
                    <a:pt x="568014" y="766276"/>
                  </a:lnTo>
                  <a:lnTo>
                    <a:pt x="568014" y="766276"/>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47" name="Freeform 29">
              <a:extLst>
                <a:ext uri="{FF2B5EF4-FFF2-40B4-BE49-F238E27FC236}">
                  <a16:creationId xmlns:a16="http://schemas.microsoft.com/office/drawing/2014/main" id="{F6EA03F1-8B19-C975-272E-51BDC70E023A}"/>
                </a:ext>
              </a:extLst>
            </p:cNvPr>
            <p:cNvSpPr/>
            <p:nvPr/>
          </p:nvSpPr>
          <p:spPr>
            <a:xfrm>
              <a:off x="3314562" y="2913362"/>
              <a:ext cx="721651" cy="765639"/>
            </a:xfrm>
            <a:custGeom>
              <a:avLst/>
              <a:gdLst>
                <a:gd name="connsiteX0" fmla="*/ 719739 w 721651"/>
                <a:gd name="connsiteY0" fmla="*/ 96900 h 765639"/>
                <a:gd name="connsiteX1" fmla="*/ 720376 w 721651"/>
                <a:gd name="connsiteY1" fmla="*/ 80325 h 765639"/>
                <a:gd name="connsiteX2" fmla="*/ 721014 w 721651"/>
                <a:gd name="connsiteY2" fmla="*/ 63750 h 765639"/>
                <a:gd name="connsiteX3" fmla="*/ 721652 w 721651"/>
                <a:gd name="connsiteY3" fmla="*/ 47175 h 765639"/>
                <a:gd name="connsiteX4" fmla="*/ 701251 w 721651"/>
                <a:gd name="connsiteY4" fmla="*/ 46538 h 765639"/>
                <a:gd name="connsiteX5" fmla="*/ 559089 w 721651"/>
                <a:gd name="connsiteY5" fmla="*/ 40163 h 765639"/>
                <a:gd name="connsiteX6" fmla="*/ 416926 w 721651"/>
                <a:gd name="connsiteY6" fmla="*/ 30600 h 765639"/>
                <a:gd name="connsiteX7" fmla="*/ 93075 w 721651"/>
                <a:gd name="connsiteY7" fmla="*/ 1912 h 765639"/>
                <a:gd name="connsiteX8" fmla="*/ 73313 w 721651"/>
                <a:gd name="connsiteY8" fmla="*/ 0 h 765639"/>
                <a:gd name="connsiteX9" fmla="*/ 70763 w 721651"/>
                <a:gd name="connsiteY9" fmla="*/ 22950 h 765639"/>
                <a:gd name="connsiteX10" fmla="*/ 22313 w 721651"/>
                <a:gd name="connsiteY10" fmla="*/ 520201 h 765639"/>
                <a:gd name="connsiteX11" fmla="*/ 17850 w 721651"/>
                <a:gd name="connsiteY11" fmla="*/ 567376 h 765639"/>
                <a:gd name="connsiteX12" fmla="*/ 0 w 721651"/>
                <a:gd name="connsiteY12" fmla="*/ 756714 h 765639"/>
                <a:gd name="connsiteX13" fmla="*/ 2550 w 721651"/>
                <a:gd name="connsiteY13" fmla="*/ 757351 h 765639"/>
                <a:gd name="connsiteX14" fmla="*/ 91163 w 721651"/>
                <a:gd name="connsiteY14" fmla="*/ 765639 h 765639"/>
                <a:gd name="connsiteX15" fmla="*/ 99450 w 721651"/>
                <a:gd name="connsiteY15" fmla="*/ 720376 h 765639"/>
                <a:gd name="connsiteX16" fmla="*/ 115388 w 721651"/>
                <a:gd name="connsiteY16" fmla="*/ 707626 h 765639"/>
                <a:gd name="connsiteX17" fmla="*/ 295163 w 721651"/>
                <a:gd name="connsiteY17" fmla="*/ 723564 h 765639"/>
                <a:gd name="connsiteX18" fmla="*/ 296438 w 721651"/>
                <a:gd name="connsiteY18" fmla="*/ 723564 h 765639"/>
                <a:gd name="connsiteX19" fmla="*/ 280501 w 721651"/>
                <a:gd name="connsiteY19" fmla="*/ 691689 h 765639"/>
                <a:gd name="connsiteX20" fmla="*/ 362101 w 721651"/>
                <a:gd name="connsiteY20" fmla="*/ 697427 h 765639"/>
                <a:gd name="connsiteX21" fmla="*/ 566101 w 721651"/>
                <a:gd name="connsiteY21" fmla="*/ 708902 h 765639"/>
                <a:gd name="connsiteX22" fmla="*/ 692964 w 721651"/>
                <a:gd name="connsiteY22" fmla="*/ 714639 h 765639"/>
                <a:gd name="connsiteX23" fmla="*/ 714639 w 721651"/>
                <a:gd name="connsiteY23" fmla="*/ 112200 h 765639"/>
                <a:gd name="connsiteX24" fmla="*/ 719101 w 721651"/>
                <a:gd name="connsiteY24" fmla="*/ 112838 h 765639"/>
                <a:gd name="connsiteX25" fmla="*/ 719101 w 721651"/>
                <a:gd name="connsiteY25" fmla="*/ 96900 h 765639"/>
                <a:gd name="connsiteX26" fmla="*/ 719739 w 721651"/>
                <a:gd name="connsiteY26" fmla="*/ 96900 h 76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1651" h="765639">
                  <a:moveTo>
                    <a:pt x="719739" y="96900"/>
                  </a:moveTo>
                  <a:lnTo>
                    <a:pt x="720376" y="80325"/>
                  </a:lnTo>
                  <a:lnTo>
                    <a:pt x="721014" y="63750"/>
                  </a:lnTo>
                  <a:lnTo>
                    <a:pt x="721652" y="47175"/>
                  </a:lnTo>
                  <a:lnTo>
                    <a:pt x="701251" y="46538"/>
                  </a:lnTo>
                  <a:lnTo>
                    <a:pt x="559089" y="40163"/>
                  </a:lnTo>
                  <a:lnTo>
                    <a:pt x="416926" y="30600"/>
                  </a:lnTo>
                  <a:lnTo>
                    <a:pt x="93075" y="1912"/>
                  </a:lnTo>
                  <a:lnTo>
                    <a:pt x="73313" y="0"/>
                  </a:lnTo>
                  <a:lnTo>
                    <a:pt x="70763" y="22950"/>
                  </a:lnTo>
                  <a:lnTo>
                    <a:pt x="22313" y="520201"/>
                  </a:lnTo>
                  <a:lnTo>
                    <a:pt x="17850" y="567376"/>
                  </a:lnTo>
                  <a:lnTo>
                    <a:pt x="0" y="756714"/>
                  </a:lnTo>
                  <a:lnTo>
                    <a:pt x="2550" y="757351"/>
                  </a:lnTo>
                  <a:lnTo>
                    <a:pt x="91163" y="765639"/>
                  </a:lnTo>
                  <a:lnTo>
                    <a:pt x="99450" y="720376"/>
                  </a:lnTo>
                  <a:lnTo>
                    <a:pt x="115388" y="707626"/>
                  </a:lnTo>
                  <a:lnTo>
                    <a:pt x="295163" y="723564"/>
                  </a:lnTo>
                  <a:lnTo>
                    <a:pt x="296438" y="723564"/>
                  </a:lnTo>
                  <a:lnTo>
                    <a:pt x="280501" y="691689"/>
                  </a:lnTo>
                  <a:lnTo>
                    <a:pt x="362101" y="697427"/>
                  </a:lnTo>
                  <a:lnTo>
                    <a:pt x="566101" y="708902"/>
                  </a:lnTo>
                  <a:lnTo>
                    <a:pt x="692964" y="714639"/>
                  </a:lnTo>
                  <a:lnTo>
                    <a:pt x="714639" y="112200"/>
                  </a:lnTo>
                  <a:lnTo>
                    <a:pt x="719101" y="112838"/>
                  </a:lnTo>
                  <a:lnTo>
                    <a:pt x="719101" y="96900"/>
                  </a:lnTo>
                  <a:lnTo>
                    <a:pt x="719739" y="969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48" name="Freeform 30">
              <a:extLst>
                <a:ext uri="{FF2B5EF4-FFF2-40B4-BE49-F238E27FC236}">
                  <a16:creationId xmlns:a16="http://schemas.microsoft.com/office/drawing/2014/main" id="{2B0B068A-4ADB-8A79-971A-C9963B7B8FA6}"/>
                </a:ext>
              </a:extLst>
            </p:cNvPr>
            <p:cNvSpPr/>
            <p:nvPr/>
          </p:nvSpPr>
          <p:spPr>
            <a:xfrm>
              <a:off x="1972622" y="1405034"/>
              <a:ext cx="846601" cy="713363"/>
            </a:xfrm>
            <a:custGeom>
              <a:avLst/>
              <a:gdLst>
                <a:gd name="connsiteX0" fmla="*/ 8288 w 846601"/>
                <a:gd name="connsiteY0" fmla="*/ 533588 h 713363"/>
                <a:gd name="connsiteX1" fmla="*/ 110288 w 846601"/>
                <a:gd name="connsiteY1" fmla="*/ 564826 h 713363"/>
                <a:gd name="connsiteX2" fmla="*/ 385051 w 846601"/>
                <a:gd name="connsiteY2" fmla="*/ 640689 h 713363"/>
                <a:gd name="connsiteX3" fmla="*/ 409913 w 846601"/>
                <a:gd name="connsiteY3" fmla="*/ 647064 h 713363"/>
                <a:gd name="connsiteX4" fmla="*/ 427763 w 846601"/>
                <a:gd name="connsiteY4" fmla="*/ 651526 h 713363"/>
                <a:gd name="connsiteX5" fmla="*/ 590326 w 846601"/>
                <a:gd name="connsiteY5" fmla="*/ 689776 h 713363"/>
                <a:gd name="connsiteX6" fmla="*/ 680851 w 846601"/>
                <a:gd name="connsiteY6" fmla="*/ 709539 h 713363"/>
                <a:gd name="connsiteX7" fmla="*/ 698701 w 846601"/>
                <a:gd name="connsiteY7" fmla="*/ 713364 h 713363"/>
                <a:gd name="connsiteX8" fmla="*/ 701251 w 846601"/>
                <a:gd name="connsiteY8" fmla="*/ 699976 h 713363"/>
                <a:gd name="connsiteX9" fmla="*/ 761814 w 846601"/>
                <a:gd name="connsiteY9" fmla="*/ 446888 h 713363"/>
                <a:gd name="connsiteX10" fmla="*/ 745877 w 846601"/>
                <a:gd name="connsiteY10" fmla="*/ 406726 h 713363"/>
                <a:gd name="connsiteX11" fmla="*/ 747789 w 846601"/>
                <a:gd name="connsiteY11" fmla="*/ 390788 h 713363"/>
                <a:gd name="connsiteX12" fmla="*/ 814727 w 846601"/>
                <a:gd name="connsiteY12" fmla="*/ 303450 h 713363"/>
                <a:gd name="connsiteX13" fmla="*/ 846602 w 846601"/>
                <a:gd name="connsiteY13" fmla="*/ 224400 h 713363"/>
                <a:gd name="connsiteX14" fmla="*/ 824927 w 846601"/>
                <a:gd name="connsiteY14" fmla="*/ 200813 h 713363"/>
                <a:gd name="connsiteX15" fmla="*/ 824289 w 846601"/>
                <a:gd name="connsiteY15" fmla="*/ 188700 h 713363"/>
                <a:gd name="connsiteX16" fmla="*/ 824289 w 846601"/>
                <a:gd name="connsiteY16" fmla="*/ 188063 h 713363"/>
                <a:gd name="connsiteX17" fmla="*/ 812177 w 846601"/>
                <a:gd name="connsiteY17" fmla="*/ 185513 h 713363"/>
                <a:gd name="connsiteX18" fmla="*/ 631764 w 846601"/>
                <a:gd name="connsiteY18" fmla="*/ 144713 h 713363"/>
                <a:gd name="connsiteX19" fmla="*/ 621564 w 846601"/>
                <a:gd name="connsiteY19" fmla="*/ 149175 h 713363"/>
                <a:gd name="connsiteX20" fmla="*/ 586501 w 846601"/>
                <a:gd name="connsiteY20" fmla="*/ 143438 h 713363"/>
                <a:gd name="connsiteX21" fmla="*/ 515101 w 846601"/>
                <a:gd name="connsiteY21" fmla="*/ 151088 h 713363"/>
                <a:gd name="connsiteX22" fmla="*/ 471113 w 846601"/>
                <a:gd name="connsiteY22" fmla="*/ 145350 h 713363"/>
                <a:gd name="connsiteX23" fmla="*/ 424576 w 846601"/>
                <a:gd name="connsiteY23" fmla="*/ 144713 h 713363"/>
                <a:gd name="connsiteX24" fmla="*/ 420751 w 846601"/>
                <a:gd name="connsiteY24" fmla="*/ 133238 h 713363"/>
                <a:gd name="connsiteX25" fmla="*/ 322576 w 846601"/>
                <a:gd name="connsiteY25" fmla="*/ 123675 h 713363"/>
                <a:gd name="connsiteX26" fmla="*/ 288151 w 846601"/>
                <a:gd name="connsiteY26" fmla="*/ 105188 h 713363"/>
                <a:gd name="connsiteX27" fmla="*/ 283688 w 846601"/>
                <a:gd name="connsiteY27" fmla="*/ 93075 h 713363"/>
                <a:gd name="connsiteX28" fmla="*/ 287513 w 846601"/>
                <a:gd name="connsiteY28" fmla="*/ 44625 h 713363"/>
                <a:gd name="connsiteX29" fmla="*/ 264563 w 846601"/>
                <a:gd name="connsiteY29" fmla="*/ 19762 h 713363"/>
                <a:gd name="connsiteX30" fmla="*/ 262651 w 846601"/>
                <a:gd name="connsiteY30" fmla="*/ 20400 h 713363"/>
                <a:gd name="connsiteX31" fmla="*/ 258188 w 846601"/>
                <a:gd name="connsiteY31" fmla="*/ 23587 h 713363"/>
                <a:gd name="connsiteX32" fmla="*/ 225675 w 846601"/>
                <a:gd name="connsiteY32" fmla="*/ 7012 h 713363"/>
                <a:gd name="connsiteX33" fmla="*/ 206550 w 846601"/>
                <a:gd name="connsiteY33" fmla="*/ 12750 h 713363"/>
                <a:gd name="connsiteX34" fmla="*/ 193800 w 846601"/>
                <a:gd name="connsiteY34" fmla="*/ 6375 h 713363"/>
                <a:gd name="connsiteX35" fmla="*/ 180413 w 846601"/>
                <a:gd name="connsiteY35" fmla="*/ 61200 h 713363"/>
                <a:gd name="connsiteX36" fmla="*/ 170850 w 846601"/>
                <a:gd name="connsiteY36" fmla="*/ 76500 h 713363"/>
                <a:gd name="connsiteX37" fmla="*/ 131325 w 846601"/>
                <a:gd name="connsiteY37" fmla="*/ 174038 h 713363"/>
                <a:gd name="connsiteX38" fmla="*/ 119850 w 846601"/>
                <a:gd name="connsiteY38" fmla="*/ 227588 h 713363"/>
                <a:gd name="connsiteX39" fmla="*/ 112838 w 846601"/>
                <a:gd name="connsiteY39" fmla="*/ 228225 h 713363"/>
                <a:gd name="connsiteX40" fmla="*/ 75863 w 846601"/>
                <a:gd name="connsiteY40" fmla="*/ 316838 h 713363"/>
                <a:gd name="connsiteX41" fmla="*/ 51000 w 846601"/>
                <a:gd name="connsiteY41" fmla="*/ 354451 h 713363"/>
                <a:gd name="connsiteX42" fmla="*/ 41438 w 846601"/>
                <a:gd name="connsiteY42" fmla="*/ 360826 h 713363"/>
                <a:gd name="connsiteX43" fmla="*/ 18487 w 846601"/>
                <a:gd name="connsiteY43" fmla="*/ 406088 h 713363"/>
                <a:gd name="connsiteX44" fmla="*/ 14025 w 846601"/>
                <a:gd name="connsiteY44" fmla="*/ 453901 h 713363"/>
                <a:gd name="connsiteX45" fmla="*/ 0 w 846601"/>
                <a:gd name="connsiteY45" fmla="*/ 495976 h 713363"/>
                <a:gd name="connsiteX46" fmla="*/ 8288 w 846601"/>
                <a:gd name="connsiteY46" fmla="*/ 533588 h 713363"/>
                <a:gd name="connsiteX47" fmla="*/ 8288 w 846601"/>
                <a:gd name="connsiteY47" fmla="*/ 533588 h 713363"/>
                <a:gd name="connsiteX48" fmla="*/ 8288 w 846601"/>
                <a:gd name="connsiteY48" fmla="*/ 533588 h 713363"/>
                <a:gd name="connsiteX49" fmla="*/ 244163 w 846601"/>
                <a:gd name="connsiteY49" fmla="*/ 5737 h 713363"/>
                <a:gd name="connsiteX50" fmla="*/ 242250 w 846601"/>
                <a:gd name="connsiteY50" fmla="*/ 0 h 713363"/>
                <a:gd name="connsiteX51" fmla="*/ 241613 w 846601"/>
                <a:gd name="connsiteY51" fmla="*/ 4462 h 713363"/>
                <a:gd name="connsiteX52" fmla="*/ 244163 w 846601"/>
                <a:gd name="connsiteY52" fmla="*/ 5737 h 713363"/>
                <a:gd name="connsiteX53" fmla="*/ 244163 w 846601"/>
                <a:gd name="connsiteY53" fmla="*/ 5737 h 71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6601" h="713363">
                  <a:moveTo>
                    <a:pt x="8288" y="533588"/>
                  </a:moveTo>
                  <a:lnTo>
                    <a:pt x="110288" y="564826"/>
                  </a:lnTo>
                  <a:lnTo>
                    <a:pt x="385051" y="640689"/>
                  </a:lnTo>
                  <a:lnTo>
                    <a:pt x="409913" y="647064"/>
                  </a:lnTo>
                  <a:lnTo>
                    <a:pt x="427763" y="651526"/>
                  </a:lnTo>
                  <a:lnTo>
                    <a:pt x="590326" y="689776"/>
                  </a:lnTo>
                  <a:lnTo>
                    <a:pt x="680851" y="709539"/>
                  </a:lnTo>
                  <a:lnTo>
                    <a:pt x="698701" y="713364"/>
                  </a:lnTo>
                  <a:lnTo>
                    <a:pt x="701251" y="699976"/>
                  </a:lnTo>
                  <a:lnTo>
                    <a:pt x="761814" y="446888"/>
                  </a:lnTo>
                  <a:lnTo>
                    <a:pt x="745877" y="406726"/>
                  </a:lnTo>
                  <a:lnTo>
                    <a:pt x="747789" y="390788"/>
                  </a:lnTo>
                  <a:lnTo>
                    <a:pt x="814727" y="303450"/>
                  </a:lnTo>
                  <a:lnTo>
                    <a:pt x="846602" y="224400"/>
                  </a:lnTo>
                  <a:lnTo>
                    <a:pt x="824927" y="200813"/>
                  </a:lnTo>
                  <a:lnTo>
                    <a:pt x="824289" y="188700"/>
                  </a:lnTo>
                  <a:lnTo>
                    <a:pt x="824289" y="188063"/>
                  </a:lnTo>
                  <a:lnTo>
                    <a:pt x="812177" y="185513"/>
                  </a:lnTo>
                  <a:lnTo>
                    <a:pt x="631764" y="144713"/>
                  </a:lnTo>
                  <a:lnTo>
                    <a:pt x="621564" y="149175"/>
                  </a:lnTo>
                  <a:lnTo>
                    <a:pt x="586501" y="143438"/>
                  </a:lnTo>
                  <a:lnTo>
                    <a:pt x="515101" y="151088"/>
                  </a:lnTo>
                  <a:lnTo>
                    <a:pt x="471113" y="145350"/>
                  </a:lnTo>
                  <a:lnTo>
                    <a:pt x="424576" y="144713"/>
                  </a:lnTo>
                  <a:lnTo>
                    <a:pt x="420751" y="133238"/>
                  </a:lnTo>
                  <a:lnTo>
                    <a:pt x="322576" y="123675"/>
                  </a:lnTo>
                  <a:lnTo>
                    <a:pt x="288151" y="105188"/>
                  </a:lnTo>
                  <a:lnTo>
                    <a:pt x="283688" y="93075"/>
                  </a:lnTo>
                  <a:lnTo>
                    <a:pt x="287513" y="44625"/>
                  </a:lnTo>
                  <a:lnTo>
                    <a:pt x="264563" y="19762"/>
                  </a:lnTo>
                  <a:lnTo>
                    <a:pt x="262651" y="20400"/>
                  </a:lnTo>
                  <a:lnTo>
                    <a:pt x="258188" y="23587"/>
                  </a:lnTo>
                  <a:lnTo>
                    <a:pt x="225675" y="7012"/>
                  </a:lnTo>
                  <a:lnTo>
                    <a:pt x="206550" y="12750"/>
                  </a:lnTo>
                  <a:lnTo>
                    <a:pt x="193800" y="6375"/>
                  </a:lnTo>
                  <a:lnTo>
                    <a:pt x="180413" y="61200"/>
                  </a:lnTo>
                  <a:lnTo>
                    <a:pt x="170850" y="76500"/>
                  </a:lnTo>
                  <a:lnTo>
                    <a:pt x="131325" y="174038"/>
                  </a:lnTo>
                  <a:lnTo>
                    <a:pt x="119850" y="227588"/>
                  </a:lnTo>
                  <a:lnTo>
                    <a:pt x="112838" y="228225"/>
                  </a:lnTo>
                  <a:lnTo>
                    <a:pt x="75863" y="316838"/>
                  </a:lnTo>
                  <a:lnTo>
                    <a:pt x="51000" y="354451"/>
                  </a:lnTo>
                  <a:lnTo>
                    <a:pt x="41438" y="360826"/>
                  </a:lnTo>
                  <a:lnTo>
                    <a:pt x="18487" y="406088"/>
                  </a:lnTo>
                  <a:lnTo>
                    <a:pt x="14025" y="453901"/>
                  </a:lnTo>
                  <a:lnTo>
                    <a:pt x="0" y="495976"/>
                  </a:lnTo>
                  <a:lnTo>
                    <a:pt x="8288" y="533588"/>
                  </a:lnTo>
                  <a:lnTo>
                    <a:pt x="8288" y="533588"/>
                  </a:lnTo>
                  <a:lnTo>
                    <a:pt x="8288" y="533588"/>
                  </a:lnTo>
                  <a:close/>
                  <a:moveTo>
                    <a:pt x="244163" y="5737"/>
                  </a:moveTo>
                  <a:lnTo>
                    <a:pt x="242250" y="0"/>
                  </a:lnTo>
                  <a:lnTo>
                    <a:pt x="241613" y="4462"/>
                  </a:lnTo>
                  <a:lnTo>
                    <a:pt x="244163" y="5737"/>
                  </a:lnTo>
                  <a:lnTo>
                    <a:pt x="244163" y="5737"/>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49" name="Freeform 31">
              <a:extLst>
                <a:ext uri="{FF2B5EF4-FFF2-40B4-BE49-F238E27FC236}">
                  <a16:creationId xmlns:a16="http://schemas.microsoft.com/office/drawing/2014/main" id="{7273C2E1-FEB1-A8DE-C9FF-084150EE3DCD}"/>
                </a:ext>
              </a:extLst>
            </p:cNvPr>
            <p:cNvSpPr/>
            <p:nvPr/>
          </p:nvSpPr>
          <p:spPr>
            <a:xfrm>
              <a:off x="2856198" y="2175136"/>
              <a:ext cx="586501" cy="739501"/>
            </a:xfrm>
            <a:custGeom>
              <a:avLst/>
              <a:gdLst>
                <a:gd name="connsiteX0" fmla="*/ 383776 w 586501"/>
                <a:gd name="connsiteY0" fmla="*/ 42713 h 739501"/>
                <a:gd name="connsiteX1" fmla="*/ 218025 w 586501"/>
                <a:gd name="connsiteY1" fmla="*/ 17850 h 739501"/>
                <a:gd name="connsiteX2" fmla="*/ 125588 w 586501"/>
                <a:gd name="connsiteY2" fmla="*/ 3188 h 739501"/>
                <a:gd name="connsiteX3" fmla="*/ 107738 w 586501"/>
                <a:gd name="connsiteY3" fmla="*/ 0 h 739501"/>
                <a:gd name="connsiteX4" fmla="*/ 103913 w 586501"/>
                <a:gd name="connsiteY4" fmla="*/ 20400 h 739501"/>
                <a:gd name="connsiteX5" fmla="*/ 70125 w 586501"/>
                <a:gd name="connsiteY5" fmla="*/ 228225 h 739501"/>
                <a:gd name="connsiteX6" fmla="*/ 3188 w 586501"/>
                <a:gd name="connsiteY6" fmla="*/ 643876 h 739501"/>
                <a:gd name="connsiteX7" fmla="*/ 0 w 586501"/>
                <a:gd name="connsiteY7" fmla="*/ 664276 h 739501"/>
                <a:gd name="connsiteX8" fmla="*/ 16575 w 586501"/>
                <a:gd name="connsiteY8" fmla="*/ 666826 h 739501"/>
                <a:gd name="connsiteX9" fmla="*/ 182325 w 586501"/>
                <a:gd name="connsiteY9" fmla="*/ 693601 h 739501"/>
                <a:gd name="connsiteX10" fmla="*/ 298988 w 586501"/>
                <a:gd name="connsiteY10" fmla="*/ 710177 h 739501"/>
                <a:gd name="connsiteX11" fmla="*/ 515101 w 586501"/>
                <a:gd name="connsiteY11" fmla="*/ 737589 h 739501"/>
                <a:gd name="connsiteX12" fmla="*/ 531676 w 586501"/>
                <a:gd name="connsiteY12" fmla="*/ 739502 h 739501"/>
                <a:gd name="connsiteX13" fmla="*/ 532951 w 586501"/>
                <a:gd name="connsiteY13" fmla="*/ 722927 h 739501"/>
                <a:gd name="connsiteX14" fmla="*/ 538051 w 586501"/>
                <a:gd name="connsiteY14" fmla="*/ 671926 h 739501"/>
                <a:gd name="connsiteX15" fmla="*/ 550164 w 586501"/>
                <a:gd name="connsiteY15" fmla="*/ 554626 h 739501"/>
                <a:gd name="connsiteX16" fmla="*/ 584589 w 586501"/>
                <a:gd name="connsiteY16" fmla="*/ 219938 h 739501"/>
                <a:gd name="connsiteX17" fmla="*/ 586501 w 586501"/>
                <a:gd name="connsiteY17" fmla="*/ 203363 h 739501"/>
                <a:gd name="connsiteX18" fmla="*/ 573751 w 586501"/>
                <a:gd name="connsiteY18" fmla="*/ 202088 h 739501"/>
                <a:gd name="connsiteX19" fmla="*/ 409913 w 586501"/>
                <a:gd name="connsiteY19" fmla="*/ 182325 h 739501"/>
                <a:gd name="connsiteX20" fmla="*/ 385051 w 586501"/>
                <a:gd name="connsiteY20" fmla="*/ 179138 h 739501"/>
                <a:gd name="connsiteX21" fmla="*/ 400988 w 586501"/>
                <a:gd name="connsiteY21" fmla="*/ 54188 h 739501"/>
                <a:gd name="connsiteX22" fmla="*/ 402263 w 586501"/>
                <a:gd name="connsiteY22" fmla="*/ 45900 h 739501"/>
                <a:gd name="connsiteX23" fmla="*/ 383776 w 586501"/>
                <a:gd name="connsiteY23" fmla="*/ 42713 h 739501"/>
                <a:gd name="connsiteX24" fmla="*/ 383776 w 586501"/>
                <a:gd name="connsiteY24" fmla="*/ 42713 h 73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6501" h="739501">
                  <a:moveTo>
                    <a:pt x="383776" y="42713"/>
                  </a:moveTo>
                  <a:lnTo>
                    <a:pt x="218025" y="17850"/>
                  </a:lnTo>
                  <a:lnTo>
                    <a:pt x="125588" y="3188"/>
                  </a:lnTo>
                  <a:lnTo>
                    <a:pt x="107738" y="0"/>
                  </a:lnTo>
                  <a:lnTo>
                    <a:pt x="103913" y="20400"/>
                  </a:lnTo>
                  <a:lnTo>
                    <a:pt x="70125" y="228225"/>
                  </a:lnTo>
                  <a:lnTo>
                    <a:pt x="3188" y="643876"/>
                  </a:lnTo>
                  <a:lnTo>
                    <a:pt x="0" y="664276"/>
                  </a:lnTo>
                  <a:lnTo>
                    <a:pt x="16575" y="666826"/>
                  </a:lnTo>
                  <a:lnTo>
                    <a:pt x="182325" y="693601"/>
                  </a:lnTo>
                  <a:lnTo>
                    <a:pt x="298988" y="710177"/>
                  </a:lnTo>
                  <a:lnTo>
                    <a:pt x="515101" y="737589"/>
                  </a:lnTo>
                  <a:lnTo>
                    <a:pt x="531676" y="739502"/>
                  </a:lnTo>
                  <a:lnTo>
                    <a:pt x="532951" y="722927"/>
                  </a:lnTo>
                  <a:lnTo>
                    <a:pt x="538051" y="671926"/>
                  </a:lnTo>
                  <a:lnTo>
                    <a:pt x="550164" y="554626"/>
                  </a:lnTo>
                  <a:lnTo>
                    <a:pt x="584589" y="219938"/>
                  </a:lnTo>
                  <a:lnTo>
                    <a:pt x="586501" y="203363"/>
                  </a:lnTo>
                  <a:lnTo>
                    <a:pt x="573751" y="202088"/>
                  </a:lnTo>
                  <a:lnTo>
                    <a:pt x="409913" y="182325"/>
                  </a:lnTo>
                  <a:lnTo>
                    <a:pt x="385051" y="179138"/>
                  </a:lnTo>
                  <a:lnTo>
                    <a:pt x="400988" y="54188"/>
                  </a:lnTo>
                  <a:lnTo>
                    <a:pt x="402263" y="45900"/>
                  </a:lnTo>
                  <a:lnTo>
                    <a:pt x="383776" y="42713"/>
                  </a:lnTo>
                  <a:lnTo>
                    <a:pt x="383776" y="427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50" name="Freeform 32">
              <a:extLst>
                <a:ext uri="{FF2B5EF4-FFF2-40B4-BE49-F238E27FC236}">
                  <a16:creationId xmlns:a16="http://schemas.microsoft.com/office/drawing/2014/main" id="{134A67D3-C256-C519-A9FB-2F68E01AF6F8}"/>
                </a:ext>
              </a:extLst>
            </p:cNvPr>
            <p:cNvSpPr/>
            <p:nvPr/>
          </p:nvSpPr>
          <p:spPr>
            <a:xfrm>
              <a:off x="3241249" y="1818135"/>
              <a:ext cx="731851" cy="598613"/>
            </a:xfrm>
            <a:custGeom>
              <a:avLst/>
              <a:gdLst>
                <a:gd name="connsiteX0" fmla="*/ 719739 w 731851"/>
                <a:gd name="connsiteY0" fmla="*/ 314926 h 598613"/>
                <a:gd name="connsiteX1" fmla="*/ 724839 w 731851"/>
                <a:gd name="connsiteY1" fmla="*/ 214838 h 598613"/>
                <a:gd name="connsiteX2" fmla="*/ 731214 w 731851"/>
                <a:gd name="connsiteY2" fmla="*/ 79688 h 598613"/>
                <a:gd name="connsiteX3" fmla="*/ 731851 w 731851"/>
                <a:gd name="connsiteY3" fmla="*/ 63113 h 598613"/>
                <a:gd name="connsiteX4" fmla="*/ 723564 w 731851"/>
                <a:gd name="connsiteY4" fmla="*/ 61838 h 598613"/>
                <a:gd name="connsiteX5" fmla="*/ 559089 w 731851"/>
                <a:gd name="connsiteY5" fmla="*/ 51638 h 598613"/>
                <a:gd name="connsiteX6" fmla="*/ 466651 w 731851"/>
                <a:gd name="connsiteY6" fmla="*/ 43988 h 598613"/>
                <a:gd name="connsiteX7" fmla="*/ 291338 w 731851"/>
                <a:gd name="connsiteY7" fmla="*/ 27412 h 598613"/>
                <a:gd name="connsiteX8" fmla="*/ 71400 w 731851"/>
                <a:gd name="connsiteY8" fmla="*/ 0 h 598613"/>
                <a:gd name="connsiteX9" fmla="*/ 61838 w 731851"/>
                <a:gd name="connsiteY9" fmla="*/ 63113 h 598613"/>
                <a:gd name="connsiteX10" fmla="*/ 61200 w 731851"/>
                <a:gd name="connsiteY10" fmla="*/ 66938 h 598613"/>
                <a:gd name="connsiteX11" fmla="*/ 58650 w 731851"/>
                <a:gd name="connsiteY11" fmla="*/ 87975 h 598613"/>
                <a:gd name="connsiteX12" fmla="*/ 47175 w 731851"/>
                <a:gd name="connsiteY12" fmla="*/ 170850 h 598613"/>
                <a:gd name="connsiteX13" fmla="*/ 25500 w 731851"/>
                <a:gd name="connsiteY13" fmla="*/ 337876 h 598613"/>
                <a:gd name="connsiteX14" fmla="*/ 19763 w 731851"/>
                <a:gd name="connsiteY14" fmla="*/ 379313 h 598613"/>
                <a:gd name="connsiteX15" fmla="*/ 17213 w 731851"/>
                <a:gd name="connsiteY15" fmla="*/ 400351 h 598613"/>
                <a:gd name="connsiteX16" fmla="*/ 15938 w 731851"/>
                <a:gd name="connsiteY16" fmla="*/ 408638 h 598613"/>
                <a:gd name="connsiteX17" fmla="*/ 0 w 731851"/>
                <a:gd name="connsiteY17" fmla="*/ 533589 h 598613"/>
                <a:gd name="connsiteX18" fmla="*/ 24863 w 731851"/>
                <a:gd name="connsiteY18" fmla="*/ 536776 h 598613"/>
                <a:gd name="connsiteX19" fmla="*/ 188700 w 731851"/>
                <a:gd name="connsiteY19" fmla="*/ 556539 h 598613"/>
                <a:gd name="connsiteX20" fmla="*/ 201450 w 731851"/>
                <a:gd name="connsiteY20" fmla="*/ 557814 h 598613"/>
                <a:gd name="connsiteX21" fmla="*/ 216750 w 731851"/>
                <a:gd name="connsiteY21" fmla="*/ 559726 h 598613"/>
                <a:gd name="connsiteX22" fmla="*/ 375488 w 731851"/>
                <a:gd name="connsiteY22" fmla="*/ 575026 h 598613"/>
                <a:gd name="connsiteX23" fmla="*/ 502351 w 731851"/>
                <a:gd name="connsiteY23" fmla="*/ 585864 h 598613"/>
                <a:gd name="connsiteX24" fmla="*/ 692964 w 731851"/>
                <a:gd name="connsiteY24" fmla="*/ 597976 h 598613"/>
                <a:gd name="connsiteX25" fmla="*/ 705714 w 731851"/>
                <a:gd name="connsiteY25" fmla="*/ 598614 h 598613"/>
                <a:gd name="connsiteX26" fmla="*/ 706351 w 731851"/>
                <a:gd name="connsiteY26" fmla="*/ 582039 h 598613"/>
                <a:gd name="connsiteX27" fmla="*/ 709539 w 731851"/>
                <a:gd name="connsiteY27" fmla="*/ 514464 h 598613"/>
                <a:gd name="connsiteX28" fmla="*/ 715277 w 731851"/>
                <a:gd name="connsiteY28" fmla="*/ 396526 h 598613"/>
                <a:gd name="connsiteX29" fmla="*/ 717827 w 731851"/>
                <a:gd name="connsiteY29" fmla="*/ 346163 h 598613"/>
                <a:gd name="connsiteX30" fmla="*/ 718464 w 731851"/>
                <a:gd name="connsiteY30" fmla="*/ 329588 h 598613"/>
                <a:gd name="connsiteX31" fmla="*/ 719739 w 731851"/>
                <a:gd name="connsiteY31" fmla="*/ 314926 h 598613"/>
                <a:gd name="connsiteX32" fmla="*/ 719739 w 731851"/>
                <a:gd name="connsiteY32" fmla="*/ 314926 h 59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1851" h="598613">
                  <a:moveTo>
                    <a:pt x="719739" y="314926"/>
                  </a:moveTo>
                  <a:lnTo>
                    <a:pt x="724839" y="214838"/>
                  </a:lnTo>
                  <a:lnTo>
                    <a:pt x="731214" y="79688"/>
                  </a:lnTo>
                  <a:lnTo>
                    <a:pt x="731851" y="63113"/>
                  </a:lnTo>
                  <a:lnTo>
                    <a:pt x="723564" y="61838"/>
                  </a:lnTo>
                  <a:lnTo>
                    <a:pt x="559089" y="51638"/>
                  </a:lnTo>
                  <a:lnTo>
                    <a:pt x="466651" y="43988"/>
                  </a:lnTo>
                  <a:lnTo>
                    <a:pt x="291338" y="27412"/>
                  </a:lnTo>
                  <a:lnTo>
                    <a:pt x="71400" y="0"/>
                  </a:lnTo>
                  <a:lnTo>
                    <a:pt x="61838" y="63113"/>
                  </a:lnTo>
                  <a:lnTo>
                    <a:pt x="61200" y="66938"/>
                  </a:lnTo>
                  <a:lnTo>
                    <a:pt x="58650" y="87975"/>
                  </a:lnTo>
                  <a:lnTo>
                    <a:pt x="47175" y="170850"/>
                  </a:lnTo>
                  <a:lnTo>
                    <a:pt x="25500" y="337876"/>
                  </a:lnTo>
                  <a:lnTo>
                    <a:pt x="19763" y="379313"/>
                  </a:lnTo>
                  <a:lnTo>
                    <a:pt x="17213" y="400351"/>
                  </a:lnTo>
                  <a:lnTo>
                    <a:pt x="15938" y="408638"/>
                  </a:lnTo>
                  <a:lnTo>
                    <a:pt x="0" y="533589"/>
                  </a:lnTo>
                  <a:lnTo>
                    <a:pt x="24863" y="536776"/>
                  </a:lnTo>
                  <a:lnTo>
                    <a:pt x="188700" y="556539"/>
                  </a:lnTo>
                  <a:lnTo>
                    <a:pt x="201450" y="557814"/>
                  </a:lnTo>
                  <a:lnTo>
                    <a:pt x="216750" y="559726"/>
                  </a:lnTo>
                  <a:lnTo>
                    <a:pt x="375488" y="575026"/>
                  </a:lnTo>
                  <a:lnTo>
                    <a:pt x="502351" y="585864"/>
                  </a:lnTo>
                  <a:lnTo>
                    <a:pt x="692964" y="597976"/>
                  </a:lnTo>
                  <a:lnTo>
                    <a:pt x="705714" y="598614"/>
                  </a:lnTo>
                  <a:lnTo>
                    <a:pt x="706351" y="582039"/>
                  </a:lnTo>
                  <a:lnTo>
                    <a:pt x="709539" y="514464"/>
                  </a:lnTo>
                  <a:lnTo>
                    <a:pt x="715277" y="396526"/>
                  </a:lnTo>
                  <a:lnTo>
                    <a:pt x="717827" y="346163"/>
                  </a:lnTo>
                  <a:lnTo>
                    <a:pt x="718464" y="329588"/>
                  </a:lnTo>
                  <a:lnTo>
                    <a:pt x="719739" y="314926"/>
                  </a:lnTo>
                  <a:lnTo>
                    <a:pt x="719739" y="314926"/>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51" name="Freeform 33">
              <a:extLst>
                <a:ext uri="{FF2B5EF4-FFF2-40B4-BE49-F238E27FC236}">
                  <a16:creationId xmlns:a16="http://schemas.microsoft.com/office/drawing/2014/main" id="{5097FA44-AF8B-15EB-DC16-F5E4DD07BB74}"/>
                </a:ext>
              </a:extLst>
            </p:cNvPr>
            <p:cNvSpPr/>
            <p:nvPr/>
          </p:nvSpPr>
          <p:spPr>
            <a:xfrm>
              <a:off x="4941465" y="2972650"/>
              <a:ext cx="535501" cy="504901"/>
            </a:xfrm>
            <a:custGeom>
              <a:avLst/>
              <a:gdLst>
                <a:gd name="connsiteX0" fmla="*/ 535501 w 535501"/>
                <a:gd name="connsiteY0" fmla="*/ 59288 h 504901"/>
                <a:gd name="connsiteX1" fmla="*/ 466013 w 535501"/>
                <a:gd name="connsiteY1" fmla="*/ 70125 h 504901"/>
                <a:gd name="connsiteX2" fmla="*/ 494701 w 535501"/>
                <a:gd name="connsiteY2" fmla="*/ 24863 h 504901"/>
                <a:gd name="connsiteX3" fmla="*/ 482589 w 535501"/>
                <a:gd name="connsiteY3" fmla="*/ 0 h 504901"/>
                <a:gd name="connsiteX4" fmla="*/ 237788 w 535501"/>
                <a:gd name="connsiteY4" fmla="*/ 23588 h 504901"/>
                <a:gd name="connsiteX5" fmla="*/ 30600 w 535501"/>
                <a:gd name="connsiteY5" fmla="*/ 40163 h 504901"/>
                <a:gd name="connsiteX6" fmla="*/ 0 w 535501"/>
                <a:gd name="connsiteY6" fmla="*/ 42075 h 504901"/>
                <a:gd name="connsiteX7" fmla="*/ 3825 w 535501"/>
                <a:gd name="connsiteY7" fmla="*/ 59925 h 504901"/>
                <a:gd name="connsiteX8" fmla="*/ 28688 w 535501"/>
                <a:gd name="connsiteY8" fmla="*/ 189338 h 504901"/>
                <a:gd name="connsiteX9" fmla="*/ 29325 w 535501"/>
                <a:gd name="connsiteY9" fmla="*/ 218663 h 504901"/>
                <a:gd name="connsiteX10" fmla="*/ 36338 w 535501"/>
                <a:gd name="connsiteY10" fmla="*/ 393338 h 504901"/>
                <a:gd name="connsiteX11" fmla="*/ 36975 w 535501"/>
                <a:gd name="connsiteY11" fmla="*/ 422664 h 504901"/>
                <a:gd name="connsiteX12" fmla="*/ 38887 w 535501"/>
                <a:gd name="connsiteY12" fmla="*/ 423301 h 504901"/>
                <a:gd name="connsiteX13" fmla="*/ 49088 w 535501"/>
                <a:gd name="connsiteY13" fmla="*/ 434139 h 504901"/>
                <a:gd name="connsiteX14" fmla="*/ 87338 w 535501"/>
                <a:gd name="connsiteY14" fmla="*/ 432864 h 504901"/>
                <a:gd name="connsiteX15" fmla="*/ 91163 w 535501"/>
                <a:gd name="connsiteY15" fmla="*/ 488964 h 504901"/>
                <a:gd name="connsiteX16" fmla="*/ 92438 w 535501"/>
                <a:gd name="connsiteY16" fmla="*/ 504901 h 504901"/>
                <a:gd name="connsiteX17" fmla="*/ 112200 w 535501"/>
                <a:gd name="connsiteY17" fmla="*/ 502989 h 504901"/>
                <a:gd name="connsiteX18" fmla="*/ 172763 w 535501"/>
                <a:gd name="connsiteY18" fmla="*/ 498526 h 504901"/>
                <a:gd name="connsiteX19" fmla="*/ 415013 w 535501"/>
                <a:gd name="connsiteY19" fmla="*/ 476214 h 504901"/>
                <a:gd name="connsiteX20" fmla="*/ 416288 w 535501"/>
                <a:gd name="connsiteY20" fmla="*/ 476214 h 504901"/>
                <a:gd name="connsiteX21" fmla="*/ 415651 w 535501"/>
                <a:gd name="connsiteY21" fmla="*/ 462188 h 504901"/>
                <a:gd name="connsiteX22" fmla="*/ 422026 w 535501"/>
                <a:gd name="connsiteY22" fmla="*/ 457726 h 504901"/>
                <a:gd name="connsiteX23" fmla="*/ 410551 w 535501"/>
                <a:gd name="connsiteY23" fmla="*/ 436051 h 504901"/>
                <a:gd name="connsiteX24" fmla="*/ 434776 w 535501"/>
                <a:gd name="connsiteY24" fmla="*/ 333413 h 504901"/>
                <a:gd name="connsiteX25" fmla="*/ 424576 w 535501"/>
                <a:gd name="connsiteY25" fmla="*/ 321938 h 504901"/>
                <a:gd name="connsiteX26" fmla="*/ 460913 w 535501"/>
                <a:gd name="connsiteY26" fmla="*/ 281776 h 504901"/>
                <a:gd name="connsiteX27" fmla="*/ 458363 w 535501"/>
                <a:gd name="connsiteY27" fmla="*/ 247351 h 504901"/>
                <a:gd name="connsiteX28" fmla="*/ 485776 w 535501"/>
                <a:gd name="connsiteY28" fmla="*/ 202088 h 504901"/>
                <a:gd name="connsiteX29" fmla="*/ 485776 w 535501"/>
                <a:gd name="connsiteY29" fmla="*/ 201451 h 504901"/>
                <a:gd name="connsiteX30" fmla="*/ 484501 w 535501"/>
                <a:gd name="connsiteY30" fmla="*/ 200176 h 504901"/>
                <a:gd name="connsiteX31" fmla="*/ 507451 w 535501"/>
                <a:gd name="connsiteY31" fmla="*/ 179138 h 504901"/>
                <a:gd name="connsiteX32" fmla="*/ 501076 w 535501"/>
                <a:gd name="connsiteY32" fmla="*/ 153638 h 504901"/>
                <a:gd name="connsiteX33" fmla="*/ 518926 w 535501"/>
                <a:gd name="connsiteY33" fmla="*/ 124950 h 504901"/>
                <a:gd name="connsiteX34" fmla="*/ 515101 w 535501"/>
                <a:gd name="connsiteY34" fmla="*/ 98175 h 504901"/>
                <a:gd name="connsiteX35" fmla="*/ 535501 w 535501"/>
                <a:gd name="connsiteY35" fmla="*/ 59288 h 504901"/>
                <a:gd name="connsiteX36" fmla="*/ 535501 w 535501"/>
                <a:gd name="connsiteY36" fmla="*/ 59288 h 504901"/>
                <a:gd name="connsiteX37" fmla="*/ 535501 w 535501"/>
                <a:gd name="connsiteY37" fmla="*/ 59288 h 504901"/>
                <a:gd name="connsiteX38" fmla="*/ 535501 w 535501"/>
                <a:gd name="connsiteY38" fmla="*/ 59288 h 5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5501" h="504901">
                  <a:moveTo>
                    <a:pt x="535501" y="59288"/>
                  </a:moveTo>
                  <a:lnTo>
                    <a:pt x="466013" y="70125"/>
                  </a:lnTo>
                  <a:lnTo>
                    <a:pt x="494701" y="24863"/>
                  </a:lnTo>
                  <a:lnTo>
                    <a:pt x="482589" y="0"/>
                  </a:lnTo>
                  <a:lnTo>
                    <a:pt x="237788" y="23588"/>
                  </a:lnTo>
                  <a:lnTo>
                    <a:pt x="30600" y="40163"/>
                  </a:lnTo>
                  <a:lnTo>
                    <a:pt x="0" y="42075"/>
                  </a:lnTo>
                  <a:lnTo>
                    <a:pt x="3825" y="59925"/>
                  </a:lnTo>
                  <a:lnTo>
                    <a:pt x="28688" y="189338"/>
                  </a:lnTo>
                  <a:lnTo>
                    <a:pt x="29325" y="218663"/>
                  </a:lnTo>
                  <a:lnTo>
                    <a:pt x="36338" y="393338"/>
                  </a:lnTo>
                  <a:lnTo>
                    <a:pt x="36975" y="422664"/>
                  </a:lnTo>
                  <a:lnTo>
                    <a:pt x="38887" y="423301"/>
                  </a:lnTo>
                  <a:lnTo>
                    <a:pt x="49088" y="434139"/>
                  </a:lnTo>
                  <a:lnTo>
                    <a:pt x="87338" y="432864"/>
                  </a:lnTo>
                  <a:lnTo>
                    <a:pt x="91163" y="488964"/>
                  </a:lnTo>
                  <a:lnTo>
                    <a:pt x="92438" y="504901"/>
                  </a:lnTo>
                  <a:lnTo>
                    <a:pt x="112200" y="502989"/>
                  </a:lnTo>
                  <a:lnTo>
                    <a:pt x="172763" y="498526"/>
                  </a:lnTo>
                  <a:lnTo>
                    <a:pt x="415013" y="476214"/>
                  </a:lnTo>
                  <a:lnTo>
                    <a:pt x="416288" y="476214"/>
                  </a:lnTo>
                  <a:lnTo>
                    <a:pt x="415651" y="462188"/>
                  </a:lnTo>
                  <a:lnTo>
                    <a:pt x="422026" y="457726"/>
                  </a:lnTo>
                  <a:lnTo>
                    <a:pt x="410551" y="436051"/>
                  </a:lnTo>
                  <a:lnTo>
                    <a:pt x="434776" y="333413"/>
                  </a:lnTo>
                  <a:lnTo>
                    <a:pt x="424576" y="321938"/>
                  </a:lnTo>
                  <a:lnTo>
                    <a:pt x="460913" y="281776"/>
                  </a:lnTo>
                  <a:lnTo>
                    <a:pt x="458363" y="247351"/>
                  </a:lnTo>
                  <a:lnTo>
                    <a:pt x="485776" y="202088"/>
                  </a:lnTo>
                  <a:lnTo>
                    <a:pt x="485776" y="201451"/>
                  </a:lnTo>
                  <a:lnTo>
                    <a:pt x="484501" y="200176"/>
                  </a:lnTo>
                  <a:lnTo>
                    <a:pt x="507451" y="179138"/>
                  </a:lnTo>
                  <a:lnTo>
                    <a:pt x="501076" y="153638"/>
                  </a:lnTo>
                  <a:lnTo>
                    <a:pt x="518926" y="124950"/>
                  </a:lnTo>
                  <a:lnTo>
                    <a:pt x="515101" y="98175"/>
                  </a:lnTo>
                  <a:lnTo>
                    <a:pt x="535501" y="59288"/>
                  </a:lnTo>
                  <a:lnTo>
                    <a:pt x="535501" y="59288"/>
                  </a:lnTo>
                  <a:lnTo>
                    <a:pt x="535501" y="59288"/>
                  </a:lnTo>
                  <a:lnTo>
                    <a:pt x="535501" y="59288"/>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2" name="Freeform 34">
              <a:extLst>
                <a:ext uri="{FF2B5EF4-FFF2-40B4-BE49-F238E27FC236}">
                  <a16:creationId xmlns:a16="http://schemas.microsoft.com/office/drawing/2014/main" id="{97362E2C-4CAD-E8C7-2D5D-395BAD9BF7D8}"/>
                </a:ext>
              </a:extLst>
            </p:cNvPr>
            <p:cNvSpPr/>
            <p:nvPr/>
          </p:nvSpPr>
          <p:spPr>
            <a:xfrm>
              <a:off x="4690927" y="2046998"/>
              <a:ext cx="650888" cy="423938"/>
            </a:xfrm>
            <a:custGeom>
              <a:avLst/>
              <a:gdLst>
                <a:gd name="connsiteX0" fmla="*/ 594151 w 650888"/>
                <a:gd name="connsiteY0" fmla="*/ 122400 h 423938"/>
                <a:gd name="connsiteX1" fmla="*/ 559088 w 650888"/>
                <a:gd name="connsiteY1" fmla="*/ 103913 h 423938"/>
                <a:gd name="connsiteX2" fmla="*/ 539963 w 650888"/>
                <a:gd name="connsiteY2" fmla="*/ 77138 h 423938"/>
                <a:gd name="connsiteX3" fmla="*/ 533588 w 650888"/>
                <a:gd name="connsiteY3" fmla="*/ 39525 h 423938"/>
                <a:gd name="connsiteX4" fmla="*/ 538689 w 650888"/>
                <a:gd name="connsiteY4" fmla="*/ 22313 h 423938"/>
                <a:gd name="connsiteX5" fmla="*/ 520201 w 650888"/>
                <a:gd name="connsiteY5" fmla="*/ 0 h 423938"/>
                <a:gd name="connsiteX6" fmla="*/ 520201 w 650888"/>
                <a:gd name="connsiteY6" fmla="*/ 0 h 423938"/>
                <a:gd name="connsiteX7" fmla="*/ 488326 w 650888"/>
                <a:gd name="connsiteY7" fmla="*/ 3188 h 423938"/>
                <a:gd name="connsiteX8" fmla="*/ 172125 w 650888"/>
                <a:gd name="connsiteY8" fmla="*/ 29963 h 423938"/>
                <a:gd name="connsiteX9" fmla="*/ 45900 w 650888"/>
                <a:gd name="connsiteY9" fmla="*/ 36975 h 423938"/>
                <a:gd name="connsiteX10" fmla="*/ 13387 w 650888"/>
                <a:gd name="connsiteY10" fmla="*/ 38888 h 423938"/>
                <a:gd name="connsiteX11" fmla="*/ 0 w 650888"/>
                <a:gd name="connsiteY11" fmla="*/ 39525 h 423938"/>
                <a:gd name="connsiteX12" fmla="*/ 11475 w 650888"/>
                <a:gd name="connsiteY12" fmla="*/ 110925 h 423938"/>
                <a:gd name="connsiteX13" fmla="*/ 1912 w 650888"/>
                <a:gd name="connsiteY13" fmla="*/ 144075 h 423938"/>
                <a:gd name="connsiteX14" fmla="*/ 15938 w 650888"/>
                <a:gd name="connsiteY14" fmla="*/ 165113 h 423938"/>
                <a:gd name="connsiteX15" fmla="*/ 15938 w 650888"/>
                <a:gd name="connsiteY15" fmla="*/ 169575 h 423938"/>
                <a:gd name="connsiteX16" fmla="*/ 20400 w 650888"/>
                <a:gd name="connsiteY16" fmla="*/ 170213 h 423938"/>
                <a:gd name="connsiteX17" fmla="*/ 40800 w 650888"/>
                <a:gd name="connsiteY17" fmla="*/ 230138 h 423938"/>
                <a:gd name="connsiteX18" fmla="*/ 60563 w 650888"/>
                <a:gd name="connsiteY18" fmla="*/ 262013 h 423938"/>
                <a:gd name="connsiteX19" fmla="*/ 61837 w 650888"/>
                <a:gd name="connsiteY19" fmla="*/ 297713 h 423938"/>
                <a:gd name="connsiteX20" fmla="*/ 83513 w 650888"/>
                <a:gd name="connsiteY20" fmla="*/ 328313 h 423938"/>
                <a:gd name="connsiteX21" fmla="*/ 79688 w 650888"/>
                <a:gd name="connsiteY21" fmla="*/ 341063 h 423938"/>
                <a:gd name="connsiteX22" fmla="*/ 99450 w 650888"/>
                <a:gd name="connsiteY22" fmla="*/ 422026 h 423938"/>
                <a:gd name="connsiteX23" fmla="*/ 99450 w 650888"/>
                <a:gd name="connsiteY23" fmla="*/ 423938 h 423938"/>
                <a:gd name="connsiteX24" fmla="*/ 99450 w 650888"/>
                <a:gd name="connsiteY24" fmla="*/ 423938 h 423938"/>
                <a:gd name="connsiteX25" fmla="*/ 231413 w 650888"/>
                <a:gd name="connsiteY25" fmla="*/ 420113 h 423938"/>
                <a:gd name="connsiteX26" fmla="*/ 372301 w 650888"/>
                <a:gd name="connsiteY26" fmla="*/ 408001 h 423938"/>
                <a:gd name="connsiteX27" fmla="*/ 510638 w 650888"/>
                <a:gd name="connsiteY27" fmla="*/ 390788 h 423938"/>
                <a:gd name="connsiteX28" fmla="*/ 542513 w 650888"/>
                <a:gd name="connsiteY28" fmla="*/ 418838 h 423938"/>
                <a:gd name="connsiteX29" fmla="*/ 543789 w 650888"/>
                <a:gd name="connsiteY29" fmla="*/ 420113 h 423938"/>
                <a:gd name="connsiteX30" fmla="*/ 549526 w 650888"/>
                <a:gd name="connsiteY30" fmla="*/ 417563 h 423938"/>
                <a:gd name="connsiteX31" fmla="*/ 545064 w 650888"/>
                <a:gd name="connsiteY31" fmla="*/ 392701 h 423938"/>
                <a:gd name="connsiteX32" fmla="*/ 568651 w 650888"/>
                <a:gd name="connsiteY32" fmla="*/ 378038 h 423938"/>
                <a:gd name="connsiteX33" fmla="*/ 578851 w 650888"/>
                <a:gd name="connsiteY33" fmla="*/ 312376 h 423938"/>
                <a:gd name="connsiteX34" fmla="*/ 568651 w 650888"/>
                <a:gd name="connsiteY34" fmla="*/ 307913 h 423938"/>
                <a:gd name="connsiteX35" fmla="*/ 574389 w 650888"/>
                <a:gd name="connsiteY35" fmla="*/ 274763 h 423938"/>
                <a:gd name="connsiteX36" fmla="*/ 603713 w 650888"/>
                <a:gd name="connsiteY36" fmla="*/ 269026 h 423938"/>
                <a:gd name="connsiteX37" fmla="*/ 636226 w 650888"/>
                <a:gd name="connsiteY37" fmla="*/ 246076 h 423938"/>
                <a:gd name="connsiteX38" fmla="*/ 650251 w 650888"/>
                <a:gd name="connsiteY38" fmla="*/ 205913 h 423938"/>
                <a:gd name="connsiteX39" fmla="*/ 650889 w 650888"/>
                <a:gd name="connsiteY39" fmla="*/ 185513 h 423938"/>
                <a:gd name="connsiteX40" fmla="*/ 625389 w 650888"/>
                <a:gd name="connsiteY40" fmla="*/ 161288 h 423938"/>
                <a:gd name="connsiteX41" fmla="*/ 617739 w 650888"/>
                <a:gd name="connsiteY41" fmla="*/ 145988 h 423938"/>
                <a:gd name="connsiteX42" fmla="*/ 593514 w 650888"/>
                <a:gd name="connsiteY42" fmla="*/ 130688 h 423938"/>
                <a:gd name="connsiteX43" fmla="*/ 594789 w 650888"/>
                <a:gd name="connsiteY43" fmla="*/ 127500 h 423938"/>
                <a:gd name="connsiteX44" fmla="*/ 594789 w 650888"/>
                <a:gd name="connsiteY44" fmla="*/ 122400 h 423938"/>
                <a:gd name="connsiteX45" fmla="*/ 594151 w 650888"/>
                <a:gd name="connsiteY45" fmla="*/ 122400 h 4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50888" h="423938">
                  <a:moveTo>
                    <a:pt x="594151" y="122400"/>
                  </a:moveTo>
                  <a:lnTo>
                    <a:pt x="559088" y="103913"/>
                  </a:lnTo>
                  <a:lnTo>
                    <a:pt x="539963" y="77138"/>
                  </a:lnTo>
                  <a:lnTo>
                    <a:pt x="533588" y="39525"/>
                  </a:lnTo>
                  <a:lnTo>
                    <a:pt x="538689" y="22313"/>
                  </a:lnTo>
                  <a:lnTo>
                    <a:pt x="520201" y="0"/>
                  </a:lnTo>
                  <a:lnTo>
                    <a:pt x="520201" y="0"/>
                  </a:lnTo>
                  <a:lnTo>
                    <a:pt x="488326" y="3188"/>
                  </a:lnTo>
                  <a:lnTo>
                    <a:pt x="172125" y="29963"/>
                  </a:lnTo>
                  <a:lnTo>
                    <a:pt x="45900" y="36975"/>
                  </a:lnTo>
                  <a:lnTo>
                    <a:pt x="13387" y="38888"/>
                  </a:lnTo>
                  <a:lnTo>
                    <a:pt x="0" y="39525"/>
                  </a:lnTo>
                  <a:lnTo>
                    <a:pt x="11475" y="110925"/>
                  </a:lnTo>
                  <a:lnTo>
                    <a:pt x="1912" y="144075"/>
                  </a:lnTo>
                  <a:lnTo>
                    <a:pt x="15938" y="165113"/>
                  </a:lnTo>
                  <a:lnTo>
                    <a:pt x="15938" y="169575"/>
                  </a:lnTo>
                  <a:lnTo>
                    <a:pt x="20400" y="170213"/>
                  </a:lnTo>
                  <a:lnTo>
                    <a:pt x="40800" y="230138"/>
                  </a:lnTo>
                  <a:lnTo>
                    <a:pt x="60563" y="262013"/>
                  </a:lnTo>
                  <a:lnTo>
                    <a:pt x="61837" y="297713"/>
                  </a:lnTo>
                  <a:lnTo>
                    <a:pt x="83513" y="328313"/>
                  </a:lnTo>
                  <a:lnTo>
                    <a:pt x="79688" y="341063"/>
                  </a:lnTo>
                  <a:lnTo>
                    <a:pt x="99450" y="422026"/>
                  </a:lnTo>
                  <a:lnTo>
                    <a:pt x="99450" y="423938"/>
                  </a:lnTo>
                  <a:lnTo>
                    <a:pt x="99450" y="423938"/>
                  </a:lnTo>
                  <a:lnTo>
                    <a:pt x="231413" y="420113"/>
                  </a:lnTo>
                  <a:lnTo>
                    <a:pt x="372301" y="408001"/>
                  </a:lnTo>
                  <a:lnTo>
                    <a:pt x="510638" y="390788"/>
                  </a:lnTo>
                  <a:lnTo>
                    <a:pt x="542513" y="418838"/>
                  </a:lnTo>
                  <a:lnTo>
                    <a:pt x="543789" y="420113"/>
                  </a:lnTo>
                  <a:lnTo>
                    <a:pt x="549526" y="417563"/>
                  </a:lnTo>
                  <a:lnTo>
                    <a:pt x="545064" y="392701"/>
                  </a:lnTo>
                  <a:lnTo>
                    <a:pt x="568651" y="378038"/>
                  </a:lnTo>
                  <a:lnTo>
                    <a:pt x="578851" y="312376"/>
                  </a:lnTo>
                  <a:lnTo>
                    <a:pt x="568651" y="307913"/>
                  </a:lnTo>
                  <a:lnTo>
                    <a:pt x="574389" y="274763"/>
                  </a:lnTo>
                  <a:lnTo>
                    <a:pt x="603713" y="269026"/>
                  </a:lnTo>
                  <a:lnTo>
                    <a:pt x="636226" y="246076"/>
                  </a:lnTo>
                  <a:lnTo>
                    <a:pt x="650251" y="205913"/>
                  </a:lnTo>
                  <a:lnTo>
                    <a:pt x="650889" y="185513"/>
                  </a:lnTo>
                  <a:lnTo>
                    <a:pt x="625389" y="161288"/>
                  </a:lnTo>
                  <a:lnTo>
                    <a:pt x="617739" y="145988"/>
                  </a:lnTo>
                  <a:lnTo>
                    <a:pt x="593514" y="130688"/>
                  </a:lnTo>
                  <a:lnTo>
                    <a:pt x="594789" y="127500"/>
                  </a:lnTo>
                  <a:lnTo>
                    <a:pt x="594789" y="122400"/>
                  </a:lnTo>
                  <a:lnTo>
                    <a:pt x="594151" y="1224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53" name="Freeform 35">
              <a:extLst>
                <a:ext uri="{FF2B5EF4-FFF2-40B4-BE49-F238E27FC236}">
                  <a16:creationId xmlns:a16="http://schemas.microsoft.com/office/drawing/2014/main" id="{78C424DA-6F82-AC61-93A3-6420669FC338}"/>
                </a:ext>
              </a:extLst>
            </p:cNvPr>
            <p:cNvSpPr/>
            <p:nvPr/>
          </p:nvSpPr>
          <p:spPr>
            <a:xfrm>
              <a:off x="4139488" y="2548711"/>
              <a:ext cx="798789" cy="416288"/>
            </a:xfrm>
            <a:custGeom>
              <a:avLst/>
              <a:gdLst>
                <a:gd name="connsiteX0" fmla="*/ 797514 w 798789"/>
                <a:gd name="connsiteY0" fmla="*/ 381863 h 416288"/>
                <a:gd name="connsiteX1" fmla="*/ 781577 w 798789"/>
                <a:gd name="connsiteY1" fmla="*/ 109650 h 416288"/>
                <a:gd name="connsiteX2" fmla="*/ 752252 w 798789"/>
                <a:gd name="connsiteY2" fmla="*/ 93075 h 416288"/>
                <a:gd name="connsiteX3" fmla="*/ 749702 w 798789"/>
                <a:gd name="connsiteY3" fmla="*/ 80325 h 416288"/>
                <a:gd name="connsiteX4" fmla="*/ 726752 w 798789"/>
                <a:gd name="connsiteY4" fmla="*/ 59925 h 416288"/>
                <a:gd name="connsiteX5" fmla="*/ 749064 w 798789"/>
                <a:gd name="connsiteY5" fmla="*/ 31875 h 416288"/>
                <a:gd name="connsiteX6" fmla="*/ 739502 w 798789"/>
                <a:gd name="connsiteY6" fmla="*/ 15938 h 416288"/>
                <a:gd name="connsiteX7" fmla="*/ 722926 w 798789"/>
                <a:gd name="connsiteY7" fmla="*/ 16575 h 416288"/>
                <a:gd name="connsiteX8" fmla="*/ 707627 w 798789"/>
                <a:gd name="connsiteY8" fmla="*/ 5100 h 416288"/>
                <a:gd name="connsiteX9" fmla="*/ 701252 w 798789"/>
                <a:gd name="connsiteY9" fmla="*/ 0 h 416288"/>
                <a:gd name="connsiteX10" fmla="*/ 679576 w 798789"/>
                <a:gd name="connsiteY10" fmla="*/ 1275 h 416288"/>
                <a:gd name="connsiteX11" fmla="*/ 442426 w 798789"/>
                <a:gd name="connsiteY11" fmla="*/ 10837 h 416288"/>
                <a:gd name="connsiteX12" fmla="*/ 334051 w 798789"/>
                <a:gd name="connsiteY12" fmla="*/ 13388 h 416288"/>
                <a:gd name="connsiteX13" fmla="*/ 118575 w 798789"/>
                <a:gd name="connsiteY13" fmla="*/ 13388 h 416288"/>
                <a:gd name="connsiteX14" fmla="*/ 31875 w 798789"/>
                <a:gd name="connsiteY14" fmla="*/ 12112 h 416288"/>
                <a:gd name="connsiteX15" fmla="*/ 7650 w 798789"/>
                <a:gd name="connsiteY15" fmla="*/ 11475 h 416288"/>
                <a:gd name="connsiteX16" fmla="*/ 7650 w 798789"/>
                <a:gd name="connsiteY16" fmla="*/ 23587 h 416288"/>
                <a:gd name="connsiteX17" fmla="*/ 7013 w 798789"/>
                <a:gd name="connsiteY17" fmla="*/ 61200 h 416288"/>
                <a:gd name="connsiteX18" fmla="*/ 0 w 798789"/>
                <a:gd name="connsiteY18" fmla="*/ 400988 h 416288"/>
                <a:gd name="connsiteX19" fmla="*/ 0 w 798789"/>
                <a:gd name="connsiteY19" fmla="*/ 413738 h 416288"/>
                <a:gd name="connsiteX20" fmla="*/ 28050 w 798789"/>
                <a:gd name="connsiteY20" fmla="*/ 414376 h 416288"/>
                <a:gd name="connsiteX21" fmla="*/ 177225 w 798789"/>
                <a:gd name="connsiteY21" fmla="*/ 416288 h 416288"/>
                <a:gd name="connsiteX22" fmla="*/ 525939 w 798789"/>
                <a:gd name="connsiteY22" fmla="*/ 411188 h 416288"/>
                <a:gd name="connsiteX23" fmla="*/ 774564 w 798789"/>
                <a:gd name="connsiteY23" fmla="*/ 399713 h 416288"/>
                <a:gd name="connsiteX24" fmla="*/ 798789 w 798789"/>
                <a:gd name="connsiteY24" fmla="*/ 397801 h 416288"/>
                <a:gd name="connsiteX25" fmla="*/ 797514 w 798789"/>
                <a:gd name="connsiteY25" fmla="*/ 381863 h 416288"/>
                <a:gd name="connsiteX26" fmla="*/ 797514 w 798789"/>
                <a:gd name="connsiteY26" fmla="*/ 381863 h 41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8789" h="416288">
                  <a:moveTo>
                    <a:pt x="797514" y="381863"/>
                  </a:moveTo>
                  <a:lnTo>
                    <a:pt x="781577" y="109650"/>
                  </a:lnTo>
                  <a:lnTo>
                    <a:pt x="752252" y="93075"/>
                  </a:lnTo>
                  <a:lnTo>
                    <a:pt x="749702" y="80325"/>
                  </a:lnTo>
                  <a:lnTo>
                    <a:pt x="726752" y="59925"/>
                  </a:lnTo>
                  <a:lnTo>
                    <a:pt x="749064" y="31875"/>
                  </a:lnTo>
                  <a:lnTo>
                    <a:pt x="739502" y="15938"/>
                  </a:lnTo>
                  <a:lnTo>
                    <a:pt x="722926" y="16575"/>
                  </a:lnTo>
                  <a:lnTo>
                    <a:pt x="707627" y="5100"/>
                  </a:lnTo>
                  <a:lnTo>
                    <a:pt x="701252" y="0"/>
                  </a:lnTo>
                  <a:lnTo>
                    <a:pt x="679576" y="1275"/>
                  </a:lnTo>
                  <a:lnTo>
                    <a:pt x="442426" y="10837"/>
                  </a:lnTo>
                  <a:lnTo>
                    <a:pt x="334051" y="13388"/>
                  </a:lnTo>
                  <a:lnTo>
                    <a:pt x="118575" y="13388"/>
                  </a:lnTo>
                  <a:lnTo>
                    <a:pt x="31875" y="12112"/>
                  </a:lnTo>
                  <a:lnTo>
                    <a:pt x="7650" y="11475"/>
                  </a:lnTo>
                  <a:lnTo>
                    <a:pt x="7650" y="23587"/>
                  </a:lnTo>
                  <a:lnTo>
                    <a:pt x="7013" y="61200"/>
                  </a:lnTo>
                  <a:lnTo>
                    <a:pt x="0" y="400988"/>
                  </a:lnTo>
                  <a:lnTo>
                    <a:pt x="0" y="413738"/>
                  </a:lnTo>
                  <a:lnTo>
                    <a:pt x="28050" y="414376"/>
                  </a:lnTo>
                  <a:lnTo>
                    <a:pt x="177225" y="416288"/>
                  </a:lnTo>
                  <a:lnTo>
                    <a:pt x="525939" y="411188"/>
                  </a:lnTo>
                  <a:lnTo>
                    <a:pt x="774564" y="399713"/>
                  </a:lnTo>
                  <a:lnTo>
                    <a:pt x="798789" y="397801"/>
                  </a:lnTo>
                  <a:lnTo>
                    <a:pt x="797514" y="381863"/>
                  </a:lnTo>
                  <a:lnTo>
                    <a:pt x="797514" y="3818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4" name="Freeform 36">
              <a:extLst>
                <a:ext uri="{FF2B5EF4-FFF2-40B4-BE49-F238E27FC236}">
                  <a16:creationId xmlns:a16="http://schemas.microsoft.com/office/drawing/2014/main" id="{118A13D0-A549-CBBD-9EBE-D99F1070D08B}"/>
                </a:ext>
              </a:extLst>
            </p:cNvPr>
            <p:cNvSpPr/>
            <p:nvPr/>
          </p:nvSpPr>
          <p:spPr>
            <a:xfrm>
              <a:off x="4789740" y="2437149"/>
              <a:ext cx="736951" cy="606263"/>
            </a:xfrm>
            <a:custGeom>
              <a:avLst/>
              <a:gdLst>
                <a:gd name="connsiteX0" fmla="*/ 443701 w 736951"/>
                <a:gd name="connsiteY0" fmla="*/ 28050 h 606263"/>
                <a:gd name="connsiteX1" fmla="*/ 411826 w 736951"/>
                <a:gd name="connsiteY1" fmla="*/ 0 h 606263"/>
                <a:gd name="connsiteX2" fmla="*/ 273488 w 736951"/>
                <a:gd name="connsiteY2" fmla="*/ 17212 h 606263"/>
                <a:gd name="connsiteX3" fmla="*/ 132600 w 736951"/>
                <a:gd name="connsiteY3" fmla="*/ 29325 h 606263"/>
                <a:gd name="connsiteX4" fmla="*/ 637 w 736951"/>
                <a:gd name="connsiteY4" fmla="*/ 33150 h 606263"/>
                <a:gd name="connsiteX5" fmla="*/ 637 w 736951"/>
                <a:gd name="connsiteY5" fmla="*/ 33150 h 606263"/>
                <a:gd name="connsiteX6" fmla="*/ 0 w 736951"/>
                <a:gd name="connsiteY6" fmla="*/ 36975 h 606263"/>
                <a:gd name="connsiteX7" fmla="*/ 15938 w 736951"/>
                <a:gd name="connsiteY7" fmla="*/ 68213 h 606263"/>
                <a:gd name="connsiteX8" fmla="*/ 30600 w 736951"/>
                <a:gd name="connsiteY8" fmla="*/ 79050 h 606263"/>
                <a:gd name="connsiteX9" fmla="*/ 47813 w 736951"/>
                <a:gd name="connsiteY9" fmla="*/ 110288 h 606263"/>
                <a:gd name="connsiteX10" fmla="*/ 50362 w 736951"/>
                <a:gd name="connsiteY10" fmla="*/ 112838 h 606263"/>
                <a:gd name="connsiteX11" fmla="*/ 56737 w 736951"/>
                <a:gd name="connsiteY11" fmla="*/ 117938 h 606263"/>
                <a:gd name="connsiteX12" fmla="*/ 72038 w 736951"/>
                <a:gd name="connsiteY12" fmla="*/ 129413 h 606263"/>
                <a:gd name="connsiteX13" fmla="*/ 88612 w 736951"/>
                <a:gd name="connsiteY13" fmla="*/ 128775 h 606263"/>
                <a:gd name="connsiteX14" fmla="*/ 98175 w 736951"/>
                <a:gd name="connsiteY14" fmla="*/ 144713 h 606263"/>
                <a:gd name="connsiteX15" fmla="*/ 75862 w 736951"/>
                <a:gd name="connsiteY15" fmla="*/ 172763 h 606263"/>
                <a:gd name="connsiteX16" fmla="*/ 98813 w 736951"/>
                <a:gd name="connsiteY16" fmla="*/ 193163 h 606263"/>
                <a:gd name="connsiteX17" fmla="*/ 101362 w 736951"/>
                <a:gd name="connsiteY17" fmla="*/ 205913 h 606263"/>
                <a:gd name="connsiteX18" fmla="*/ 130688 w 736951"/>
                <a:gd name="connsiteY18" fmla="*/ 222488 h 606263"/>
                <a:gd name="connsiteX19" fmla="*/ 146625 w 736951"/>
                <a:gd name="connsiteY19" fmla="*/ 494701 h 606263"/>
                <a:gd name="connsiteX20" fmla="*/ 147263 w 736951"/>
                <a:gd name="connsiteY20" fmla="*/ 511276 h 606263"/>
                <a:gd name="connsiteX21" fmla="*/ 148538 w 736951"/>
                <a:gd name="connsiteY21" fmla="*/ 527851 h 606263"/>
                <a:gd name="connsiteX22" fmla="*/ 149175 w 736951"/>
                <a:gd name="connsiteY22" fmla="*/ 544426 h 606263"/>
                <a:gd name="connsiteX23" fmla="*/ 150450 w 736951"/>
                <a:gd name="connsiteY23" fmla="*/ 561639 h 606263"/>
                <a:gd name="connsiteX24" fmla="*/ 151087 w 736951"/>
                <a:gd name="connsiteY24" fmla="*/ 578214 h 606263"/>
                <a:gd name="connsiteX25" fmla="*/ 181688 w 736951"/>
                <a:gd name="connsiteY25" fmla="*/ 576301 h 606263"/>
                <a:gd name="connsiteX26" fmla="*/ 388876 w 736951"/>
                <a:gd name="connsiteY26" fmla="*/ 559726 h 606263"/>
                <a:gd name="connsiteX27" fmla="*/ 633676 w 736951"/>
                <a:gd name="connsiteY27" fmla="*/ 536139 h 606263"/>
                <a:gd name="connsiteX28" fmla="*/ 645789 w 736951"/>
                <a:gd name="connsiteY28" fmla="*/ 561001 h 606263"/>
                <a:gd name="connsiteX29" fmla="*/ 617101 w 736951"/>
                <a:gd name="connsiteY29" fmla="*/ 606264 h 606263"/>
                <a:gd name="connsiteX30" fmla="*/ 686589 w 736951"/>
                <a:gd name="connsiteY30" fmla="*/ 595426 h 606263"/>
                <a:gd name="connsiteX31" fmla="*/ 687226 w 736951"/>
                <a:gd name="connsiteY31" fmla="*/ 595426 h 606263"/>
                <a:gd name="connsiteX32" fmla="*/ 687226 w 736951"/>
                <a:gd name="connsiteY32" fmla="*/ 590326 h 606263"/>
                <a:gd name="connsiteX33" fmla="*/ 688501 w 736951"/>
                <a:gd name="connsiteY33" fmla="*/ 560364 h 606263"/>
                <a:gd name="connsiteX34" fmla="*/ 701251 w 736951"/>
                <a:gd name="connsiteY34" fmla="*/ 544426 h 606263"/>
                <a:gd name="connsiteX35" fmla="*/ 697426 w 736951"/>
                <a:gd name="connsiteY35" fmla="*/ 526576 h 606263"/>
                <a:gd name="connsiteX36" fmla="*/ 696789 w 736951"/>
                <a:gd name="connsiteY36" fmla="*/ 525938 h 606263"/>
                <a:gd name="connsiteX37" fmla="*/ 696151 w 736951"/>
                <a:gd name="connsiteY37" fmla="*/ 525301 h 606263"/>
                <a:gd name="connsiteX38" fmla="*/ 698701 w 736951"/>
                <a:gd name="connsiteY38" fmla="*/ 517014 h 606263"/>
                <a:gd name="connsiteX39" fmla="*/ 702526 w 736951"/>
                <a:gd name="connsiteY39" fmla="*/ 518289 h 606263"/>
                <a:gd name="connsiteX40" fmla="*/ 704439 w 736951"/>
                <a:gd name="connsiteY40" fmla="*/ 523389 h 606263"/>
                <a:gd name="connsiteX41" fmla="*/ 703801 w 736951"/>
                <a:gd name="connsiteY41" fmla="*/ 525301 h 606263"/>
                <a:gd name="connsiteX42" fmla="*/ 703801 w 736951"/>
                <a:gd name="connsiteY42" fmla="*/ 525938 h 606263"/>
                <a:gd name="connsiteX43" fmla="*/ 703801 w 736951"/>
                <a:gd name="connsiteY43" fmla="*/ 531039 h 606263"/>
                <a:gd name="connsiteX44" fmla="*/ 706351 w 736951"/>
                <a:gd name="connsiteY44" fmla="*/ 531676 h 606263"/>
                <a:gd name="connsiteX45" fmla="*/ 711451 w 736951"/>
                <a:gd name="connsiteY45" fmla="*/ 525301 h 606263"/>
                <a:gd name="connsiteX46" fmla="*/ 711451 w 736951"/>
                <a:gd name="connsiteY46" fmla="*/ 524664 h 606263"/>
                <a:gd name="connsiteX47" fmla="*/ 712089 w 736951"/>
                <a:gd name="connsiteY47" fmla="*/ 522751 h 606263"/>
                <a:gd name="connsiteX48" fmla="*/ 728664 w 736951"/>
                <a:gd name="connsiteY48" fmla="*/ 511914 h 606263"/>
                <a:gd name="connsiteX49" fmla="*/ 731214 w 736951"/>
                <a:gd name="connsiteY49" fmla="*/ 510639 h 606263"/>
                <a:gd name="connsiteX50" fmla="*/ 736951 w 736951"/>
                <a:gd name="connsiteY50" fmla="*/ 457726 h 606263"/>
                <a:gd name="connsiteX51" fmla="*/ 735676 w 736951"/>
                <a:gd name="connsiteY51" fmla="*/ 455176 h 606263"/>
                <a:gd name="connsiteX52" fmla="*/ 733764 w 736951"/>
                <a:gd name="connsiteY52" fmla="*/ 454539 h 606263"/>
                <a:gd name="connsiteX53" fmla="*/ 687864 w 736951"/>
                <a:gd name="connsiteY53" fmla="*/ 417563 h 606263"/>
                <a:gd name="connsiteX54" fmla="*/ 694876 w 736951"/>
                <a:gd name="connsiteY54" fmla="*/ 404176 h 606263"/>
                <a:gd name="connsiteX55" fmla="*/ 682126 w 736951"/>
                <a:gd name="connsiteY55" fmla="*/ 367838 h 606263"/>
                <a:gd name="connsiteX56" fmla="*/ 659176 w 736951"/>
                <a:gd name="connsiteY56" fmla="*/ 349988 h 606263"/>
                <a:gd name="connsiteX57" fmla="*/ 615189 w 736951"/>
                <a:gd name="connsiteY57" fmla="*/ 330863 h 606263"/>
                <a:gd name="connsiteX58" fmla="*/ 587139 w 736951"/>
                <a:gd name="connsiteY58" fmla="*/ 308551 h 606263"/>
                <a:gd name="connsiteX59" fmla="*/ 590326 w 736951"/>
                <a:gd name="connsiteY59" fmla="*/ 262013 h 606263"/>
                <a:gd name="connsiteX60" fmla="*/ 598613 w 736951"/>
                <a:gd name="connsiteY60" fmla="*/ 219300 h 606263"/>
                <a:gd name="connsiteX61" fmla="*/ 552076 w 736951"/>
                <a:gd name="connsiteY61" fmla="*/ 221850 h 606263"/>
                <a:gd name="connsiteX62" fmla="*/ 538051 w 736951"/>
                <a:gd name="connsiteY62" fmla="*/ 207188 h 606263"/>
                <a:gd name="connsiteX63" fmla="*/ 531676 w 736951"/>
                <a:gd name="connsiteY63" fmla="*/ 177225 h 606263"/>
                <a:gd name="connsiteX64" fmla="*/ 458363 w 736951"/>
                <a:gd name="connsiteY64" fmla="*/ 115388 h 606263"/>
                <a:gd name="connsiteX65" fmla="*/ 437963 w 736951"/>
                <a:gd name="connsiteY65" fmla="*/ 58650 h 606263"/>
                <a:gd name="connsiteX66" fmla="*/ 443063 w 736951"/>
                <a:gd name="connsiteY66" fmla="*/ 29962 h 606263"/>
                <a:gd name="connsiteX67" fmla="*/ 443063 w 736951"/>
                <a:gd name="connsiteY67" fmla="*/ 29962 h 606263"/>
                <a:gd name="connsiteX68" fmla="*/ 443701 w 736951"/>
                <a:gd name="connsiteY68" fmla="*/ 28050 h 606263"/>
                <a:gd name="connsiteX69" fmla="*/ 443701 w 736951"/>
                <a:gd name="connsiteY69" fmla="*/ 28050 h 60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951" h="606263">
                  <a:moveTo>
                    <a:pt x="443701" y="28050"/>
                  </a:moveTo>
                  <a:lnTo>
                    <a:pt x="411826" y="0"/>
                  </a:lnTo>
                  <a:lnTo>
                    <a:pt x="273488" y="17212"/>
                  </a:lnTo>
                  <a:lnTo>
                    <a:pt x="132600" y="29325"/>
                  </a:lnTo>
                  <a:lnTo>
                    <a:pt x="637" y="33150"/>
                  </a:lnTo>
                  <a:lnTo>
                    <a:pt x="637" y="33150"/>
                  </a:lnTo>
                  <a:lnTo>
                    <a:pt x="0" y="36975"/>
                  </a:lnTo>
                  <a:lnTo>
                    <a:pt x="15938" y="68213"/>
                  </a:lnTo>
                  <a:lnTo>
                    <a:pt x="30600" y="79050"/>
                  </a:lnTo>
                  <a:lnTo>
                    <a:pt x="47813" y="110288"/>
                  </a:lnTo>
                  <a:lnTo>
                    <a:pt x="50362" y="112838"/>
                  </a:lnTo>
                  <a:lnTo>
                    <a:pt x="56737" y="117938"/>
                  </a:lnTo>
                  <a:lnTo>
                    <a:pt x="72038" y="129413"/>
                  </a:lnTo>
                  <a:lnTo>
                    <a:pt x="88612" y="128775"/>
                  </a:lnTo>
                  <a:lnTo>
                    <a:pt x="98175" y="144713"/>
                  </a:lnTo>
                  <a:lnTo>
                    <a:pt x="75862" y="172763"/>
                  </a:lnTo>
                  <a:lnTo>
                    <a:pt x="98813" y="193163"/>
                  </a:lnTo>
                  <a:lnTo>
                    <a:pt x="101362" y="205913"/>
                  </a:lnTo>
                  <a:lnTo>
                    <a:pt x="130688" y="222488"/>
                  </a:lnTo>
                  <a:lnTo>
                    <a:pt x="146625" y="494701"/>
                  </a:lnTo>
                  <a:lnTo>
                    <a:pt x="147263" y="511276"/>
                  </a:lnTo>
                  <a:lnTo>
                    <a:pt x="148538" y="527851"/>
                  </a:lnTo>
                  <a:lnTo>
                    <a:pt x="149175" y="544426"/>
                  </a:lnTo>
                  <a:lnTo>
                    <a:pt x="150450" y="561639"/>
                  </a:lnTo>
                  <a:lnTo>
                    <a:pt x="151087" y="578214"/>
                  </a:lnTo>
                  <a:lnTo>
                    <a:pt x="181688" y="576301"/>
                  </a:lnTo>
                  <a:lnTo>
                    <a:pt x="388876" y="559726"/>
                  </a:lnTo>
                  <a:lnTo>
                    <a:pt x="633676" y="536139"/>
                  </a:lnTo>
                  <a:lnTo>
                    <a:pt x="645789" y="561001"/>
                  </a:lnTo>
                  <a:lnTo>
                    <a:pt x="617101" y="606264"/>
                  </a:lnTo>
                  <a:lnTo>
                    <a:pt x="686589" y="595426"/>
                  </a:lnTo>
                  <a:lnTo>
                    <a:pt x="687226" y="595426"/>
                  </a:lnTo>
                  <a:lnTo>
                    <a:pt x="687226" y="590326"/>
                  </a:lnTo>
                  <a:lnTo>
                    <a:pt x="688501" y="560364"/>
                  </a:lnTo>
                  <a:lnTo>
                    <a:pt x="701251" y="544426"/>
                  </a:lnTo>
                  <a:lnTo>
                    <a:pt x="697426" y="526576"/>
                  </a:lnTo>
                  <a:lnTo>
                    <a:pt x="696789" y="525938"/>
                  </a:lnTo>
                  <a:lnTo>
                    <a:pt x="696151" y="525301"/>
                  </a:lnTo>
                  <a:lnTo>
                    <a:pt x="698701" y="517014"/>
                  </a:lnTo>
                  <a:lnTo>
                    <a:pt x="702526" y="518289"/>
                  </a:lnTo>
                  <a:lnTo>
                    <a:pt x="704439" y="523389"/>
                  </a:lnTo>
                  <a:lnTo>
                    <a:pt x="703801" y="525301"/>
                  </a:lnTo>
                  <a:lnTo>
                    <a:pt x="703801" y="525938"/>
                  </a:lnTo>
                  <a:lnTo>
                    <a:pt x="703801" y="531039"/>
                  </a:lnTo>
                  <a:lnTo>
                    <a:pt x="706351" y="531676"/>
                  </a:lnTo>
                  <a:lnTo>
                    <a:pt x="711451" y="525301"/>
                  </a:lnTo>
                  <a:lnTo>
                    <a:pt x="711451" y="524664"/>
                  </a:lnTo>
                  <a:lnTo>
                    <a:pt x="712089" y="522751"/>
                  </a:lnTo>
                  <a:lnTo>
                    <a:pt x="728664" y="511914"/>
                  </a:lnTo>
                  <a:lnTo>
                    <a:pt x="731214" y="510639"/>
                  </a:lnTo>
                  <a:lnTo>
                    <a:pt x="736951" y="457726"/>
                  </a:lnTo>
                  <a:lnTo>
                    <a:pt x="735676" y="455176"/>
                  </a:lnTo>
                  <a:lnTo>
                    <a:pt x="733764" y="454539"/>
                  </a:lnTo>
                  <a:lnTo>
                    <a:pt x="687864" y="417563"/>
                  </a:lnTo>
                  <a:lnTo>
                    <a:pt x="694876" y="404176"/>
                  </a:lnTo>
                  <a:lnTo>
                    <a:pt x="682126" y="367838"/>
                  </a:lnTo>
                  <a:lnTo>
                    <a:pt x="659176" y="349988"/>
                  </a:lnTo>
                  <a:lnTo>
                    <a:pt x="615189" y="330863"/>
                  </a:lnTo>
                  <a:lnTo>
                    <a:pt x="587139" y="308551"/>
                  </a:lnTo>
                  <a:lnTo>
                    <a:pt x="590326" y="262013"/>
                  </a:lnTo>
                  <a:lnTo>
                    <a:pt x="598613" y="219300"/>
                  </a:lnTo>
                  <a:lnTo>
                    <a:pt x="552076" y="221850"/>
                  </a:lnTo>
                  <a:lnTo>
                    <a:pt x="538051" y="207188"/>
                  </a:lnTo>
                  <a:lnTo>
                    <a:pt x="531676" y="177225"/>
                  </a:lnTo>
                  <a:lnTo>
                    <a:pt x="458363" y="115388"/>
                  </a:lnTo>
                  <a:lnTo>
                    <a:pt x="437963" y="58650"/>
                  </a:lnTo>
                  <a:lnTo>
                    <a:pt x="443063" y="29962"/>
                  </a:lnTo>
                  <a:lnTo>
                    <a:pt x="443063" y="29962"/>
                  </a:lnTo>
                  <a:lnTo>
                    <a:pt x="443701" y="28050"/>
                  </a:lnTo>
                  <a:lnTo>
                    <a:pt x="443701" y="2805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5" name="Freeform 37">
              <a:extLst>
                <a:ext uri="{FF2B5EF4-FFF2-40B4-BE49-F238E27FC236}">
                  <a16:creationId xmlns:a16="http://schemas.microsoft.com/office/drawing/2014/main" id="{D1B2866E-268B-F09C-B7EA-52E28396D695}"/>
                </a:ext>
              </a:extLst>
            </p:cNvPr>
            <p:cNvSpPr/>
            <p:nvPr/>
          </p:nvSpPr>
          <p:spPr>
            <a:xfrm>
              <a:off x="3947600" y="2150911"/>
              <a:ext cx="893776" cy="412463"/>
            </a:xfrm>
            <a:custGeom>
              <a:avLst/>
              <a:gdLst>
                <a:gd name="connsiteX0" fmla="*/ 747152 w 893776"/>
                <a:gd name="connsiteY0" fmla="*/ 64387 h 412463"/>
                <a:gd name="connsiteX1" fmla="*/ 727389 w 893776"/>
                <a:gd name="connsiteY1" fmla="*/ 44625 h 412463"/>
                <a:gd name="connsiteX2" fmla="*/ 657264 w 893776"/>
                <a:gd name="connsiteY2" fmla="*/ 24225 h 412463"/>
                <a:gd name="connsiteX3" fmla="*/ 634952 w 893776"/>
                <a:gd name="connsiteY3" fmla="*/ 23587 h 412463"/>
                <a:gd name="connsiteX4" fmla="*/ 601164 w 893776"/>
                <a:gd name="connsiteY4" fmla="*/ 33787 h 412463"/>
                <a:gd name="connsiteX5" fmla="*/ 561001 w 893776"/>
                <a:gd name="connsiteY5" fmla="*/ 8287 h 412463"/>
                <a:gd name="connsiteX6" fmla="*/ 434776 w 893776"/>
                <a:gd name="connsiteY6" fmla="*/ 9563 h 412463"/>
                <a:gd name="connsiteX7" fmla="*/ 249901 w 893776"/>
                <a:gd name="connsiteY7" fmla="*/ 7650 h 412463"/>
                <a:gd name="connsiteX8" fmla="*/ 31875 w 893776"/>
                <a:gd name="connsiteY8" fmla="*/ 637 h 412463"/>
                <a:gd name="connsiteX9" fmla="*/ 12750 w 893776"/>
                <a:gd name="connsiteY9" fmla="*/ 0 h 412463"/>
                <a:gd name="connsiteX10" fmla="*/ 12113 w 893776"/>
                <a:gd name="connsiteY10" fmla="*/ 16575 h 412463"/>
                <a:gd name="connsiteX11" fmla="*/ 9563 w 893776"/>
                <a:gd name="connsiteY11" fmla="*/ 66938 h 412463"/>
                <a:gd name="connsiteX12" fmla="*/ 3825 w 893776"/>
                <a:gd name="connsiteY12" fmla="*/ 184875 h 412463"/>
                <a:gd name="connsiteX13" fmla="*/ 638 w 893776"/>
                <a:gd name="connsiteY13" fmla="*/ 252450 h 412463"/>
                <a:gd name="connsiteX14" fmla="*/ 0 w 893776"/>
                <a:gd name="connsiteY14" fmla="*/ 269025 h 412463"/>
                <a:gd name="connsiteX15" fmla="*/ 15300 w 893776"/>
                <a:gd name="connsiteY15" fmla="*/ 269663 h 412463"/>
                <a:gd name="connsiteX16" fmla="*/ 172125 w 893776"/>
                <a:gd name="connsiteY16" fmla="*/ 275400 h 412463"/>
                <a:gd name="connsiteX17" fmla="*/ 203363 w 893776"/>
                <a:gd name="connsiteY17" fmla="*/ 276676 h 412463"/>
                <a:gd name="connsiteX18" fmla="*/ 200813 w 893776"/>
                <a:gd name="connsiteY18" fmla="*/ 402263 h 412463"/>
                <a:gd name="connsiteX19" fmla="*/ 200176 w 893776"/>
                <a:gd name="connsiteY19" fmla="*/ 410551 h 412463"/>
                <a:gd name="connsiteX20" fmla="*/ 224401 w 893776"/>
                <a:gd name="connsiteY20" fmla="*/ 411188 h 412463"/>
                <a:gd name="connsiteX21" fmla="*/ 311101 w 893776"/>
                <a:gd name="connsiteY21" fmla="*/ 412463 h 412463"/>
                <a:gd name="connsiteX22" fmla="*/ 526576 w 893776"/>
                <a:gd name="connsiteY22" fmla="*/ 412463 h 412463"/>
                <a:gd name="connsiteX23" fmla="*/ 634952 w 893776"/>
                <a:gd name="connsiteY23" fmla="*/ 409913 h 412463"/>
                <a:gd name="connsiteX24" fmla="*/ 872102 w 893776"/>
                <a:gd name="connsiteY24" fmla="*/ 400351 h 412463"/>
                <a:gd name="connsiteX25" fmla="*/ 893777 w 893776"/>
                <a:gd name="connsiteY25" fmla="*/ 399076 h 412463"/>
                <a:gd name="connsiteX26" fmla="*/ 891227 w 893776"/>
                <a:gd name="connsiteY26" fmla="*/ 396526 h 412463"/>
                <a:gd name="connsiteX27" fmla="*/ 874015 w 893776"/>
                <a:gd name="connsiteY27" fmla="*/ 365288 h 412463"/>
                <a:gd name="connsiteX28" fmla="*/ 859352 w 893776"/>
                <a:gd name="connsiteY28" fmla="*/ 354451 h 412463"/>
                <a:gd name="connsiteX29" fmla="*/ 843414 w 893776"/>
                <a:gd name="connsiteY29" fmla="*/ 323213 h 412463"/>
                <a:gd name="connsiteX30" fmla="*/ 844052 w 893776"/>
                <a:gd name="connsiteY30" fmla="*/ 319388 h 412463"/>
                <a:gd name="connsiteX31" fmla="*/ 844052 w 893776"/>
                <a:gd name="connsiteY31" fmla="*/ 318113 h 412463"/>
                <a:gd name="connsiteX32" fmla="*/ 824289 w 893776"/>
                <a:gd name="connsiteY32" fmla="*/ 237150 h 412463"/>
                <a:gd name="connsiteX33" fmla="*/ 828114 w 893776"/>
                <a:gd name="connsiteY33" fmla="*/ 224400 h 412463"/>
                <a:gd name="connsiteX34" fmla="*/ 806439 w 893776"/>
                <a:gd name="connsiteY34" fmla="*/ 193800 h 412463"/>
                <a:gd name="connsiteX35" fmla="*/ 805164 w 893776"/>
                <a:gd name="connsiteY35" fmla="*/ 158100 h 412463"/>
                <a:gd name="connsiteX36" fmla="*/ 785402 w 893776"/>
                <a:gd name="connsiteY36" fmla="*/ 126225 h 412463"/>
                <a:gd name="connsiteX37" fmla="*/ 765002 w 893776"/>
                <a:gd name="connsiteY37" fmla="*/ 66300 h 412463"/>
                <a:gd name="connsiteX38" fmla="*/ 760539 w 893776"/>
                <a:gd name="connsiteY38" fmla="*/ 65663 h 412463"/>
                <a:gd name="connsiteX39" fmla="*/ 747152 w 893776"/>
                <a:gd name="connsiteY39" fmla="*/ 64387 h 412463"/>
                <a:gd name="connsiteX40" fmla="*/ 747152 w 893776"/>
                <a:gd name="connsiteY40" fmla="*/ 64387 h 41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93776" h="412463">
                  <a:moveTo>
                    <a:pt x="747152" y="64387"/>
                  </a:moveTo>
                  <a:lnTo>
                    <a:pt x="727389" y="44625"/>
                  </a:lnTo>
                  <a:lnTo>
                    <a:pt x="657264" y="24225"/>
                  </a:lnTo>
                  <a:lnTo>
                    <a:pt x="634952" y="23587"/>
                  </a:lnTo>
                  <a:lnTo>
                    <a:pt x="601164" y="33787"/>
                  </a:lnTo>
                  <a:lnTo>
                    <a:pt x="561001" y="8287"/>
                  </a:lnTo>
                  <a:lnTo>
                    <a:pt x="434776" y="9563"/>
                  </a:lnTo>
                  <a:lnTo>
                    <a:pt x="249901" y="7650"/>
                  </a:lnTo>
                  <a:lnTo>
                    <a:pt x="31875" y="637"/>
                  </a:lnTo>
                  <a:lnTo>
                    <a:pt x="12750" y="0"/>
                  </a:lnTo>
                  <a:lnTo>
                    <a:pt x="12113" y="16575"/>
                  </a:lnTo>
                  <a:lnTo>
                    <a:pt x="9563" y="66938"/>
                  </a:lnTo>
                  <a:lnTo>
                    <a:pt x="3825" y="184875"/>
                  </a:lnTo>
                  <a:lnTo>
                    <a:pt x="638" y="252450"/>
                  </a:lnTo>
                  <a:lnTo>
                    <a:pt x="0" y="269025"/>
                  </a:lnTo>
                  <a:lnTo>
                    <a:pt x="15300" y="269663"/>
                  </a:lnTo>
                  <a:lnTo>
                    <a:pt x="172125" y="275400"/>
                  </a:lnTo>
                  <a:lnTo>
                    <a:pt x="203363" y="276676"/>
                  </a:lnTo>
                  <a:lnTo>
                    <a:pt x="200813" y="402263"/>
                  </a:lnTo>
                  <a:lnTo>
                    <a:pt x="200176" y="410551"/>
                  </a:lnTo>
                  <a:lnTo>
                    <a:pt x="224401" y="411188"/>
                  </a:lnTo>
                  <a:lnTo>
                    <a:pt x="311101" y="412463"/>
                  </a:lnTo>
                  <a:lnTo>
                    <a:pt x="526576" y="412463"/>
                  </a:lnTo>
                  <a:lnTo>
                    <a:pt x="634952" y="409913"/>
                  </a:lnTo>
                  <a:lnTo>
                    <a:pt x="872102" y="400351"/>
                  </a:lnTo>
                  <a:lnTo>
                    <a:pt x="893777" y="399076"/>
                  </a:lnTo>
                  <a:lnTo>
                    <a:pt x="891227" y="396526"/>
                  </a:lnTo>
                  <a:lnTo>
                    <a:pt x="874015" y="365288"/>
                  </a:lnTo>
                  <a:lnTo>
                    <a:pt x="859352" y="354451"/>
                  </a:lnTo>
                  <a:lnTo>
                    <a:pt x="843414" y="323213"/>
                  </a:lnTo>
                  <a:lnTo>
                    <a:pt x="844052" y="319388"/>
                  </a:lnTo>
                  <a:lnTo>
                    <a:pt x="844052" y="318113"/>
                  </a:lnTo>
                  <a:lnTo>
                    <a:pt x="824289" y="237150"/>
                  </a:lnTo>
                  <a:lnTo>
                    <a:pt x="828114" y="224400"/>
                  </a:lnTo>
                  <a:lnTo>
                    <a:pt x="806439" y="193800"/>
                  </a:lnTo>
                  <a:lnTo>
                    <a:pt x="805164" y="158100"/>
                  </a:lnTo>
                  <a:lnTo>
                    <a:pt x="785402" y="126225"/>
                  </a:lnTo>
                  <a:lnTo>
                    <a:pt x="765002" y="66300"/>
                  </a:lnTo>
                  <a:lnTo>
                    <a:pt x="760539" y="65663"/>
                  </a:lnTo>
                  <a:lnTo>
                    <a:pt x="747152" y="64387"/>
                  </a:lnTo>
                  <a:lnTo>
                    <a:pt x="747152" y="64387"/>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6" name="Freeform 38">
              <a:extLst>
                <a:ext uri="{FF2B5EF4-FFF2-40B4-BE49-F238E27FC236}">
                  <a16:creationId xmlns:a16="http://schemas.microsoft.com/office/drawing/2014/main" id="{F887FAC4-56F6-780D-D543-840194665294}"/>
                </a:ext>
              </a:extLst>
            </p:cNvPr>
            <p:cNvSpPr/>
            <p:nvPr/>
          </p:nvSpPr>
          <p:spPr>
            <a:xfrm>
              <a:off x="4032388" y="2947150"/>
              <a:ext cx="946051" cy="451988"/>
            </a:xfrm>
            <a:custGeom>
              <a:avLst/>
              <a:gdLst>
                <a:gd name="connsiteX0" fmla="*/ 908439 w 946051"/>
                <a:gd name="connsiteY0" fmla="*/ 50363 h 451988"/>
                <a:gd name="connsiteX1" fmla="*/ 907164 w 946051"/>
                <a:gd name="connsiteY1" fmla="*/ 33150 h 451988"/>
                <a:gd name="connsiteX2" fmla="*/ 906527 w 946051"/>
                <a:gd name="connsiteY2" fmla="*/ 16575 h 451988"/>
                <a:gd name="connsiteX3" fmla="*/ 905252 w 946051"/>
                <a:gd name="connsiteY3" fmla="*/ 0 h 451988"/>
                <a:gd name="connsiteX4" fmla="*/ 881027 w 946051"/>
                <a:gd name="connsiteY4" fmla="*/ 1913 h 451988"/>
                <a:gd name="connsiteX5" fmla="*/ 632401 w 946051"/>
                <a:gd name="connsiteY5" fmla="*/ 13388 h 451988"/>
                <a:gd name="connsiteX6" fmla="*/ 283688 w 946051"/>
                <a:gd name="connsiteY6" fmla="*/ 18488 h 451988"/>
                <a:gd name="connsiteX7" fmla="*/ 134513 w 946051"/>
                <a:gd name="connsiteY7" fmla="*/ 16575 h 451988"/>
                <a:gd name="connsiteX8" fmla="*/ 106463 w 946051"/>
                <a:gd name="connsiteY8" fmla="*/ 15938 h 451988"/>
                <a:gd name="connsiteX9" fmla="*/ 95625 w 946051"/>
                <a:gd name="connsiteY9" fmla="*/ 15938 h 451988"/>
                <a:gd name="connsiteX10" fmla="*/ 55462 w 946051"/>
                <a:gd name="connsiteY10" fmla="*/ 14663 h 451988"/>
                <a:gd name="connsiteX11" fmla="*/ 42712 w 946051"/>
                <a:gd name="connsiteY11" fmla="*/ 14025 h 451988"/>
                <a:gd name="connsiteX12" fmla="*/ 15300 w 946051"/>
                <a:gd name="connsiteY12" fmla="*/ 13388 h 451988"/>
                <a:gd name="connsiteX13" fmla="*/ 2550 w 946051"/>
                <a:gd name="connsiteY13" fmla="*/ 12750 h 451988"/>
                <a:gd name="connsiteX14" fmla="*/ 1912 w 946051"/>
                <a:gd name="connsiteY14" fmla="*/ 29325 h 451988"/>
                <a:gd name="connsiteX15" fmla="*/ 1275 w 946051"/>
                <a:gd name="connsiteY15" fmla="*/ 45900 h 451988"/>
                <a:gd name="connsiteX16" fmla="*/ 638 w 946051"/>
                <a:gd name="connsiteY16" fmla="*/ 62475 h 451988"/>
                <a:gd name="connsiteX17" fmla="*/ 0 w 946051"/>
                <a:gd name="connsiteY17" fmla="*/ 79688 h 451988"/>
                <a:gd name="connsiteX18" fmla="*/ 3825 w 946051"/>
                <a:gd name="connsiteY18" fmla="*/ 79688 h 451988"/>
                <a:gd name="connsiteX19" fmla="*/ 159375 w 946051"/>
                <a:gd name="connsiteY19" fmla="*/ 83513 h 451988"/>
                <a:gd name="connsiteX20" fmla="*/ 323213 w 946051"/>
                <a:gd name="connsiteY20" fmla="*/ 85425 h 451988"/>
                <a:gd name="connsiteX21" fmla="*/ 325125 w 946051"/>
                <a:gd name="connsiteY21" fmla="*/ 305363 h 451988"/>
                <a:gd name="connsiteX22" fmla="*/ 336601 w 946051"/>
                <a:gd name="connsiteY22" fmla="*/ 343613 h 451988"/>
                <a:gd name="connsiteX23" fmla="*/ 362101 w 946051"/>
                <a:gd name="connsiteY23" fmla="*/ 367838 h 451988"/>
                <a:gd name="connsiteX24" fmla="*/ 390151 w 946051"/>
                <a:gd name="connsiteY24" fmla="*/ 369113 h 451988"/>
                <a:gd name="connsiteX25" fmla="*/ 395888 w 946051"/>
                <a:gd name="connsiteY25" fmla="*/ 357638 h 451988"/>
                <a:gd name="connsiteX26" fmla="*/ 433501 w 946051"/>
                <a:gd name="connsiteY26" fmla="*/ 392063 h 451988"/>
                <a:gd name="connsiteX27" fmla="*/ 483226 w 946051"/>
                <a:gd name="connsiteY27" fmla="*/ 397164 h 451988"/>
                <a:gd name="connsiteX28" fmla="*/ 492789 w 946051"/>
                <a:gd name="connsiteY28" fmla="*/ 408001 h 451988"/>
                <a:gd name="connsiteX29" fmla="*/ 510639 w 946051"/>
                <a:gd name="connsiteY29" fmla="*/ 399713 h 451988"/>
                <a:gd name="connsiteX30" fmla="*/ 555901 w 946051"/>
                <a:gd name="connsiteY30" fmla="*/ 420751 h 451988"/>
                <a:gd name="connsiteX31" fmla="*/ 555901 w 946051"/>
                <a:gd name="connsiteY31" fmla="*/ 432864 h 451988"/>
                <a:gd name="connsiteX32" fmla="*/ 572476 w 946051"/>
                <a:gd name="connsiteY32" fmla="*/ 432226 h 451988"/>
                <a:gd name="connsiteX33" fmla="*/ 589689 w 946051"/>
                <a:gd name="connsiteY33" fmla="*/ 417563 h 451988"/>
                <a:gd name="connsiteX34" fmla="*/ 622201 w 946051"/>
                <a:gd name="connsiteY34" fmla="*/ 437963 h 451988"/>
                <a:gd name="connsiteX35" fmla="*/ 652801 w 946051"/>
                <a:gd name="connsiteY35" fmla="*/ 449438 h 451988"/>
                <a:gd name="connsiteX36" fmla="*/ 673201 w 946051"/>
                <a:gd name="connsiteY36" fmla="*/ 420751 h 451988"/>
                <a:gd name="connsiteX37" fmla="*/ 738864 w 946051"/>
                <a:gd name="connsiteY37" fmla="*/ 451989 h 451988"/>
                <a:gd name="connsiteX38" fmla="*/ 763089 w 946051"/>
                <a:gd name="connsiteY38" fmla="*/ 432226 h 451988"/>
                <a:gd name="connsiteX39" fmla="*/ 782852 w 946051"/>
                <a:gd name="connsiteY39" fmla="*/ 424576 h 451988"/>
                <a:gd name="connsiteX40" fmla="*/ 798789 w 946051"/>
                <a:gd name="connsiteY40" fmla="*/ 428401 h 451988"/>
                <a:gd name="connsiteX41" fmla="*/ 858714 w 946051"/>
                <a:gd name="connsiteY41" fmla="*/ 411188 h 451988"/>
                <a:gd name="connsiteX42" fmla="*/ 891227 w 946051"/>
                <a:gd name="connsiteY42" fmla="*/ 424576 h 451988"/>
                <a:gd name="connsiteX43" fmla="*/ 920552 w 946051"/>
                <a:gd name="connsiteY43" fmla="*/ 443063 h 451988"/>
                <a:gd name="connsiteX44" fmla="*/ 945415 w 946051"/>
                <a:gd name="connsiteY44" fmla="*/ 447526 h 451988"/>
                <a:gd name="connsiteX45" fmla="*/ 946052 w 946051"/>
                <a:gd name="connsiteY45" fmla="*/ 447526 h 451988"/>
                <a:gd name="connsiteX46" fmla="*/ 945415 w 946051"/>
                <a:gd name="connsiteY46" fmla="*/ 418201 h 451988"/>
                <a:gd name="connsiteX47" fmla="*/ 938402 w 946051"/>
                <a:gd name="connsiteY47" fmla="*/ 243526 h 451988"/>
                <a:gd name="connsiteX48" fmla="*/ 937764 w 946051"/>
                <a:gd name="connsiteY48" fmla="*/ 214201 h 451988"/>
                <a:gd name="connsiteX49" fmla="*/ 912902 w 946051"/>
                <a:gd name="connsiteY49" fmla="*/ 84788 h 451988"/>
                <a:gd name="connsiteX50" fmla="*/ 909077 w 946051"/>
                <a:gd name="connsiteY50" fmla="*/ 66938 h 451988"/>
                <a:gd name="connsiteX51" fmla="*/ 908439 w 946051"/>
                <a:gd name="connsiteY51" fmla="*/ 50363 h 451988"/>
                <a:gd name="connsiteX52" fmla="*/ 908439 w 946051"/>
                <a:gd name="connsiteY52" fmla="*/ 50363 h 4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46051" h="451988">
                  <a:moveTo>
                    <a:pt x="908439" y="50363"/>
                  </a:moveTo>
                  <a:lnTo>
                    <a:pt x="907164" y="33150"/>
                  </a:lnTo>
                  <a:lnTo>
                    <a:pt x="906527" y="16575"/>
                  </a:lnTo>
                  <a:lnTo>
                    <a:pt x="905252" y="0"/>
                  </a:lnTo>
                  <a:lnTo>
                    <a:pt x="881027" y="1913"/>
                  </a:lnTo>
                  <a:lnTo>
                    <a:pt x="632401" y="13388"/>
                  </a:lnTo>
                  <a:lnTo>
                    <a:pt x="283688" y="18488"/>
                  </a:lnTo>
                  <a:lnTo>
                    <a:pt x="134513" y="16575"/>
                  </a:lnTo>
                  <a:lnTo>
                    <a:pt x="106463" y="15938"/>
                  </a:lnTo>
                  <a:lnTo>
                    <a:pt x="95625" y="15938"/>
                  </a:lnTo>
                  <a:lnTo>
                    <a:pt x="55462" y="14663"/>
                  </a:lnTo>
                  <a:lnTo>
                    <a:pt x="42712" y="14025"/>
                  </a:lnTo>
                  <a:lnTo>
                    <a:pt x="15300" y="13388"/>
                  </a:lnTo>
                  <a:lnTo>
                    <a:pt x="2550" y="12750"/>
                  </a:lnTo>
                  <a:lnTo>
                    <a:pt x="1912" y="29325"/>
                  </a:lnTo>
                  <a:lnTo>
                    <a:pt x="1275" y="45900"/>
                  </a:lnTo>
                  <a:lnTo>
                    <a:pt x="638" y="62475"/>
                  </a:lnTo>
                  <a:lnTo>
                    <a:pt x="0" y="79688"/>
                  </a:lnTo>
                  <a:lnTo>
                    <a:pt x="3825" y="79688"/>
                  </a:lnTo>
                  <a:lnTo>
                    <a:pt x="159375" y="83513"/>
                  </a:lnTo>
                  <a:lnTo>
                    <a:pt x="323213" y="85425"/>
                  </a:lnTo>
                  <a:lnTo>
                    <a:pt x="325125" y="305363"/>
                  </a:lnTo>
                  <a:lnTo>
                    <a:pt x="336601" y="343613"/>
                  </a:lnTo>
                  <a:lnTo>
                    <a:pt x="362101" y="367838"/>
                  </a:lnTo>
                  <a:lnTo>
                    <a:pt x="390151" y="369113"/>
                  </a:lnTo>
                  <a:lnTo>
                    <a:pt x="395888" y="357638"/>
                  </a:lnTo>
                  <a:lnTo>
                    <a:pt x="433501" y="392063"/>
                  </a:lnTo>
                  <a:lnTo>
                    <a:pt x="483226" y="397164"/>
                  </a:lnTo>
                  <a:lnTo>
                    <a:pt x="492789" y="408001"/>
                  </a:lnTo>
                  <a:lnTo>
                    <a:pt x="510639" y="399713"/>
                  </a:lnTo>
                  <a:lnTo>
                    <a:pt x="555901" y="420751"/>
                  </a:lnTo>
                  <a:lnTo>
                    <a:pt x="555901" y="432864"/>
                  </a:lnTo>
                  <a:lnTo>
                    <a:pt x="572476" y="432226"/>
                  </a:lnTo>
                  <a:lnTo>
                    <a:pt x="589689" y="417563"/>
                  </a:lnTo>
                  <a:lnTo>
                    <a:pt x="622201" y="437963"/>
                  </a:lnTo>
                  <a:lnTo>
                    <a:pt x="652801" y="449438"/>
                  </a:lnTo>
                  <a:lnTo>
                    <a:pt x="673201" y="420751"/>
                  </a:lnTo>
                  <a:lnTo>
                    <a:pt x="738864" y="451989"/>
                  </a:lnTo>
                  <a:lnTo>
                    <a:pt x="763089" y="432226"/>
                  </a:lnTo>
                  <a:lnTo>
                    <a:pt x="782852" y="424576"/>
                  </a:lnTo>
                  <a:lnTo>
                    <a:pt x="798789" y="428401"/>
                  </a:lnTo>
                  <a:lnTo>
                    <a:pt x="858714" y="411188"/>
                  </a:lnTo>
                  <a:lnTo>
                    <a:pt x="891227" y="424576"/>
                  </a:lnTo>
                  <a:lnTo>
                    <a:pt x="920552" y="443063"/>
                  </a:lnTo>
                  <a:lnTo>
                    <a:pt x="945415" y="447526"/>
                  </a:lnTo>
                  <a:lnTo>
                    <a:pt x="946052" y="447526"/>
                  </a:lnTo>
                  <a:lnTo>
                    <a:pt x="945415" y="418201"/>
                  </a:lnTo>
                  <a:lnTo>
                    <a:pt x="938402" y="243526"/>
                  </a:lnTo>
                  <a:lnTo>
                    <a:pt x="937764" y="214201"/>
                  </a:lnTo>
                  <a:lnTo>
                    <a:pt x="912902" y="84788"/>
                  </a:lnTo>
                  <a:lnTo>
                    <a:pt x="909077" y="66938"/>
                  </a:lnTo>
                  <a:lnTo>
                    <a:pt x="908439" y="50363"/>
                  </a:lnTo>
                  <a:lnTo>
                    <a:pt x="908439" y="503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7" name="Freeform 39">
              <a:extLst>
                <a:ext uri="{FF2B5EF4-FFF2-40B4-BE49-F238E27FC236}">
                  <a16:creationId xmlns:a16="http://schemas.microsoft.com/office/drawing/2014/main" id="{1A2A4AD0-2AED-BB54-8578-84726CF3B723}"/>
                </a:ext>
              </a:extLst>
            </p:cNvPr>
            <p:cNvSpPr/>
            <p:nvPr/>
          </p:nvSpPr>
          <p:spPr>
            <a:xfrm>
              <a:off x="3960350" y="1754385"/>
              <a:ext cx="746514" cy="461550"/>
            </a:xfrm>
            <a:custGeom>
              <a:avLst/>
              <a:gdLst>
                <a:gd name="connsiteX0" fmla="*/ 698702 w 746514"/>
                <a:gd name="connsiteY0" fmla="*/ 3825 h 461550"/>
                <a:gd name="connsiteX1" fmla="*/ 590326 w 746514"/>
                <a:gd name="connsiteY1" fmla="*/ 7013 h 461550"/>
                <a:gd name="connsiteX2" fmla="*/ 328951 w 746514"/>
                <a:gd name="connsiteY2" fmla="*/ 8925 h 461550"/>
                <a:gd name="connsiteX3" fmla="*/ 45900 w 746514"/>
                <a:gd name="connsiteY3" fmla="*/ 1275 h 461550"/>
                <a:gd name="connsiteX4" fmla="*/ 20400 w 746514"/>
                <a:gd name="connsiteY4" fmla="*/ 0 h 461550"/>
                <a:gd name="connsiteX5" fmla="*/ 19763 w 746514"/>
                <a:gd name="connsiteY5" fmla="*/ 14662 h 461550"/>
                <a:gd name="connsiteX6" fmla="*/ 17213 w 746514"/>
                <a:gd name="connsiteY6" fmla="*/ 72675 h 461550"/>
                <a:gd name="connsiteX7" fmla="*/ 15300 w 746514"/>
                <a:gd name="connsiteY7" fmla="*/ 117300 h 461550"/>
                <a:gd name="connsiteX8" fmla="*/ 14663 w 746514"/>
                <a:gd name="connsiteY8" fmla="*/ 126863 h 461550"/>
                <a:gd name="connsiteX9" fmla="*/ 12750 w 746514"/>
                <a:gd name="connsiteY9" fmla="*/ 126863 h 461550"/>
                <a:gd name="connsiteX10" fmla="*/ 12113 w 746514"/>
                <a:gd name="connsiteY10" fmla="*/ 143438 h 461550"/>
                <a:gd name="connsiteX11" fmla="*/ 5738 w 746514"/>
                <a:gd name="connsiteY11" fmla="*/ 278588 h 461550"/>
                <a:gd name="connsiteX12" fmla="*/ 638 w 746514"/>
                <a:gd name="connsiteY12" fmla="*/ 378676 h 461550"/>
                <a:gd name="connsiteX13" fmla="*/ 0 w 746514"/>
                <a:gd name="connsiteY13" fmla="*/ 395888 h 461550"/>
                <a:gd name="connsiteX14" fmla="*/ 19125 w 746514"/>
                <a:gd name="connsiteY14" fmla="*/ 396526 h 461550"/>
                <a:gd name="connsiteX15" fmla="*/ 237151 w 746514"/>
                <a:gd name="connsiteY15" fmla="*/ 403538 h 461550"/>
                <a:gd name="connsiteX16" fmla="*/ 422026 w 746514"/>
                <a:gd name="connsiteY16" fmla="*/ 405451 h 461550"/>
                <a:gd name="connsiteX17" fmla="*/ 548251 w 746514"/>
                <a:gd name="connsiteY17" fmla="*/ 404176 h 461550"/>
                <a:gd name="connsiteX18" fmla="*/ 588414 w 746514"/>
                <a:gd name="connsiteY18" fmla="*/ 429676 h 461550"/>
                <a:gd name="connsiteX19" fmla="*/ 622202 w 746514"/>
                <a:gd name="connsiteY19" fmla="*/ 419476 h 461550"/>
                <a:gd name="connsiteX20" fmla="*/ 644514 w 746514"/>
                <a:gd name="connsiteY20" fmla="*/ 420113 h 461550"/>
                <a:gd name="connsiteX21" fmla="*/ 714639 w 746514"/>
                <a:gd name="connsiteY21" fmla="*/ 440513 h 461550"/>
                <a:gd name="connsiteX22" fmla="*/ 734402 w 746514"/>
                <a:gd name="connsiteY22" fmla="*/ 460276 h 461550"/>
                <a:gd name="connsiteX23" fmla="*/ 746514 w 746514"/>
                <a:gd name="connsiteY23" fmla="*/ 461551 h 461550"/>
                <a:gd name="connsiteX24" fmla="*/ 746514 w 746514"/>
                <a:gd name="connsiteY24" fmla="*/ 457089 h 461550"/>
                <a:gd name="connsiteX25" fmla="*/ 733126 w 746514"/>
                <a:gd name="connsiteY25" fmla="*/ 436688 h 461550"/>
                <a:gd name="connsiteX26" fmla="*/ 742689 w 746514"/>
                <a:gd name="connsiteY26" fmla="*/ 402901 h 461550"/>
                <a:gd name="connsiteX27" fmla="*/ 731214 w 746514"/>
                <a:gd name="connsiteY27" fmla="*/ 331501 h 461550"/>
                <a:gd name="connsiteX28" fmla="*/ 744601 w 746514"/>
                <a:gd name="connsiteY28" fmla="*/ 330863 h 461550"/>
                <a:gd name="connsiteX29" fmla="*/ 743327 w 746514"/>
                <a:gd name="connsiteY29" fmla="*/ 300901 h 461550"/>
                <a:gd name="connsiteX30" fmla="*/ 710814 w 746514"/>
                <a:gd name="connsiteY30" fmla="*/ 74588 h 461550"/>
                <a:gd name="connsiteX31" fmla="*/ 694239 w 746514"/>
                <a:gd name="connsiteY31" fmla="*/ 45900 h 461550"/>
                <a:gd name="connsiteX32" fmla="*/ 719739 w 746514"/>
                <a:gd name="connsiteY32" fmla="*/ 3825 h 461550"/>
                <a:gd name="connsiteX33" fmla="*/ 720376 w 746514"/>
                <a:gd name="connsiteY33" fmla="*/ 1912 h 461550"/>
                <a:gd name="connsiteX34" fmla="*/ 698702 w 746514"/>
                <a:gd name="connsiteY34" fmla="*/ 3825 h 461550"/>
                <a:gd name="connsiteX35" fmla="*/ 698702 w 746514"/>
                <a:gd name="connsiteY35" fmla="*/ 3825 h 46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46514" h="461550">
                  <a:moveTo>
                    <a:pt x="698702" y="3825"/>
                  </a:moveTo>
                  <a:lnTo>
                    <a:pt x="590326" y="7013"/>
                  </a:lnTo>
                  <a:lnTo>
                    <a:pt x="328951" y="8925"/>
                  </a:lnTo>
                  <a:lnTo>
                    <a:pt x="45900" y="1275"/>
                  </a:lnTo>
                  <a:lnTo>
                    <a:pt x="20400" y="0"/>
                  </a:lnTo>
                  <a:lnTo>
                    <a:pt x="19763" y="14662"/>
                  </a:lnTo>
                  <a:lnTo>
                    <a:pt x="17213" y="72675"/>
                  </a:lnTo>
                  <a:lnTo>
                    <a:pt x="15300" y="117300"/>
                  </a:lnTo>
                  <a:lnTo>
                    <a:pt x="14663" y="126863"/>
                  </a:lnTo>
                  <a:lnTo>
                    <a:pt x="12750" y="126863"/>
                  </a:lnTo>
                  <a:lnTo>
                    <a:pt x="12113" y="143438"/>
                  </a:lnTo>
                  <a:lnTo>
                    <a:pt x="5738" y="278588"/>
                  </a:lnTo>
                  <a:lnTo>
                    <a:pt x="638" y="378676"/>
                  </a:lnTo>
                  <a:lnTo>
                    <a:pt x="0" y="395888"/>
                  </a:lnTo>
                  <a:lnTo>
                    <a:pt x="19125" y="396526"/>
                  </a:lnTo>
                  <a:lnTo>
                    <a:pt x="237151" y="403538"/>
                  </a:lnTo>
                  <a:lnTo>
                    <a:pt x="422026" y="405451"/>
                  </a:lnTo>
                  <a:lnTo>
                    <a:pt x="548251" y="404176"/>
                  </a:lnTo>
                  <a:lnTo>
                    <a:pt x="588414" y="429676"/>
                  </a:lnTo>
                  <a:lnTo>
                    <a:pt x="622202" y="419476"/>
                  </a:lnTo>
                  <a:lnTo>
                    <a:pt x="644514" y="420113"/>
                  </a:lnTo>
                  <a:lnTo>
                    <a:pt x="714639" y="440513"/>
                  </a:lnTo>
                  <a:lnTo>
                    <a:pt x="734402" y="460276"/>
                  </a:lnTo>
                  <a:lnTo>
                    <a:pt x="746514" y="461551"/>
                  </a:lnTo>
                  <a:lnTo>
                    <a:pt x="746514" y="457089"/>
                  </a:lnTo>
                  <a:lnTo>
                    <a:pt x="733126" y="436688"/>
                  </a:lnTo>
                  <a:lnTo>
                    <a:pt x="742689" y="402901"/>
                  </a:lnTo>
                  <a:lnTo>
                    <a:pt x="731214" y="331501"/>
                  </a:lnTo>
                  <a:lnTo>
                    <a:pt x="744601" y="330863"/>
                  </a:lnTo>
                  <a:lnTo>
                    <a:pt x="743327" y="300901"/>
                  </a:lnTo>
                  <a:lnTo>
                    <a:pt x="710814" y="74588"/>
                  </a:lnTo>
                  <a:lnTo>
                    <a:pt x="694239" y="45900"/>
                  </a:lnTo>
                  <a:lnTo>
                    <a:pt x="719739" y="3825"/>
                  </a:lnTo>
                  <a:lnTo>
                    <a:pt x="720376" y="1912"/>
                  </a:lnTo>
                  <a:lnTo>
                    <a:pt x="698702" y="3825"/>
                  </a:lnTo>
                  <a:lnTo>
                    <a:pt x="698702" y="3825"/>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8" name="Freeform 40">
              <a:extLst>
                <a:ext uri="{FF2B5EF4-FFF2-40B4-BE49-F238E27FC236}">
                  <a16:creationId xmlns:a16="http://schemas.microsoft.com/office/drawing/2014/main" id="{2E3503D3-830A-28C1-6427-FB591C76A4BF}"/>
                </a:ext>
              </a:extLst>
            </p:cNvPr>
            <p:cNvSpPr/>
            <p:nvPr/>
          </p:nvSpPr>
          <p:spPr>
            <a:xfrm>
              <a:off x="5034540" y="3448226"/>
              <a:ext cx="630488" cy="524026"/>
            </a:xfrm>
            <a:custGeom>
              <a:avLst/>
              <a:gdLst>
                <a:gd name="connsiteX0" fmla="*/ 432864 w 630488"/>
                <a:gd name="connsiteY0" fmla="*/ 518288 h 524026"/>
                <a:gd name="connsiteX1" fmla="*/ 424576 w 630488"/>
                <a:gd name="connsiteY1" fmla="*/ 520201 h 524026"/>
                <a:gd name="connsiteX2" fmla="*/ 420751 w 630488"/>
                <a:gd name="connsiteY2" fmla="*/ 524026 h 524026"/>
                <a:gd name="connsiteX3" fmla="*/ 432864 w 630488"/>
                <a:gd name="connsiteY3" fmla="*/ 518288 h 524026"/>
                <a:gd name="connsiteX4" fmla="*/ 432864 w 630488"/>
                <a:gd name="connsiteY4" fmla="*/ 518288 h 524026"/>
                <a:gd name="connsiteX5" fmla="*/ 459639 w 630488"/>
                <a:gd name="connsiteY5" fmla="*/ 518288 h 524026"/>
                <a:gd name="connsiteX6" fmla="*/ 455176 w 630488"/>
                <a:gd name="connsiteY6" fmla="*/ 516376 h 524026"/>
                <a:gd name="connsiteX7" fmla="*/ 453901 w 630488"/>
                <a:gd name="connsiteY7" fmla="*/ 518288 h 524026"/>
                <a:gd name="connsiteX8" fmla="*/ 459639 w 630488"/>
                <a:gd name="connsiteY8" fmla="*/ 518288 h 524026"/>
                <a:gd name="connsiteX9" fmla="*/ 474938 w 630488"/>
                <a:gd name="connsiteY9" fmla="*/ 513189 h 524026"/>
                <a:gd name="connsiteX10" fmla="*/ 470476 w 630488"/>
                <a:gd name="connsiteY10" fmla="*/ 513189 h 524026"/>
                <a:gd name="connsiteX11" fmla="*/ 467926 w 630488"/>
                <a:gd name="connsiteY11" fmla="*/ 516376 h 524026"/>
                <a:gd name="connsiteX12" fmla="*/ 474938 w 630488"/>
                <a:gd name="connsiteY12" fmla="*/ 513189 h 524026"/>
                <a:gd name="connsiteX13" fmla="*/ 467288 w 630488"/>
                <a:gd name="connsiteY13" fmla="*/ 508726 h 524026"/>
                <a:gd name="connsiteX14" fmla="*/ 466014 w 630488"/>
                <a:gd name="connsiteY14" fmla="*/ 506814 h 524026"/>
                <a:gd name="connsiteX15" fmla="*/ 465376 w 630488"/>
                <a:gd name="connsiteY15" fmla="*/ 508726 h 524026"/>
                <a:gd name="connsiteX16" fmla="*/ 467288 w 630488"/>
                <a:gd name="connsiteY16" fmla="*/ 508726 h 524026"/>
                <a:gd name="connsiteX17" fmla="*/ 467288 w 630488"/>
                <a:gd name="connsiteY17" fmla="*/ 508726 h 524026"/>
                <a:gd name="connsiteX18" fmla="*/ 518926 w 630488"/>
                <a:gd name="connsiteY18" fmla="*/ 474938 h 524026"/>
                <a:gd name="connsiteX19" fmla="*/ 517014 w 630488"/>
                <a:gd name="connsiteY19" fmla="*/ 476214 h 524026"/>
                <a:gd name="connsiteX20" fmla="*/ 520201 w 630488"/>
                <a:gd name="connsiteY20" fmla="*/ 476214 h 524026"/>
                <a:gd name="connsiteX21" fmla="*/ 518926 w 630488"/>
                <a:gd name="connsiteY21" fmla="*/ 474938 h 524026"/>
                <a:gd name="connsiteX22" fmla="*/ 518926 w 630488"/>
                <a:gd name="connsiteY22" fmla="*/ 474938 h 524026"/>
                <a:gd name="connsiteX23" fmla="*/ 608814 w 630488"/>
                <a:gd name="connsiteY23" fmla="*/ 436688 h 524026"/>
                <a:gd name="connsiteX24" fmla="*/ 612639 w 630488"/>
                <a:gd name="connsiteY24" fmla="*/ 431588 h 524026"/>
                <a:gd name="connsiteX25" fmla="*/ 608814 w 630488"/>
                <a:gd name="connsiteY25" fmla="*/ 436688 h 524026"/>
                <a:gd name="connsiteX26" fmla="*/ 608814 w 630488"/>
                <a:gd name="connsiteY26" fmla="*/ 436688 h 524026"/>
                <a:gd name="connsiteX27" fmla="*/ 608814 w 630488"/>
                <a:gd name="connsiteY27" fmla="*/ 436688 h 524026"/>
                <a:gd name="connsiteX28" fmla="*/ 620926 w 630488"/>
                <a:gd name="connsiteY28" fmla="*/ 419476 h 524026"/>
                <a:gd name="connsiteX29" fmla="*/ 619651 w 630488"/>
                <a:gd name="connsiteY29" fmla="*/ 420113 h 524026"/>
                <a:gd name="connsiteX30" fmla="*/ 619651 w 630488"/>
                <a:gd name="connsiteY30" fmla="*/ 420751 h 524026"/>
                <a:gd name="connsiteX31" fmla="*/ 620926 w 630488"/>
                <a:gd name="connsiteY31" fmla="*/ 419476 h 524026"/>
                <a:gd name="connsiteX32" fmla="*/ 620926 w 630488"/>
                <a:gd name="connsiteY32" fmla="*/ 419476 h 524026"/>
                <a:gd name="connsiteX33" fmla="*/ 290701 w 630488"/>
                <a:gd name="connsiteY33" fmla="*/ 476851 h 524026"/>
                <a:gd name="connsiteX34" fmla="*/ 300901 w 630488"/>
                <a:gd name="connsiteY34" fmla="*/ 464738 h 524026"/>
                <a:gd name="connsiteX35" fmla="*/ 274126 w 630488"/>
                <a:gd name="connsiteY35" fmla="*/ 457726 h 524026"/>
                <a:gd name="connsiteX36" fmla="*/ 262651 w 630488"/>
                <a:gd name="connsiteY36" fmla="*/ 467926 h 524026"/>
                <a:gd name="connsiteX37" fmla="*/ 290701 w 630488"/>
                <a:gd name="connsiteY37" fmla="*/ 476851 h 524026"/>
                <a:gd name="connsiteX38" fmla="*/ 290701 w 630488"/>
                <a:gd name="connsiteY38" fmla="*/ 476851 h 524026"/>
                <a:gd name="connsiteX39" fmla="*/ 557814 w 630488"/>
                <a:gd name="connsiteY39" fmla="*/ 420113 h 524026"/>
                <a:gd name="connsiteX40" fmla="*/ 555264 w 630488"/>
                <a:gd name="connsiteY40" fmla="*/ 417563 h 524026"/>
                <a:gd name="connsiteX41" fmla="*/ 554626 w 630488"/>
                <a:gd name="connsiteY41" fmla="*/ 418838 h 524026"/>
                <a:gd name="connsiteX42" fmla="*/ 557814 w 630488"/>
                <a:gd name="connsiteY42" fmla="*/ 420113 h 524026"/>
                <a:gd name="connsiteX43" fmla="*/ 557814 w 630488"/>
                <a:gd name="connsiteY43" fmla="*/ 420113 h 524026"/>
                <a:gd name="connsiteX44" fmla="*/ 564826 w 630488"/>
                <a:gd name="connsiteY44" fmla="*/ 409276 h 524026"/>
                <a:gd name="connsiteX45" fmla="*/ 558451 w 630488"/>
                <a:gd name="connsiteY45" fmla="*/ 407363 h 524026"/>
                <a:gd name="connsiteX46" fmla="*/ 560364 w 630488"/>
                <a:gd name="connsiteY46" fmla="*/ 413738 h 524026"/>
                <a:gd name="connsiteX47" fmla="*/ 564826 w 630488"/>
                <a:gd name="connsiteY47" fmla="*/ 409276 h 524026"/>
                <a:gd name="connsiteX48" fmla="*/ 617739 w 630488"/>
                <a:gd name="connsiteY48" fmla="*/ 397801 h 524026"/>
                <a:gd name="connsiteX49" fmla="*/ 617739 w 630488"/>
                <a:gd name="connsiteY49" fmla="*/ 395888 h 524026"/>
                <a:gd name="connsiteX50" fmla="*/ 617739 w 630488"/>
                <a:gd name="connsiteY50" fmla="*/ 396526 h 524026"/>
                <a:gd name="connsiteX51" fmla="*/ 617739 w 630488"/>
                <a:gd name="connsiteY51" fmla="*/ 397801 h 524026"/>
                <a:gd name="connsiteX52" fmla="*/ 617739 w 630488"/>
                <a:gd name="connsiteY52" fmla="*/ 397801 h 524026"/>
                <a:gd name="connsiteX53" fmla="*/ 630489 w 630488"/>
                <a:gd name="connsiteY53" fmla="*/ 390151 h 524026"/>
                <a:gd name="connsiteX54" fmla="*/ 630489 w 630488"/>
                <a:gd name="connsiteY54" fmla="*/ 390151 h 524026"/>
                <a:gd name="connsiteX55" fmla="*/ 630489 w 630488"/>
                <a:gd name="connsiteY55" fmla="*/ 390151 h 524026"/>
                <a:gd name="connsiteX56" fmla="*/ 630489 w 630488"/>
                <a:gd name="connsiteY56" fmla="*/ 390151 h 524026"/>
                <a:gd name="connsiteX57" fmla="*/ 630489 w 630488"/>
                <a:gd name="connsiteY57" fmla="*/ 390151 h 524026"/>
                <a:gd name="connsiteX58" fmla="*/ 625389 w 630488"/>
                <a:gd name="connsiteY58" fmla="*/ 388876 h 524026"/>
                <a:gd name="connsiteX59" fmla="*/ 624114 w 630488"/>
                <a:gd name="connsiteY59" fmla="*/ 388238 h 524026"/>
                <a:gd name="connsiteX60" fmla="*/ 623476 w 630488"/>
                <a:gd name="connsiteY60" fmla="*/ 390151 h 524026"/>
                <a:gd name="connsiteX61" fmla="*/ 625389 w 630488"/>
                <a:gd name="connsiteY61" fmla="*/ 388876 h 524026"/>
                <a:gd name="connsiteX62" fmla="*/ 625389 w 630488"/>
                <a:gd name="connsiteY62" fmla="*/ 388876 h 524026"/>
                <a:gd name="connsiteX63" fmla="*/ 580126 w 630488"/>
                <a:gd name="connsiteY63" fmla="*/ 386963 h 524026"/>
                <a:gd name="connsiteX64" fmla="*/ 585864 w 630488"/>
                <a:gd name="connsiteY64" fmla="*/ 385051 h 524026"/>
                <a:gd name="connsiteX65" fmla="*/ 585864 w 630488"/>
                <a:gd name="connsiteY65" fmla="*/ 383138 h 524026"/>
                <a:gd name="connsiteX66" fmla="*/ 580126 w 630488"/>
                <a:gd name="connsiteY66" fmla="*/ 386963 h 524026"/>
                <a:gd name="connsiteX67" fmla="*/ 580126 w 630488"/>
                <a:gd name="connsiteY67" fmla="*/ 386963 h 524026"/>
                <a:gd name="connsiteX68" fmla="*/ 583314 w 630488"/>
                <a:gd name="connsiteY68" fmla="*/ 383138 h 524026"/>
                <a:gd name="connsiteX69" fmla="*/ 586501 w 630488"/>
                <a:gd name="connsiteY69" fmla="*/ 379951 h 524026"/>
                <a:gd name="connsiteX70" fmla="*/ 585864 w 630488"/>
                <a:gd name="connsiteY70" fmla="*/ 379313 h 524026"/>
                <a:gd name="connsiteX71" fmla="*/ 583314 w 630488"/>
                <a:gd name="connsiteY71" fmla="*/ 383138 h 524026"/>
                <a:gd name="connsiteX72" fmla="*/ 583314 w 630488"/>
                <a:gd name="connsiteY72" fmla="*/ 383138 h 524026"/>
                <a:gd name="connsiteX73" fmla="*/ 561001 w 630488"/>
                <a:gd name="connsiteY73" fmla="*/ 359551 h 524026"/>
                <a:gd name="connsiteX74" fmla="*/ 559726 w 630488"/>
                <a:gd name="connsiteY74" fmla="*/ 360826 h 524026"/>
                <a:gd name="connsiteX75" fmla="*/ 560364 w 630488"/>
                <a:gd name="connsiteY75" fmla="*/ 360826 h 524026"/>
                <a:gd name="connsiteX76" fmla="*/ 561001 w 630488"/>
                <a:gd name="connsiteY76" fmla="*/ 359551 h 524026"/>
                <a:gd name="connsiteX77" fmla="*/ 561001 w 630488"/>
                <a:gd name="connsiteY77" fmla="*/ 359551 h 524026"/>
                <a:gd name="connsiteX78" fmla="*/ 323851 w 630488"/>
                <a:gd name="connsiteY78" fmla="*/ 0 h 524026"/>
                <a:gd name="connsiteX79" fmla="*/ 322576 w 630488"/>
                <a:gd name="connsiteY79" fmla="*/ 0 h 524026"/>
                <a:gd name="connsiteX80" fmla="*/ 80325 w 630488"/>
                <a:gd name="connsiteY80" fmla="*/ 22313 h 524026"/>
                <a:gd name="connsiteX81" fmla="*/ 19763 w 630488"/>
                <a:gd name="connsiteY81" fmla="*/ 26775 h 524026"/>
                <a:gd name="connsiteX82" fmla="*/ 0 w 630488"/>
                <a:gd name="connsiteY82" fmla="*/ 28688 h 524026"/>
                <a:gd name="connsiteX83" fmla="*/ 638 w 630488"/>
                <a:gd name="connsiteY83" fmla="*/ 43987 h 524026"/>
                <a:gd name="connsiteX84" fmla="*/ 13388 w 630488"/>
                <a:gd name="connsiteY84" fmla="*/ 167663 h 524026"/>
                <a:gd name="connsiteX85" fmla="*/ 34425 w 630488"/>
                <a:gd name="connsiteY85" fmla="*/ 197625 h 524026"/>
                <a:gd name="connsiteX86" fmla="*/ 35063 w 630488"/>
                <a:gd name="connsiteY86" fmla="*/ 214838 h 524026"/>
                <a:gd name="connsiteX87" fmla="*/ 55463 w 630488"/>
                <a:gd name="connsiteY87" fmla="*/ 250538 h 524026"/>
                <a:gd name="connsiteX88" fmla="*/ 72038 w 630488"/>
                <a:gd name="connsiteY88" fmla="*/ 303450 h 524026"/>
                <a:gd name="connsiteX89" fmla="*/ 66300 w 630488"/>
                <a:gd name="connsiteY89" fmla="*/ 333413 h 524026"/>
                <a:gd name="connsiteX90" fmla="*/ 61838 w 630488"/>
                <a:gd name="connsiteY90" fmla="*/ 406726 h 524026"/>
                <a:gd name="connsiteX91" fmla="*/ 51638 w 630488"/>
                <a:gd name="connsiteY91" fmla="*/ 430313 h 524026"/>
                <a:gd name="connsiteX92" fmla="*/ 52913 w 630488"/>
                <a:gd name="connsiteY92" fmla="*/ 430313 h 524026"/>
                <a:gd name="connsiteX93" fmla="*/ 54825 w 630488"/>
                <a:gd name="connsiteY93" fmla="*/ 446888 h 524026"/>
                <a:gd name="connsiteX94" fmla="*/ 43350 w 630488"/>
                <a:gd name="connsiteY94" fmla="*/ 462188 h 524026"/>
                <a:gd name="connsiteX95" fmla="*/ 123038 w 630488"/>
                <a:gd name="connsiteY95" fmla="*/ 452626 h 524026"/>
                <a:gd name="connsiteX96" fmla="*/ 185513 w 630488"/>
                <a:gd name="connsiteY96" fmla="*/ 469839 h 524026"/>
                <a:gd name="connsiteX97" fmla="*/ 230138 w 630488"/>
                <a:gd name="connsiteY97" fmla="*/ 475576 h 524026"/>
                <a:gd name="connsiteX98" fmla="*/ 252451 w 630488"/>
                <a:gd name="connsiteY98" fmla="*/ 459638 h 524026"/>
                <a:gd name="connsiteX99" fmla="*/ 240338 w 630488"/>
                <a:gd name="connsiteY99" fmla="*/ 443701 h 524026"/>
                <a:gd name="connsiteX100" fmla="*/ 281138 w 630488"/>
                <a:gd name="connsiteY100" fmla="*/ 430951 h 524026"/>
                <a:gd name="connsiteX101" fmla="*/ 279863 w 630488"/>
                <a:gd name="connsiteY101" fmla="*/ 444976 h 524026"/>
                <a:gd name="connsiteX102" fmla="*/ 300901 w 630488"/>
                <a:gd name="connsiteY102" fmla="*/ 439876 h 524026"/>
                <a:gd name="connsiteX103" fmla="*/ 318113 w 630488"/>
                <a:gd name="connsiteY103" fmla="*/ 467288 h 524026"/>
                <a:gd name="connsiteX104" fmla="*/ 332776 w 630488"/>
                <a:gd name="connsiteY104" fmla="*/ 462188 h 524026"/>
                <a:gd name="connsiteX105" fmla="*/ 371026 w 630488"/>
                <a:gd name="connsiteY105" fmla="*/ 488964 h 524026"/>
                <a:gd name="connsiteX106" fmla="*/ 347438 w 630488"/>
                <a:gd name="connsiteY106" fmla="*/ 497251 h 524026"/>
                <a:gd name="connsiteX107" fmla="*/ 402264 w 630488"/>
                <a:gd name="connsiteY107" fmla="*/ 513189 h 524026"/>
                <a:gd name="connsiteX108" fmla="*/ 422663 w 630488"/>
                <a:gd name="connsiteY108" fmla="*/ 513189 h 524026"/>
                <a:gd name="connsiteX109" fmla="*/ 434776 w 630488"/>
                <a:gd name="connsiteY109" fmla="*/ 498526 h 524026"/>
                <a:gd name="connsiteX110" fmla="*/ 461551 w 630488"/>
                <a:gd name="connsiteY110" fmla="*/ 484501 h 524026"/>
                <a:gd name="connsiteX111" fmla="*/ 480038 w 630488"/>
                <a:gd name="connsiteY111" fmla="*/ 511913 h 524026"/>
                <a:gd name="connsiteX112" fmla="*/ 492788 w 630488"/>
                <a:gd name="connsiteY112" fmla="*/ 487688 h 524026"/>
                <a:gd name="connsiteX113" fmla="*/ 488964 w 630488"/>
                <a:gd name="connsiteY113" fmla="*/ 449438 h 524026"/>
                <a:gd name="connsiteX114" fmla="*/ 523389 w 630488"/>
                <a:gd name="connsiteY114" fmla="*/ 462826 h 524026"/>
                <a:gd name="connsiteX115" fmla="*/ 527214 w 630488"/>
                <a:gd name="connsiteY115" fmla="*/ 474301 h 524026"/>
                <a:gd name="connsiteX116" fmla="*/ 568014 w 630488"/>
                <a:gd name="connsiteY116" fmla="*/ 479401 h 524026"/>
                <a:gd name="connsiteX117" fmla="*/ 588414 w 630488"/>
                <a:gd name="connsiteY117" fmla="*/ 495976 h 524026"/>
                <a:gd name="connsiteX118" fmla="*/ 585864 w 630488"/>
                <a:gd name="connsiteY118" fmla="*/ 509363 h 524026"/>
                <a:gd name="connsiteX119" fmla="*/ 615189 w 630488"/>
                <a:gd name="connsiteY119" fmla="*/ 481951 h 524026"/>
                <a:gd name="connsiteX120" fmla="*/ 603714 w 630488"/>
                <a:gd name="connsiteY120" fmla="*/ 467926 h 524026"/>
                <a:gd name="connsiteX121" fmla="*/ 555264 w 630488"/>
                <a:gd name="connsiteY121" fmla="*/ 455813 h 524026"/>
                <a:gd name="connsiteX122" fmla="*/ 537414 w 630488"/>
                <a:gd name="connsiteY122" fmla="*/ 444976 h 524026"/>
                <a:gd name="connsiteX123" fmla="*/ 536776 w 630488"/>
                <a:gd name="connsiteY123" fmla="*/ 425851 h 524026"/>
                <a:gd name="connsiteX124" fmla="*/ 556539 w 630488"/>
                <a:gd name="connsiteY124" fmla="*/ 428401 h 524026"/>
                <a:gd name="connsiteX125" fmla="*/ 571839 w 630488"/>
                <a:gd name="connsiteY125" fmla="*/ 396526 h 524026"/>
                <a:gd name="connsiteX126" fmla="*/ 552076 w 630488"/>
                <a:gd name="connsiteY126" fmla="*/ 368476 h 524026"/>
                <a:gd name="connsiteX127" fmla="*/ 540601 w 630488"/>
                <a:gd name="connsiteY127" fmla="*/ 395251 h 524026"/>
                <a:gd name="connsiteX128" fmla="*/ 515739 w 630488"/>
                <a:gd name="connsiteY128" fmla="*/ 390788 h 524026"/>
                <a:gd name="connsiteX129" fmla="*/ 532951 w 630488"/>
                <a:gd name="connsiteY129" fmla="*/ 362101 h 524026"/>
                <a:gd name="connsiteX130" fmla="*/ 521476 w 630488"/>
                <a:gd name="connsiteY130" fmla="*/ 358913 h 524026"/>
                <a:gd name="connsiteX131" fmla="*/ 492788 w 630488"/>
                <a:gd name="connsiteY131" fmla="*/ 378676 h 524026"/>
                <a:gd name="connsiteX132" fmla="*/ 452626 w 630488"/>
                <a:gd name="connsiteY132" fmla="*/ 381226 h 524026"/>
                <a:gd name="connsiteX133" fmla="*/ 441151 w 630488"/>
                <a:gd name="connsiteY133" fmla="*/ 371663 h 524026"/>
                <a:gd name="connsiteX134" fmla="*/ 459639 w 630488"/>
                <a:gd name="connsiteY134" fmla="*/ 338513 h 524026"/>
                <a:gd name="connsiteX135" fmla="*/ 481313 w 630488"/>
                <a:gd name="connsiteY135" fmla="*/ 337876 h 524026"/>
                <a:gd name="connsiteX136" fmla="*/ 518288 w 630488"/>
                <a:gd name="connsiteY136" fmla="*/ 349988 h 524026"/>
                <a:gd name="connsiteX137" fmla="*/ 545701 w 630488"/>
                <a:gd name="connsiteY137" fmla="*/ 352538 h 524026"/>
                <a:gd name="connsiteX138" fmla="*/ 545701 w 630488"/>
                <a:gd name="connsiteY138" fmla="*/ 352538 h 524026"/>
                <a:gd name="connsiteX139" fmla="*/ 531039 w 630488"/>
                <a:gd name="connsiteY139" fmla="*/ 334050 h 524026"/>
                <a:gd name="connsiteX140" fmla="*/ 502351 w 630488"/>
                <a:gd name="connsiteY140" fmla="*/ 279225 h 524026"/>
                <a:gd name="connsiteX141" fmla="*/ 510001 w 630488"/>
                <a:gd name="connsiteY141" fmla="*/ 247988 h 524026"/>
                <a:gd name="connsiteX142" fmla="*/ 288151 w 630488"/>
                <a:gd name="connsiteY142" fmla="*/ 272213 h 524026"/>
                <a:gd name="connsiteX143" fmla="*/ 296438 w 630488"/>
                <a:gd name="connsiteY143" fmla="*/ 263925 h 524026"/>
                <a:gd name="connsiteX144" fmla="*/ 286876 w 630488"/>
                <a:gd name="connsiteY144" fmla="*/ 240975 h 524026"/>
                <a:gd name="connsiteX145" fmla="*/ 300263 w 630488"/>
                <a:gd name="connsiteY145" fmla="*/ 221213 h 524026"/>
                <a:gd name="connsiteX146" fmla="*/ 307913 w 630488"/>
                <a:gd name="connsiteY146" fmla="*/ 170850 h 524026"/>
                <a:gd name="connsiteX147" fmla="*/ 357001 w 630488"/>
                <a:gd name="connsiteY147" fmla="*/ 87338 h 524026"/>
                <a:gd name="connsiteX148" fmla="*/ 333413 w 630488"/>
                <a:gd name="connsiteY148" fmla="*/ 58012 h 524026"/>
                <a:gd name="connsiteX149" fmla="*/ 334688 w 630488"/>
                <a:gd name="connsiteY149" fmla="*/ 36975 h 524026"/>
                <a:gd name="connsiteX150" fmla="*/ 320026 w 630488"/>
                <a:gd name="connsiteY150" fmla="*/ 2550 h 524026"/>
                <a:gd name="connsiteX151" fmla="*/ 323851 w 630488"/>
                <a:gd name="connsiteY151" fmla="*/ 0 h 524026"/>
                <a:gd name="connsiteX152" fmla="*/ 323851 w 630488"/>
                <a:gd name="connsiteY152" fmla="*/ 0 h 5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30488" h="524026">
                  <a:moveTo>
                    <a:pt x="432864" y="518288"/>
                  </a:moveTo>
                  <a:lnTo>
                    <a:pt x="424576" y="520201"/>
                  </a:lnTo>
                  <a:lnTo>
                    <a:pt x="420751" y="524026"/>
                  </a:lnTo>
                  <a:lnTo>
                    <a:pt x="432864" y="518288"/>
                  </a:lnTo>
                  <a:lnTo>
                    <a:pt x="432864" y="518288"/>
                  </a:lnTo>
                  <a:close/>
                  <a:moveTo>
                    <a:pt x="459639" y="518288"/>
                  </a:moveTo>
                  <a:lnTo>
                    <a:pt x="455176" y="516376"/>
                  </a:lnTo>
                  <a:lnTo>
                    <a:pt x="453901" y="518288"/>
                  </a:lnTo>
                  <a:lnTo>
                    <a:pt x="459639" y="518288"/>
                  </a:lnTo>
                  <a:close/>
                  <a:moveTo>
                    <a:pt x="474938" y="513189"/>
                  </a:moveTo>
                  <a:lnTo>
                    <a:pt x="470476" y="513189"/>
                  </a:lnTo>
                  <a:lnTo>
                    <a:pt x="467926" y="516376"/>
                  </a:lnTo>
                  <a:lnTo>
                    <a:pt x="474938" y="513189"/>
                  </a:lnTo>
                  <a:close/>
                  <a:moveTo>
                    <a:pt x="467288" y="508726"/>
                  </a:moveTo>
                  <a:lnTo>
                    <a:pt x="466014" y="506814"/>
                  </a:lnTo>
                  <a:lnTo>
                    <a:pt x="465376" y="508726"/>
                  </a:lnTo>
                  <a:lnTo>
                    <a:pt x="467288" y="508726"/>
                  </a:lnTo>
                  <a:lnTo>
                    <a:pt x="467288" y="508726"/>
                  </a:lnTo>
                  <a:close/>
                  <a:moveTo>
                    <a:pt x="518926" y="474938"/>
                  </a:moveTo>
                  <a:lnTo>
                    <a:pt x="517014" y="476214"/>
                  </a:lnTo>
                  <a:lnTo>
                    <a:pt x="520201" y="476214"/>
                  </a:lnTo>
                  <a:lnTo>
                    <a:pt x="518926" y="474938"/>
                  </a:lnTo>
                  <a:lnTo>
                    <a:pt x="518926" y="474938"/>
                  </a:lnTo>
                  <a:close/>
                  <a:moveTo>
                    <a:pt x="608814" y="436688"/>
                  </a:moveTo>
                  <a:lnTo>
                    <a:pt x="612639" y="431588"/>
                  </a:lnTo>
                  <a:lnTo>
                    <a:pt x="608814" y="436688"/>
                  </a:lnTo>
                  <a:lnTo>
                    <a:pt x="608814" y="436688"/>
                  </a:lnTo>
                  <a:lnTo>
                    <a:pt x="608814" y="436688"/>
                  </a:lnTo>
                  <a:close/>
                  <a:moveTo>
                    <a:pt x="620926" y="419476"/>
                  </a:moveTo>
                  <a:lnTo>
                    <a:pt x="619651" y="420113"/>
                  </a:lnTo>
                  <a:lnTo>
                    <a:pt x="619651" y="420751"/>
                  </a:lnTo>
                  <a:lnTo>
                    <a:pt x="620926" y="419476"/>
                  </a:lnTo>
                  <a:lnTo>
                    <a:pt x="620926" y="419476"/>
                  </a:lnTo>
                  <a:close/>
                  <a:moveTo>
                    <a:pt x="290701" y="476851"/>
                  </a:moveTo>
                  <a:lnTo>
                    <a:pt x="300901" y="464738"/>
                  </a:lnTo>
                  <a:lnTo>
                    <a:pt x="274126" y="457726"/>
                  </a:lnTo>
                  <a:lnTo>
                    <a:pt x="262651" y="467926"/>
                  </a:lnTo>
                  <a:lnTo>
                    <a:pt x="290701" y="476851"/>
                  </a:lnTo>
                  <a:lnTo>
                    <a:pt x="290701" y="476851"/>
                  </a:lnTo>
                  <a:close/>
                  <a:moveTo>
                    <a:pt x="557814" y="420113"/>
                  </a:moveTo>
                  <a:lnTo>
                    <a:pt x="555264" y="417563"/>
                  </a:lnTo>
                  <a:lnTo>
                    <a:pt x="554626" y="418838"/>
                  </a:lnTo>
                  <a:lnTo>
                    <a:pt x="557814" y="420113"/>
                  </a:lnTo>
                  <a:lnTo>
                    <a:pt x="557814" y="420113"/>
                  </a:lnTo>
                  <a:close/>
                  <a:moveTo>
                    <a:pt x="564826" y="409276"/>
                  </a:moveTo>
                  <a:lnTo>
                    <a:pt x="558451" y="407363"/>
                  </a:lnTo>
                  <a:lnTo>
                    <a:pt x="560364" y="413738"/>
                  </a:lnTo>
                  <a:lnTo>
                    <a:pt x="564826" y="409276"/>
                  </a:lnTo>
                  <a:close/>
                  <a:moveTo>
                    <a:pt x="617739" y="397801"/>
                  </a:moveTo>
                  <a:lnTo>
                    <a:pt x="617739" y="395888"/>
                  </a:lnTo>
                  <a:lnTo>
                    <a:pt x="617739" y="396526"/>
                  </a:lnTo>
                  <a:lnTo>
                    <a:pt x="617739" y="397801"/>
                  </a:lnTo>
                  <a:lnTo>
                    <a:pt x="617739" y="397801"/>
                  </a:lnTo>
                  <a:close/>
                  <a:moveTo>
                    <a:pt x="630489" y="390151"/>
                  </a:moveTo>
                  <a:lnTo>
                    <a:pt x="630489" y="390151"/>
                  </a:lnTo>
                  <a:lnTo>
                    <a:pt x="630489" y="390151"/>
                  </a:lnTo>
                  <a:lnTo>
                    <a:pt x="630489" y="390151"/>
                  </a:lnTo>
                  <a:lnTo>
                    <a:pt x="630489" y="390151"/>
                  </a:lnTo>
                  <a:close/>
                  <a:moveTo>
                    <a:pt x="625389" y="388876"/>
                  </a:moveTo>
                  <a:lnTo>
                    <a:pt x="624114" y="388238"/>
                  </a:lnTo>
                  <a:lnTo>
                    <a:pt x="623476" y="390151"/>
                  </a:lnTo>
                  <a:lnTo>
                    <a:pt x="625389" y="388876"/>
                  </a:lnTo>
                  <a:lnTo>
                    <a:pt x="625389" y="388876"/>
                  </a:lnTo>
                  <a:close/>
                  <a:moveTo>
                    <a:pt x="580126" y="386963"/>
                  </a:moveTo>
                  <a:lnTo>
                    <a:pt x="585864" y="385051"/>
                  </a:lnTo>
                  <a:lnTo>
                    <a:pt x="585864" y="383138"/>
                  </a:lnTo>
                  <a:lnTo>
                    <a:pt x="580126" y="386963"/>
                  </a:lnTo>
                  <a:lnTo>
                    <a:pt x="580126" y="386963"/>
                  </a:lnTo>
                  <a:close/>
                  <a:moveTo>
                    <a:pt x="583314" y="383138"/>
                  </a:moveTo>
                  <a:lnTo>
                    <a:pt x="586501" y="379951"/>
                  </a:lnTo>
                  <a:lnTo>
                    <a:pt x="585864" y="379313"/>
                  </a:lnTo>
                  <a:lnTo>
                    <a:pt x="583314" y="383138"/>
                  </a:lnTo>
                  <a:lnTo>
                    <a:pt x="583314" y="383138"/>
                  </a:lnTo>
                  <a:close/>
                  <a:moveTo>
                    <a:pt x="561001" y="359551"/>
                  </a:moveTo>
                  <a:lnTo>
                    <a:pt x="559726" y="360826"/>
                  </a:lnTo>
                  <a:lnTo>
                    <a:pt x="560364" y="360826"/>
                  </a:lnTo>
                  <a:lnTo>
                    <a:pt x="561001" y="359551"/>
                  </a:lnTo>
                  <a:lnTo>
                    <a:pt x="561001" y="359551"/>
                  </a:lnTo>
                  <a:close/>
                  <a:moveTo>
                    <a:pt x="323851" y="0"/>
                  </a:moveTo>
                  <a:lnTo>
                    <a:pt x="322576" y="0"/>
                  </a:lnTo>
                  <a:lnTo>
                    <a:pt x="80325" y="22313"/>
                  </a:lnTo>
                  <a:lnTo>
                    <a:pt x="19763" y="26775"/>
                  </a:lnTo>
                  <a:lnTo>
                    <a:pt x="0" y="28688"/>
                  </a:lnTo>
                  <a:lnTo>
                    <a:pt x="638" y="43987"/>
                  </a:lnTo>
                  <a:lnTo>
                    <a:pt x="13388" y="167663"/>
                  </a:lnTo>
                  <a:lnTo>
                    <a:pt x="34425" y="197625"/>
                  </a:lnTo>
                  <a:lnTo>
                    <a:pt x="35063" y="214838"/>
                  </a:lnTo>
                  <a:lnTo>
                    <a:pt x="55463" y="250538"/>
                  </a:lnTo>
                  <a:lnTo>
                    <a:pt x="72038" y="303450"/>
                  </a:lnTo>
                  <a:lnTo>
                    <a:pt x="66300" y="333413"/>
                  </a:lnTo>
                  <a:lnTo>
                    <a:pt x="61838" y="406726"/>
                  </a:lnTo>
                  <a:lnTo>
                    <a:pt x="51638" y="430313"/>
                  </a:lnTo>
                  <a:lnTo>
                    <a:pt x="52913" y="430313"/>
                  </a:lnTo>
                  <a:lnTo>
                    <a:pt x="54825" y="446888"/>
                  </a:lnTo>
                  <a:lnTo>
                    <a:pt x="43350" y="462188"/>
                  </a:lnTo>
                  <a:lnTo>
                    <a:pt x="123038" y="452626"/>
                  </a:lnTo>
                  <a:lnTo>
                    <a:pt x="185513" y="469839"/>
                  </a:lnTo>
                  <a:lnTo>
                    <a:pt x="230138" y="475576"/>
                  </a:lnTo>
                  <a:lnTo>
                    <a:pt x="252451" y="459638"/>
                  </a:lnTo>
                  <a:lnTo>
                    <a:pt x="240338" y="443701"/>
                  </a:lnTo>
                  <a:lnTo>
                    <a:pt x="281138" y="430951"/>
                  </a:lnTo>
                  <a:lnTo>
                    <a:pt x="279863" y="444976"/>
                  </a:lnTo>
                  <a:lnTo>
                    <a:pt x="300901" y="439876"/>
                  </a:lnTo>
                  <a:lnTo>
                    <a:pt x="318113" y="467288"/>
                  </a:lnTo>
                  <a:lnTo>
                    <a:pt x="332776" y="462188"/>
                  </a:lnTo>
                  <a:lnTo>
                    <a:pt x="371026" y="488964"/>
                  </a:lnTo>
                  <a:lnTo>
                    <a:pt x="347438" y="497251"/>
                  </a:lnTo>
                  <a:lnTo>
                    <a:pt x="402264" y="513189"/>
                  </a:lnTo>
                  <a:lnTo>
                    <a:pt x="422663" y="513189"/>
                  </a:lnTo>
                  <a:lnTo>
                    <a:pt x="434776" y="498526"/>
                  </a:lnTo>
                  <a:lnTo>
                    <a:pt x="461551" y="484501"/>
                  </a:lnTo>
                  <a:lnTo>
                    <a:pt x="480038" y="511913"/>
                  </a:lnTo>
                  <a:lnTo>
                    <a:pt x="492788" y="487688"/>
                  </a:lnTo>
                  <a:lnTo>
                    <a:pt x="488964" y="449438"/>
                  </a:lnTo>
                  <a:lnTo>
                    <a:pt x="523389" y="462826"/>
                  </a:lnTo>
                  <a:lnTo>
                    <a:pt x="527214" y="474301"/>
                  </a:lnTo>
                  <a:lnTo>
                    <a:pt x="568014" y="479401"/>
                  </a:lnTo>
                  <a:lnTo>
                    <a:pt x="588414" y="495976"/>
                  </a:lnTo>
                  <a:lnTo>
                    <a:pt x="585864" y="509363"/>
                  </a:lnTo>
                  <a:lnTo>
                    <a:pt x="615189" y="481951"/>
                  </a:lnTo>
                  <a:lnTo>
                    <a:pt x="603714" y="467926"/>
                  </a:lnTo>
                  <a:lnTo>
                    <a:pt x="555264" y="455813"/>
                  </a:lnTo>
                  <a:lnTo>
                    <a:pt x="537414" y="444976"/>
                  </a:lnTo>
                  <a:lnTo>
                    <a:pt x="536776" y="425851"/>
                  </a:lnTo>
                  <a:lnTo>
                    <a:pt x="556539" y="428401"/>
                  </a:lnTo>
                  <a:lnTo>
                    <a:pt x="571839" y="396526"/>
                  </a:lnTo>
                  <a:lnTo>
                    <a:pt x="552076" y="368476"/>
                  </a:lnTo>
                  <a:lnTo>
                    <a:pt x="540601" y="395251"/>
                  </a:lnTo>
                  <a:lnTo>
                    <a:pt x="515739" y="390788"/>
                  </a:lnTo>
                  <a:lnTo>
                    <a:pt x="532951" y="362101"/>
                  </a:lnTo>
                  <a:lnTo>
                    <a:pt x="521476" y="358913"/>
                  </a:lnTo>
                  <a:lnTo>
                    <a:pt x="492788" y="378676"/>
                  </a:lnTo>
                  <a:lnTo>
                    <a:pt x="452626" y="381226"/>
                  </a:lnTo>
                  <a:lnTo>
                    <a:pt x="441151" y="371663"/>
                  </a:lnTo>
                  <a:lnTo>
                    <a:pt x="459639" y="338513"/>
                  </a:lnTo>
                  <a:lnTo>
                    <a:pt x="481313" y="337876"/>
                  </a:lnTo>
                  <a:lnTo>
                    <a:pt x="518288" y="349988"/>
                  </a:lnTo>
                  <a:lnTo>
                    <a:pt x="545701" y="352538"/>
                  </a:lnTo>
                  <a:lnTo>
                    <a:pt x="545701" y="352538"/>
                  </a:lnTo>
                  <a:lnTo>
                    <a:pt x="531039" y="334050"/>
                  </a:lnTo>
                  <a:lnTo>
                    <a:pt x="502351" y="279225"/>
                  </a:lnTo>
                  <a:lnTo>
                    <a:pt x="510001" y="247988"/>
                  </a:lnTo>
                  <a:lnTo>
                    <a:pt x="288151" y="272213"/>
                  </a:lnTo>
                  <a:lnTo>
                    <a:pt x="296438" y="263925"/>
                  </a:lnTo>
                  <a:lnTo>
                    <a:pt x="286876" y="240975"/>
                  </a:lnTo>
                  <a:lnTo>
                    <a:pt x="300263" y="221213"/>
                  </a:lnTo>
                  <a:lnTo>
                    <a:pt x="307913" y="170850"/>
                  </a:lnTo>
                  <a:lnTo>
                    <a:pt x="357001" y="87338"/>
                  </a:lnTo>
                  <a:lnTo>
                    <a:pt x="333413" y="58012"/>
                  </a:lnTo>
                  <a:lnTo>
                    <a:pt x="334688" y="36975"/>
                  </a:lnTo>
                  <a:lnTo>
                    <a:pt x="320026" y="2550"/>
                  </a:lnTo>
                  <a:lnTo>
                    <a:pt x="323851" y="0"/>
                  </a:lnTo>
                  <a:lnTo>
                    <a:pt x="323851"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59" name="Freeform 41">
              <a:extLst>
                <a:ext uri="{FF2B5EF4-FFF2-40B4-BE49-F238E27FC236}">
                  <a16:creationId xmlns:a16="http://schemas.microsoft.com/office/drawing/2014/main" id="{6CCBA9C7-022B-A440-F288-8A3A6E783E28}"/>
                </a:ext>
              </a:extLst>
            </p:cNvPr>
            <p:cNvSpPr/>
            <p:nvPr/>
          </p:nvSpPr>
          <p:spPr>
            <a:xfrm>
              <a:off x="3595062" y="3024925"/>
              <a:ext cx="1514065" cy="1418440"/>
            </a:xfrm>
            <a:custGeom>
              <a:avLst/>
              <a:gdLst>
                <a:gd name="connsiteX0" fmla="*/ 1111165 w 1514065"/>
                <a:gd name="connsiteY0" fmla="*/ 1389115 h 1418440"/>
                <a:gd name="connsiteX1" fmla="*/ 1079927 w 1514065"/>
                <a:gd name="connsiteY1" fmla="*/ 1272453 h 1418440"/>
                <a:gd name="connsiteX2" fmla="*/ 1079927 w 1514065"/>
                <a:gd name="connsiteY2" fmla="*/ 1294128 h 1418440"/>
                <a:gd name="connsiteX3" fmla="*/ 1111165 w 1514065"/>
                <a:gd name="connsiteY3" fmla="*/ 1389115 h 1418440"/>
                <a:gd name="connsiteX4" fmla="*/ 1103515 w 1514065"/>
                <a:gd name="connsiteY4" fmla="*/ 1185115 h 1418440"/>
                <a:gd name="connsiteX5" fmla="*/ 1081840 w 1514065"/>
                <a:gd name="connsiteY5" fmla="*/ 1225915 h 1418440"/>
                <a:gd name="connsiteX6" fmla="*/ 1079290 w 1514065"/>
                <a:gd name="connsiteY6" fmla="*/ 1239303 h 1418440"/>
                <a:gd name="connsiteX7" fmla="*/ 1103515 w 1514065"/>
                <a:gd name="connsiteY7" fmla="*/ 1185115 h 1418440"/>
                <a:gd name="connsiteX8" fmla="*/ 1103515 w 1514065"/>
                <a:gd name="connsiteY8" fmla="*/ 1185115 h 1418440"/>
                <a:gd name="connsiteX9" fmla="*/ 1120727 w 1514065"/>
                <a:gd name="connsiteY9" fmla="*/ 1154515 h 1418440"/>
                <a:gd name="connsiteX10" fmla="*/ 1141127 w 1514065"/>
                <a:gd name="connsiteY10" fmla="*/ 1127102 h 1418440"/>
                <a:gd name="connsiteX11" fmla="*/ 1126465 w 1514065"/>
                <a:gd name="connsiteY11" fmla="*/ 1136665 h 1418440"/>
                <a:gd name="connsiteX12" fmla="*/ 1120727 w 1514065"/>
                <a:gd name="connsiteY12" fmla="*/ 1154515 h 1418440"/>
                <a:gd name="connsiteX13" fmla="*/ 1194040 w 1514065"/>
                <a:gd name="connsiteY13" fmla="*/ 1089490 h 1418440"/>
                <a:gd name="connsiteX14" fmla="*/ 1145590 w 1514065"/>
                <a:gd name="connsiteY14" fmla="*/ 1114352 h 1418440"/>
                <a:gd name="connsiteX15" fmla="*/ 1158977 w 1514065"/>
                <a:gd name="connsiteY15" fmla="*/ 1111802 h 1418440"/>
                <a:gd name="connsiteX16" fmla="*/ 1194040 w 1514065"/>
                <a:gd name="connsiteY16" fmla="*/ 1089490 h 1418440"/>
                <a:gd name="connsiteX17" fmla="*/ 1200415 w 1514065"/>
                <a:gd name="connsiteY17" fmla="*/ 1079927 h 1418440"/>
                <a:gd name="connsiteX18" fmla="*/ 1213803 w 1514065"/>
                <a:gd name="connsiteY18" fmla="*/ 1068452 h 1418440"/>
                <a:gd name="connsiteX19" fmla="*/ 1208702 w 1514065"/>
                <a:gd name="connsiteY19" fmla="*/ 1069727 h 1418440"/>
                <a:gd name="connsiteX20" fmla="*/ 1200415 w 1514065"/>
                <a:gd name="connsiteY20" fmla="*/ 1079927 h 1418440"/>
                <a:gd name="connsiteX21" fmla="*/ 438601 w 1514065"/>
                <a:gd name="connsiteY21" fmla="*/ 2550 h 1418440"/>
                <a:gd name="connsiteX22" fmla="*/ 434138 w 1514065"/>
                <a:gd name="connsiteY22" fmla="*/ 1912 h 1418440"/>
                <a:gd name="connsiteX23" fmla="*/ 412463 w 1514065"/>
                <a:gd name="connsiteY23" fmla="*/ 604351 h 1418440"/>
                <a:gd name="connsiteX24" fmla="*/ 285601 w 1514065"/>
                <a:gd name="connsiteY24" fmla="*/ 598614 h 1418440"/>
                <a:gd name="connsiteX25" fmla="*/ 81600 w 1514065"/>
                <a:gd name="connsiteY25" fmla="*/ 587139 h 1418440"/>
                <a:gd name="connsiteX26" fmla="*/ 0 w 1514065"/>
                <a:gd name="connsiteY26" fmla="*/ 581401 h 1418440"/>
                <a:gd name="connsiteX27" fmla="*/ 15938 w 1514065"/>
                <a:gd name="connsiteY27" fmla="*/ 613276 h 1418440"/>
                <a:gd name="connsiteX28" fmla="*/ 16575 w 1514065"/>
                <a:gd name="connsiteY28" fmla="*/ 613914 h 1418440"/>
                <a:gd name="connsiteX29" fmla="*/ 86063 w 1514065"/>
                <a:gd name="connsiteY29" fmla="*/ 683401 h 1418440"/>
                <a:gd name="connsiteX30" fmla="*/ 125588 w 1514065"/>
                <a:gd name="connsiteY30" fmla="*/ 730577 h 1418440"/>
                <a:gd name="connsiteX31" fmla="*/ 178500 w 1514065"/>
                <a:gd name="connsiteY31" fmla="*/ 769464 h 1418440"/>
                <a:gd name="connsiteX32" fmla="*/ 215475 w 1514065"/>
                <a:gd name="connsiteY32" fmla="*/ 837677 h 1418440"/>
                <a:gd name="connsiteX33" fmla="*/ 229500 w 1514065"/>
                <a:gd name="connsiteY33" fmla="*/ 909077 h 1418440"/>
                <a:gd name="connsiteX34" fmla="*/ 260100 w 1514065"/>
                <a:gd name="connsiteY34" fmla="*/ 928839 h 1418440"/>
                <a:gd name="connsiteX35" fmla="*/ 283688 w 1514065"/>
                <a:gd name="connsiteY35" fmla="*/ 955615 h 1418440"/>
                <a:gd name="connsiteX36" fmla="*/ 317476 w 1514065"/>
                <a:gd name="connsiteY36" fmla="*/ 967727 h 1418440"/>
                <a:gd name="connsiteX37" fmla="*/ 367201 w 1514065"/>
                <a:gd name="connsiteY37" fmla="*/ 999602 h 1418440"/>
                <a:gd name="connsiteX38" fmla="*/ 389513 w 1514065"/>
                <a:gd name="connsiteY38" fmla="*/ 1007890 h 1418440"/>
                <a:gd name="connsiteX39" fmla="*/ 420751 w 1514065"/>
                <a:gd name="connsiteY39" fmla="*/ 976652 h 1418440"/>
                <a:gd name="connsiteX40" fmla="*/ 430951 w 1514065"/>
                <a:gd name="connsiteY40" fmla="*/ 943502 h 1418440"/>
                <a:gd name="connsiteX41" fmla="*/ 446888 w 1514065"/>
                <a:gd name="connsiteY41" fmla="*/ 911627 h 1418440"/>
                <a:gd name="connsiteX42" fmla="*/ 497251 w 1514065"/>
                <a:gd name="connsiteY42" fmla="*/ 891864 h 1418440"/>
                <a:gd name="connsiteX43" fmla="*/ 516376 w 1514065"/>
                <a:gd name="connsiteY43" fmla="*/ 902064 h 1418440"/>
                <a:gd name="connsiteX44" fmla="*/ 571839 w 1514065"/>
                <a:gd name="connsiteY44" fmla="*/ 906527 h 1418440"/>
                <a:gd name="connsiteX45" fmla="*/ 622839 w 1514065"/>
                <a:gd name="connsiteY45" fmla="*/ 938402 h 1418440"/>
                <a:gd name="connsiteX46" fmla="*/ 657264 w 1514065"/>
                <a:gd name="connsiteY46" fmla="*/ 944777 h 1418440"/>
                <a:gd name="connsiteX47" fmla="*/ 647064 w 1514065"/>
                <a:gd name="connsiteY47" fmla="*/ 962627 h 1418440"/>
                <a:gd name="connsiteX48" fmla="*/ 666826 w 1514065"/>
                <a:gd name="connsiteY48" fmla="*/ 975377 h 1418440"/>
                <a:gd name="connsiteX49" fmla="*/ 685314 w 1514065"/>
                <a:gd name="connsiteY49" fmla="*/ 997690 h 1418440"/>
                <a:gd name="connsiteX50" fmla="*/ 689139 w 1514065"/>
                <a:gd name="connsiteY50" fmla="*/ 1021277 h 1418440"/>
                <a:gd name="connsiteX51" fmla="*/ 701251 w 1514065"/>
                <a:gd name="connsiteY51" fmla="*/ 1037215 h 1418440"/>
                <a:gd name="connsiteX52" fmla="*/ 729939 w 1514065"/>
                <a:gd name="connsiteY52" fmla="*/ 1105427 h 1418440"/>
                <a:gd name="connsiteX53" fmla="*/ 758627 w 1514065"/>
                <a:gd name="connsiteY53" fmla="*/ 1129015 h 1418440"/>
                <a:gd name="connsiteX54" fmla="*/ 780302 w 1514065"/>
                <a:gd name="connsiteY54" fmla="*/ 1164715 h 1418440"/>
                <a:gd name="connsiteX55" fmla="*/ 808352 w 1514065"/>
                <a:gd name="connsiteY55" fmla="*/ 1193403 h 1418440"/>
                <a:gd name="connsiteX56" fmla="*/ 820464 w 1514065"/>
                <a:gd name="connsiteY56" fmla="*/ 1197227 h 1418440"/>
                <a:gd name="connsiteX57" fmla="*/ 831302 w 1514065"/>
                <a:gd name="connsiteY57" fmla="*/ 1270540 h 1418440"/>
                <a:gd name="connsiteX58" fmla="*/ 861902 w 1514065"/>
                <a:gd name="connsiteY58" fmla="*/ 1287115 h 1418440"/>
                <a:gd name="connsiteX59" fmla="*/ 863177 w 1514065"/>
                <a:gd name="connsiteY59" fmla="*/ 1310065 h 1418440"/>
                <a:gd name="connsiteX60" fmla="*/ 870827 w 1514065"/>
                <a:gd name="connsiteY60" fmla="*/ 1308153 h 1418440"/>
                <a:gd name="connsiteX61" fmla="*/ 923740 w 1514065"/>
                <a:gd name="connsiteY61" fmla="*/ 1372540 h 1418440"/>
                <a:gd name="connsiteX62" fmla="*/ 950514 w 1514065"/>
                <a:gd name="connsiteY62" fmla="*/ 1378278 h 1418440"/>
                <a:gd name="connsiteX63" fmla="*/ 983664 w 1514065"/>
                <a:gd name="connsiteY63" fmla="*/ 1398040 h 1418440"/>
                <a:gd name="connsiteX64" fmla="*/ 1035302 w 1514065"/>
                <a:gd name="connsiteY64" fmla="*/ 1398040 h 1418440"/>
                <a:gd name="connsiteX65" fmla="*/ 1072277 w 1514065"/>
                <a:gd name="connsiteY65" fmla="*/ 1418440 h 1418440"/>
                <a:gd name="connsiteX66" fmla="*/ 1116902 w 1514065"/>
                <a:gd name="connsiteY66" fmla="*/ 1408241 h 1418440"/>
                <a:gd name="connsiteX67" fmla="*/ 1097140 w 1514065"/>
                <a:gd name="connsiteY67" fmla="*/ 1389753 h 1418440"/>
                <a:gd name="connsiteX68" fmla="*/ 1079290 w 1514065"/>
                <a:gd name="connsiteY68" fmla="*/ 1335565 h 1418440"/>
                <a:gd name="connsiteX69" fmla="*/ 1072277 w 1514065"/>
                <a:gd name="connsiteY69" fmla="*/ 1288390 h 1418440"/>
                <a:gd name="connsiteX70" fmla="*/ 1061440 w 1514065"/>
                <a:gd name="connsiteY70" fmla="*/ 1273090 h 1418440"/>
                <a:gd name="connsiteX71" fmla="*/ 1065902 w 1514065"/>
                <a:gd name="connsiteY71" fmla="*/ 1241215 h 1418440"/>
                <a:gd name="connsiteX72" fmla="*/ 1052515 w 1514065"/>
                <a:gd name="connsiteY72" fmla="*/ 1239940 h 1418440"/>
                <a:gd name="connsiteX73" fmla="*/ 1034665 w 1514065"/>
                <a:gd name="connsiteY73" fmla="*/ 1209977 h 1418440"/>
                <a:gd name="connsiteX74" fmla="*/ 1055065 w 1514065"/>
                <a:gd name="connsiteY74" fmla="*/ 1231653 h 1418440"/>
                <a:gd name="connsiteX75" fmla="*/ 1078652 w 1514065"/>
                <a:gd name="connsiteY75" fmla="*/ 1223365 h 1418440"/>
                <a:gd name="connsiteX76" fmla="*/ 1091402 w 1514065"/>
                <a:gd name="connsiteY76" fmla="*/ 1189578 h 1418440"/>
                <a:gd name="connsiteX77" fmla="*/ 1065902 w 1514065"/>
                <a:gd name="connsiteY77" fmla="*/ 1155152 h 1418440"/>
                <a:gd name="connsiteX78" fmla="*/ 1104152 w 1514065"/>
                <a:gd name="connsiteY78" fmla="*/ 1159615 h 1418440"/>
                <a:gd name="connsiteX79" fmla="*/ 1122002 w 1514065"/>
                <a:gd name="connsiteY79" fmla="*/ 1131565 h 1418440"/>
                <a:gd name="connsiteX80" fmla="*/ 1119452 w 1514065"/>
                <a:gd name="connsiteY80" fmla="*/ 1121365 h 1418440"/>
                <a:gd name="connsiteX81" fmla="*/ 1135390 w 1514065"/>
                <a:gd name="connsiteY81" fmla="*/ 1100327 h 1418440"/>
                <a:gd name="connsiteX82" fmla="*/ 1131565 w 1514065"/>
                <a:gd name="connsiteY82" fmla="*/ 1118815 h 1418440"/>
                <a:gd name="connsiteX83" fmla="*/ 1149415 w 1514065"/>
                <a:gd name="connsiteY83" fmla="*/ 1104790 h 1418440"/>
                <a:gd name="connsiteX84" fmla="*/ 1142402 w 1514065"/>
                <a:gd name="connsiteY84" fmla="*/ 1079927 h 1418440"/>
                <a:gd name="connsiteX85" fmla="*/ 1165352 w 1514065"/>
                <a:gd name="connsiteY85" fmla="*/ 1092040 h 1418440"/>
                <a:gd name="connsiteX86" fmla="*/ 1195315 w 1514065"/>
                <a:gd name="connsiteY86" fmla="*/ 1075465 h 1418440"/>
                <a:gd name="connsiteX87" fmla="*/ 1165990 w 1514065"/>
                <a:gd name="connsiteY87" fmla="*/ 1044865 h 1418440"/>
                <a:gd name="connsiteX88" fmla="*/ 1183840 w 1514065"/>
                <a:gd name="connsiteY88" fmla="*/ 1051877 h 1418440"/>
                <a:gd name="connsiteX89" fmla="*/ 1216990 w 1514065"/>
                <a:gd name="connsiteY89" fmla="*/ 1053790 h 1418440"/>
                <a:gd name="connsiteX90" fmla="*/ 1260978 w 1514065"/>
                <a:gd name="connsiteY90" fmla="*/ 1043590 h 1418440"/>
                <a:gd name="connsiteX91" fmla="*/ 1310065 w 1514065"/>
                <a:gd name="connsiteY91" fmla="*/ 1010440 h 1418440"/>
                <a:gd name="connsiteX92" fmla="*/ 1340028 w 1514065"/>
                <a:gd name="connsiteY92" fmla="*/ 986215 h 1418440"/>
                <a:gd name="connsiteX93" fmla="*/ 1344490 w 1514065"/>
                <a:gd name="connsiteY93" fmla="*/ 968365 h 1418440"/>
                <a:gd name="connsiteX94" fmla="*/ 1362340 w 1514065"/>
                <a:gd name="connsiteY94" fmla="*/ 949877 h 1418440"/>
                <a:gd name="connsiteX95" fmla="*/ 1352140 w 1514065"/>
                <a:gd name="connsiteY95" fmla="*/ 918640 h 1418440"/>
                <a:gd name="connsiteX96" fmla="*/ 1354053 w 1514065"/>
                <a:gd name="connsiteY96" fmla="*/ 899515 h 1418440"/>
                <a:gd name="connsiteX97" fmla="*/ 1386565 w 1514065"/>
                <a:gd name="connsiteY97" fmla="*/ 885489 h 1418440"/>
                <a:gd name="connsiteX98" fmla="*/ 1384015 w 1514065"/>
                <a:gd name="connsiteY98" fmla="*/ 919277 h 1418440"/>
                <a:gd name="connsiteX99" fmla="*/ 1403140 w 1514065"/>
                <a:gd name="connsiteY99" fmla="*/ 919277 h 1418440"/>
                <a:gd name="connsiteX100" fmla="*/ 1382103 w 1514065"/>
                <a:gd name="connsiteY100" fmla="*/ 937127 h 1418440"/>
                <a:gd name="connsiteX101" fmla="*/ 1467528 w 1514065"/>
                <a:gd name="connsiteY101" fmla="*/ 891864 h 1418440"/>
                <a:gd name="connsiteX102" fmla="*/ 1481553 w 1514065"/>
                <a:gd name="connsiteY102" fmla="*/ 891227 h 1418440"/>
                <a:gd name="connsiteX103" fmla="*/ 1491116 w 1514065"/>
                <a:gd name="connsiteY103" fmla="*/ 850427 h 1418440"/>
                <a:gd name="connsiteX104" fmla="*/ 1493665 w 1514065"/>
                <a:gd name="connsiteY104" fmla="*/ 850427 h 1418440"/>
                <a:gd name="connsiteX105" fmla="*/ 1503866 w 1514065"/>
                <a:gd name="connsiteY105" fmla="*/ 826839 h 1418440"/>
                <a:gd name="connsiteX106" fmla="*/ 1508328 w 1514065"/>
                <a:gd name="connsiteY106" fmla="*/ 753527 h 1418440"/>
                <a:gd name="connsiteX107" fmla="*/ 1514066 w 1514065"/>
                <a:gd name="connsiteY107" fmla="*/ 723564 h 1418440"/>
                <a:gd name="connsiteX108" fmla="*/ 1497491 w 1514065"/>
                <a:gd name="connsiteY108" fmla="*/ 670651 h 1418440"/>
                <a:gd name="connsiteX109" fmla="*/ 1477091 w 1514065"/>
                <a:gd name="connsiteY109" fmla="*/ 634952 h 1418440"/>
                <a:gd name="connsiteX110" fmla="*/ 1476453 w 1514065"/>
                <a:gd name="connsiteY110" fmla="*/ 617739 h 1418440"/>
                <a:gd name="connsiteX111" fmla="*/ 1455415 w 1514065"/>
                <a:gd name="connsiteY111" fmla="*/ 587776 h 1418440"/>
                <a:gd name="connsiteX112" fmla="*/ 1442665 w 1514065"/>
                <a:gd name="connsiteY112" fmla="*/ 464101 h 1418440"/>
                <a:gd name="connsiteX113" fmla="*/ 1442028 w 1514065"/>
                <a:gd name="connsiteY113" fmla="*/ 448801 h 1418440"/>
                <a:gd name="connsiteX114" fmla="*/ 1440753 w 1514065"/>
                <a:gd name="connsiteY114" fmla="*/ 432864 h 1418440"/>
                <a:gd name="connsiteX115" fmla="*/ 1436928 w 1514065"/>
                <a:gd name="connsiteY115" fmla="*/ 376764 h 1418440"/>
                <a:gd name="connsiteX116" fmla="*/ 1398678 w 1514065"/>
                <a:gd name="connsiteY116" fmla="*/ 378038 h 1418440"/>
                <a:gd name="connsiteX117" fmla="*/ 1388478 w 1514065"/>
                <a:gd name="connsiteY117" fmla="*/ 367201 h 1418440"/>
                <a:gd name="connsiteX118" fmla="*/ 1386565 w 1514065"/>
                <a:gd name="connsiteY118" fmla="*/ 366563 h 1418440"/>
                <a:gd name="connsiteX119" fmla="*/ 1385928 w 1514065"/>
                <a:gd name="connsiteY119" fmla="*/ 366563 h 1418440"/>
                <a:gd name="connsiteX120" fmla="*/ 1361065 w 1514065"/>
                <a:gd name="connsiteY120" fmla="*/ 362101 h 1418440"/>
                <a:gd name="connsiteX121" fmla="*/ 1331740 w 1514065"/>
                <a:gd name="connsiteY121" fmla="*/ 343613 h 1418440"/>
                <a:gd name="connsiteX122" fmla="*/ 1299228 w 1514065"/>
                <a:gd name="connsiteY122" fmla="*/ 330226 h 1418440"/>
                <a:gd name="connsiteX123" fmla="*/ 1239303 w 1514065"/>
                <a:gd name="connsiteY123" fmla="*/ 348713 h 1418440"/>
                <a:gd name="connsiteX124" fmla="*/ 1223365 w 1514065"/>
                <a:gd name="connsiteY124" fmla="*/ 344888 h 1418440"/>
                <a:gd name="connsiteX125" fmla="*/ 1203602 w 1514065"/>
                <a:gd name="connsiteY125" fmla="*/ 352538 h 1418440"/>
                <a:gd name="connsiteX126" fmla="*/ 1179377 w 1514065"/>
                <a:gd name="connsiteY126" fmla="*/ 372301 h 1418440"/>
                <a:gd name="connsiteX127" fmla="*/ 1113715 w 1514065"/>
                <a:gd name="connsiteY127" fmla="*/ 341063 h 1418440"/>
                <a:gd name="connsiteX128" fmla="*/ 1093315 w 1514065"/>
                <a:gd name="connsiteY128" fmla="*/ 369751 h 1418440"/>
                <a:gd name="connsiteX129" fmla="*/ 1062715 w 1514065"/>
                <a:gd name="connsiteY129" fmla="*/ 358276 h 1418440"/>
                <a:gd name="connsiteX130" fmla="*/ 1030202 w 1514065"/>
                <a:gd name="connsiteY130" fmla="*/ 337876 h 1418440"/>
                <a:gd name="connsiteX131" fmla="*/ 1012990 w 1514065"/>
                <a:gd name="connsiteY131" fmla="*/ 352538 h 1418440"/>
                <a:gd name="connsiteX132" fmla="*/ 996414 w 1514065"/>
                <a:gd name="connsiteY132" fmla="*/ 353176 h 1418440"/>
                <a:gd name="connsiteX133" fmla="*/ 996414 w 1514065"/>
                <a:gd name="connsiteY133" fmla="*/ 341063 h 1418440"/>
                <a:gd name="connsiteX134" fmla="*/ 951152 w 1514065"/>
                <a:gd name="connsiteY134" fmla="*/ 320026 h 1418440"/>
                <a:gd name="connsiteX135" fmla="*/ 933302 w 1514065"/>
                <a:gd name="connsiteY135" fmla="*/ 328313 h 1418440"/>
                <a:gd name="connsiteX136" fmla="*/ 923740 w 1514065"/>
                <a:gd name="connsiteY136" fmla="*/ 317476 h 1418440"/>
                <a:gd name="connsiteX137" fmla="*/ 874014 w 1514065"/>
                <a:gd name="connsiteY137" fmla="*/ 312376 h 1418440"/>
                <a:gd name="connsiteX138" fmla="*/ 836402 w 1514065"/>
                <a:gd name="connsiteY138" fmla="*/ 277951 h 1418440"/>
                <a:gd name="connsiteX139" fmla="*/ 830664 w 1514065"/>
                <a:gd name="connsiteY139" fmla="*/ 289426 h 1418440"/>
                <a:gd name="connsiteX140" fmla="*/ 802614 w 1514065"/>
                <a:gd name="connsiteY140" fmla="*/ 288151 h 1418440"/>
                <a:gd name="connsiteX141" fmla="*/ 777114 w 1514065"/>
                <a:gd name="connsiteY141" fmla="*/ 263926 h 1418440"/>
                <a:gd name="connsiteX142" fmla="*/ 765639 w 1514065"/>
                <a:gd name="connsiteY142" fmla="*/ 225676 h 1418440"/>
                <a:gd name="connsiteX143" fmla="*/ 763726 w 1514065"/>
                <a:gd name="connsiteY143" fmla="*/ 5738 h 1418440"/>
                <a:gd name="connsiteX144" fmla="*/ 599889 w 1514065"/>
                <a:gd name="connsiteY144" fmla="*/ 3825 h 1418440"/>
                <a:gd name="connsiteX145" fmla="*/ 444338 w 1514065"/>
                <a:gd name="connsiteY145" fmla="*/ 0 h 1418440"/>
                <a:gd name="connsiteX146" fmla="*/ 438601 w 1514065"/>
                <a:gd name="connsiteY146" fmla="*/ 2550 h 1418440"/>
                <a:gd name="connsiteX147" fmla="*/ 438601 w 1514065"/>
                <a:gd name="connsiteY147" fmla="*/ 2550 h 14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14065" h="1418440">
                  <a:moveTo>
                    <a:pt x="1111165" y="1389115"/>
                  </a:moveTo>
                  <a:lnTo>
                    <a:pt x="1079927" y="1272453"/>
                  </a:lnTo>
                  <a:lnTo>
                    <a:pt x="1079927" y="1294128"/>
                  </a:lnTo>
                  <a:lnTo>
                    <a:pt x="1111165" y="1389115"/>
                  </a:lnTo>
                  <a:close/>
                  <a:moveTo>
                    <a:pt x="1103515" y="1185115"/>
                  </a:moveTo>
                  <a:lnTo>
                    <a:pt x="1081840" y="1225915"/>
                  </a:lnTo>
                  <a:lnTo>
                    <a:pt x="1079290" y="1239303"/>
                  </a:lnTo>
                  <a:lnTo>
                    <a:pt x="1103515" y="1185115"/>
                  </a:lnTo>
                  <a:lnTo>
                    <a:pt x="1103515" y="1185115"/>
                  </a:lnTo>
                  <a:close/>
                  <a:moveTo>
                    <a:pt x="1120727" y="1154515"/>
                  </a:moveTo>
                  <a:lnTo>
                    <a:pt x="1141127" y="1127102"/>
                  </a:lnTo>
                  <a:lnTo>
                    <a:pt x="1126465" y="1136665"/>
                  </a:lnTo>
                  <a:lnTo>
                    <a:pt x="1120727" y="1154515"/>
                  </a:lnTo>
                  <a:close/>
                  <a:moveTo>
                    <a:pt x="1194040" y="1089490"/>
                  </a:moveTo>
                  <a:lnTo>
                    <a:pt x="1145590" y="1114352"/>
                  </a:lnTo>
                  <a:lnTo>
                    <a:pt x="1158977" y="1111802"/>
                  </a:lnTo>
                  <a:lnTo>
                    <a:pt x="1194040" y="1089490"/>
                  </a:lnTo>
                  <a:close/>
                  <a:moveTo>
                    <a:pt x="1200415" y="1079927"/>
                  </a:moveTo>
                  <a:lnTo>
                    <a:pt x="1213803" y="1068452"/>
                  </a:lnTo>
                  <a:lnTo>
                    <a:pt x="1208702" y="1069727"/>
                  </a:lnTo>
                  <a:lnTo>
                    <a:pt x="1200415" y="1079927"/>
                  </a:lnTo>
                  <a:close/>
                  <a:moveTo>
                    <a:pt x="438601" y="2550"/>
                  </a:moveTo>
                  <a:lnTo>
                    <a:pt x="434138" y="1912"/>
                  </a:lnTo>
                  <a:lnTo>
                    <a:pt x="412463" y="604351"/>
                  </a:lnTo>
                  <a:lnTo>
                    <a:pt x="285601" y="598614"/>
                  </a:lnTo>
                  <a:lnTo>
                    <a:pt x="81600" y="587139"/>
                  </a:lnTo>
                  <a:lnTo>
                    <a:pt x="0" y="581401"/>
                  </a:lnTo>
                  <a:lnTo>
                    <a:pt x="15938" y="613276"/>
                  </a:lnTo>
                  <a:lnTo>
                    <a:pt x="16575" y="613914"/>
                  </a:lnTo>
                  <a:lnTo>
                    <a:pt x="86063" y="683401"/>
                  </a:lnTo>
                  <a:lnTo>
                    <a:pt x="125588" y="730577"/>
                  </a:lnTo>
                  <a:lnTo>
                    <a:pt x="178500" y="769464"/>
                  </a:lnTo>
                  <a:lnTo>
                    <a:pt x="215475" y="837677"/>
                  </a:lnTo>
                  <a:lnTo>
                    <a:pt x="229500" y="909077"/>
                  </a:lnTo>
                  <a:lnTo>
                    <a:pt x="260100" y="928839"/>
                  </a:lnTo>
                  <a:lnTo>
                    <a:pt x="283688" y="955615"/>
                  </a:lnTo>
                  <a:lnTo>
                    <a:pt x="317476" y="967727"/>
                  </a:lnTo>
                  <a:lnTo>
                    <a:pt x="367201" y="999602"/>
                  </a:lnTo>
                  <a:lnTo>
                    <a:pt x="389513" y="1007890"/>
                  </a:lnTo>
                  <a:lnTo>
                    <a:pt x="420751" y="976652"/>
                  </a:lnTo>
                  <a:lnTo>
                    <a:pt x="430951" y="943502"/>
                  </a:lnTo>
                  <a:lnTo>
                    <a:pt x="446888" y="911627"/>
                  </a:lnTo>
                  <a:lnTo>
                    <a:pt x="497251" y="891864"/>
                  </a:lnTo>
                  <a:lnTo>
                    <a:pt x="516376" y="902064"/>
                  </a:lnTo>
                  <a:lnTo>
                    <a:pt x="571839" y="906527"/>
                  </a:lnTo>
                  <a:lnTo>
                    <a:pt x="622839" y="938402"/>
                  </a:lnTo>
                  <a:lnTo>
                    <a:pt x="657264" y="944777"/>
                  </a:lnTo>
                  <a:lnTo>
                    <a:pt x="647064" y="962627"/>
                  </a:lnTo>
                  <a:lnTo>
                    <a:pt x="666826" y="975377"/>
                  </a:lnTo>
                  <a:lnTo>
                    <a:pt x="685314" y="997690"/>
                  </a:lnTo>
                  <a:lnTo>
                    <a:pt x="689139" y="1021277"/>
                  </a:lnTo>
                  <a:lnTo>
                    <a:pt x="701251" y="1037215"/>
                  </a:lnTo>
                  <a:lnTo>
                    <a:pt x="729939" y="1105427"/>
                  </a:lnTo>
                  <a:lnTo>
                    <a:pt x="758627" y="1129015"/>
                  </a:lnTo>
                  <a:lnTo>
                    <a:pt x="780302" y="1164715"/>
                  </a:lnTo>
                  <a:lnTo>
                    <a:pt x="808352" y="1193403"/>
                  </a:lnTo>
                  <a:lnTo>
                    <a:pt x="820464" y="1197227"/>
                  </a:lnTo>
                  <a:lnTo>
                    <a:pt x="831302" y="1270540"/>
                  </a:lnTo>
                  <a:lnTo>
                    <a:pt x="861902" y="1287115"/>
                  </a:lnTo>
                  <a:lnTo>
                    <a:pt x="863177" y="1310065"/>
                  </a:lnTo>
                  <a:lnTo>
                    <a:pt x="870827" y="1308153"/>
                  </a:lnTo>
                  <a:lnTo>
                    <a:pt x="923740" y="1372540"/>
                  </a:lnTo>
                  <a:lnTo>
                    <a:pt x="950514" y="1378278"/>
                  </a:lnTo>
                  <a:lnTo>
                    <a:pt x="983664" y="1398040"/>
                  </a:lnTo>
                  <a:lnTo>
                    <a:pt x="1035302" y="1398040"/>
                  </a:lnTo>
                  <a:lnTo>
                    <a:pt x="1072277" y="1418440"/>
                  </a:lnTo>
                  <a:lnTo>
                    <a:pt x="1116902" y="1408241"/>
                  </a:lnTo>
                  <a:lnTo>
                    <a:pt x="1097140" y="1389753"/>
                  </a:lnTo>
                  <a:lnTo>
                    <a:pt x="1079290" y="1335565"/>
                  </a:lnTo>
                  <a:lnTo>
                    <a:pt x="1072277" y="1288390"/>
                  </a:lnTo>
                  <a:lnTo>
                    <a:pt x="1061440" y="1273090"/>
                  </a:lnTo>
                  <a:lnTo>
                    <a:pt x="1065902" y="1241215"/>
                  </a:lnTo>
                  <a:lnTo>
                    <a:pt x="1052515" y="1239940"/>
                  </a:lnTo>
                  <a:lnTo>
                    <a:pt x="1034665" y="1209977"/>
                  </a:lnTo>
                  <a:lnTo>
                    <a:pt x="1055065" y="1231653"/>
                  </a:lnTo>
                  <a:lnTo>
                    <a:pt x="1078652" y="1223365"/>
                  </a:lnTo>
                  <a:lnTo>
                    <a:pt x="1091402" y="1189578"/>
                  </a:lnTo>
                  <a:lnTo>
                    <a:pt x="1065902" y="1155152"/>
                  </a:lnTo>
                  <a:lnTo>
                    <a:pt x="1104152" y="1159615"/>
                  </a:lnTo>
                  <a:lnTo>
                    <a:pt x="1122002" y="1131565"/>
                  </a:lnTo>
                  <a:lnTo>
                    <a:pt x="1119452" y="1121365"/>
                  </a:lnTo>
                  <a:lnTo>
                    <a:pt x="1135390" y="1100327"/>
                  </a:lnTo>
                  <a:lnTo>
                    <a:pt x="1131565" y="1118815"/>
                  </a:lnTo>
                  <a:lnTo>
                    <a:pt x="1149415" y="1104790"/>
                  </a:lnTo>
                  <a:lnTo>
                    <a:pt x="1142402" y="1079927"/>
                  </a:lnTo>
                  <a:lnTo>
                    <a:pt x="1165352" y="1092040"/>
                  </a:lnTo>
                  <a:lnTo>
                    <a:pt x="1195315" y="1075465"/>
                  </a:lnTo>
                  <a:lnTo>
                    <a:pt x="1165990" y="1044865"/>
                  </a:lnTo>
                  <a:lnTo>
                    <a:pt x="1183840" y="1051877"/>
                  </a:lnTo>
                  <a:lnTo>
                    <a:pt x="1216990" y="1053790"/>
                  </a:lnTo>
                  <a:lnTo>
                    <a:pt x="1260978" y="1043590"/>
                  </a:lnTo>
                  <a:lnTo>
                    <a:pt x="1310065" y="1010440"/>
                  </a:lnTo>
                  <a:lnTo>
                    <a:pt x="1340028" y="986215"/>
                  </a:lnTo>
                  <a:lnTo>
                    <a:pt x="1344490" y="968365"/>
                  </a:lnTo>
                  <a:lnTo>
                    <a:pt x="1362340" y="949877"/>
                  </a:lnTo>
                  <a:lnTo>
                    <a:pt x="1352140" y="918640"/>
                  </a:lnTo>
                  <a:lnTo>
                    <a:pt x="1354053" y="899515"/>
                  </a:lnTo>
                  <a:lnTo>
                    <a:pt x="1386565" y="885489"/>
                  </a:lnTo>
                  <a:lnTo>
                    <a:pt x="1384015" y="919277"/>
                  </a:lnTo>
                  <a:lnTo>
                    <a:pt x="1403140" y="919277"/>
                  </a:lnTo>
                  <a:lnTo>
                    <a:pt x="1382103" y="937127"/>
                  </a:lnTo>
                  <a:lnTo>
                    <a:pt x="1467528" y="891864"/>
                  </a:lnTo>
                  <a:lnTo>
                    <a:pt x="1481553" y="891227"/>
                  </a:lnTo>
                  <a:lnTo>
                    <a:pt x="1491116" y="850427"/>
                  </a:lnTo>
                  <a:lnTo>
                    <a:pt x="1493665" y="850427"/>
                  </a:lnTo>
                  <a:lnTo>
                    <a:pt x="1503866" y="826839"/>
                  </a:lnTo>
                  <a:lnTo>
                    <a:pt x="1508328" y="753527"/>
                  </a:lnTo>
                  <a:lnTo>
                    <a:pt x="1514066" y="723564"/>
                  </a:lnTo>
                  <a:lnTo>
                    <a:pt x="1497491" y="670651"/>
                  </a:lnTo>
                  <a:lnTo>
                    <a:pt x="1477091" y="634952"/>
                  </a:lnTo>
                  <a:lnTo>
                    <a:pt x="1476453" y="617739"/>
                  </a:lnTo>
                  <a:lnTo>
                    <a:pt x="1455415" y="587776"/>
                  </a:lnTo>
                  <a:lnTo>
                    <a:pt x="1442665" y="464101"/>
                  </a:lnTo>
                  <a:lnTo>
                    <a:pt x="1442028" y="448801"/>
                  </a:lnTo>
                  <a:lnTo>
                    <a:pt x="1440753" y="432864"/>
                  </a:lnTo>
                  <a:lnTo>
                    <a:pt x="1436928" y="376764"/>
                  </a:lnTo>
                  <a:lnTo>
                    <a:pt x="1398678" y="378038"/>
                  </a:lnTo>
                  <a:lnTo>
                    <a:pt x="1388478" y="367201"/>
                  </a:lnTo>
                  <a:lnTo>
                    <a:pt x="1386565" y="366563"/>
                  </a:lnTo>
                  <a:lnTo>
                    <a:pt x="1385928" y="366563"/>
                  </a:lnTo>
                  <a:lnTo>
                    <a:pt x="1361065" y="362101"/>
                  </a:lnTo>
                  <a:lnTo>
                    <a:pt x="1331740" y="343613"/>
                  </a:lnTo>
                  <a:lnTo>
                    <a:pt x="1299228" y="330226"/>
                  </a:lnTo>
                  <a:lnTo>
                    <a:pt x="1239303" y="348713"/>
                  </a:lnTo>
                  <a:lnTo>
                    <a:pt x="1223365" y="344888"/>
                  </a:lnTo>
                  <a:lnTo>
                    <a:pt x="1203602" y="352538"/>
                  </a:lnTo>
                  <a:lnTo>
                    <a:pt x="1179377" y="372301"/>
                  </a:lnTo>
                  <a:lnTo>
                    <a:pt x="1113715" y="341063"/>
                  </a:lnTo>
                  <a:lnTo>
                    <a:pt x="1093315" y="369751"/>
                  </a:lnTo>
                  <a:lnTo>
                    <a:pt x="1062715" y="358276"/>
                  </a:lnTo>
                  <a:lnTo>
                    <a:pt x="1030202" y="337876"/>
                  </a:lnTo>
                  <a:lnTo>
                    <a:pt x="1012990" y="352538"/>
                  </a:lnTo>
                  <a:lnTo>
                    <a:pt x="996414" y="353176"/>
                  </a:lnTo>
                  <a:lnTo>
                    <a:pt x="996414" y="341063"/>
                  </a:lnTo>
                  <a:lnTo>
                    <a:pt x="951152" y="320026"/>
                  </a:lnTo>
                  <a:lnTo>
                    <a:pt x="933302" y="328313"/>
                  </a:lnTo>
                  <a:lnTo>
                    <a:pt x="923740" y="317476"/>
                  </a:lnTo>
                  <a:lnTo>
                    <a:pt x="874014" y="312376"/>
                  </a:lnTo>
                  <a:lnTo>
                    <a:pt x="836402" y="277951"/>
                  </a:lnTo>
                  <a:lnTo>
                    <a:pt x="830664" y="289426"/>
                  </a:lnTo>
                  <a:lnTo>
                    <a:pt x="802614" y="288151"/>
                  </a:lnTo>
                  <a:lnTo>
                    <a:pt x="777114" y="263926"/>
                  </a:lnTo>
                  <a:lnTo>
                    <a:pt x="765639" y="225676"/>
                  </a:lnTo>
                  <a:lnTo>
                    <a:pt x="763726" y="5738"/>
                  </a:lnTo>
                  <a:lnTo>
                    <a:pt x="599889" y="3825"/>
                  </a:lnTo>
                  <a:lnTo>
                    <a:pt x="444338" y="0"/>
                  </a:lnTo>
                  <a:lnTo>
                    <a:pt x="438601" y="2550"/>
                  </a:lnTo>
                  <a:lnTo>
                    <a:pt x="438601" y="25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60" name="Freeform 42">
              <a:extLst>
                <a:ext uri="{FF2B5EF4-FFF2-40B4-BE49-F238E27FC236}">
                  <a16:creationId xmlns:a16="http://schemas.microsoft.com/office/drawing/2014/main" id="{7E498CA6-3899-27DC-252E-AB353FEF0164}"/>
                </a:ext>
              </a:extLst>
            </p:cNvPr>
            <p:cNvSpPr/>
            <p:nvPr/>
          </p:nvSpPr>
          <p:spPr>
            <a:xfrm>
              <a:off x="6950869" y="1809210"/>
              <a:ext cx="184237" cy="193162"/>
            </a:xfrm>
            <a:custGeom>
              <a:avLst/>
              <a:gdLst>
                <a:gd name="connsiteX0" fmla="*/ 157463 w 184237"/>
                <a:gd name="connsiteY0" fmla="*/ 0 h 193162"/>
                <a:gd name="connsiteX1" fmla="*/ 65025 w 184237"/>
                <a:gd name="connsiteY1" fmla="*/ 35063 h 193162"/>
                <a:gd name="connsiteX2" fmla="*/ 63750 w 184237"/>
                <a:gd name="connsiteY2" fmla="*/ 31875 h 193162"/>
                <a:gd name="connsiteX3" fmla="*/ 11475 w 184237"/>
                <a:gd name="connsiteY3" fmla="*/ 47175 h 193162"/>
                <a:gd name="connsiteX4" fmla="*/ 0 w 184237"/>
                <a:gd name="connsiteY4" fmla="*/ 50363 h 193162"/>
                <a:gd name="connsiteX5" fmla="*/ 1275 w 184237"/>
                <a:gd name="connsiteY5" fmla="*/ 56738 h 193162"/>
                <a:gd name="connsiteX6" fmla="*/ 25500 w 184237"/>
                <a:gd name="connsiteY6" fmla="*/ 151088 h 193162"/>
                <a:gd name="connsiteX7" fmla="*/ 33150 w 184237"/>
                <a:gd name="connsiteY7" fmla="*/ 161288 h 193162"/>
                <a:gd name="connsiteX8" fmla="*/ 16575 w 184237"/>
                <a:gd name="connsiteY8" fmla="*/ 181688 h 193162"/>
                <a:gd name="connsiteX9" fmla="*/ 28050 w 184237"/>
                <a:gd name="connsiteY9" fmla="*/ 193163 h 193162"/>
                <a:gd name="connsiteX10" fmla="*/ 28050 w 184237"/>
                <a:gd name="connsiteY10" fmla="*/ 193163 h 193162"/>
                <a:gd name="connsiteX11" fmla="*/ 65025 w 184237"/>
                <a:gd name="connsiteY11" fmla="*/ 157463 h 193162"/>
                <a:gd name="connsiteX12" fmla="*/ 84788 w 184237"/>
                <a:gd name="connsiteY12" fmla="*/ 129413 h 193162"/>
                <a:gd name="connsiteX13" fmla="*/ 88612 w 184237"/>
                <a:gd name="connsiteY13" fmla="*/ 137063 h 193162"/>
                <a:gd name="connsiteX14" fmla="*/ 182325 w 184237"/>
                <a:gd name="connsiteY14" fmla="*/ 95625 h 193162"/>
                <a:gd name="connsiteX15" fmla="*/ 184238 w 184237"/>
                <a:gd name="connsiteY15" fmla="*/ 93713 h 193162"/>
                <a:gd name="connsiteX16" fmla="*/ 183600 w 184237"/>
                <a:gd name="connsiteY16" fmla="*/ 78413 h 193162"/>
                <a:gd name="connsiteX17" fmla="*/ 179775 w 184237"/>
                <a:gd name="connsiteY17" fmla="*/ 65025 h 193162"/>
                <a:gd name="connsiteX18" fmla="*/ 160013 w 184237"/>
                <a:gd name="connsiteY18" fmla="*/ 9563 h 193162"/>
                <a:gd name="connsiteX19" fmla="*/ 157463 w 184237"/>
                <a:gd name="connsiteY19" fmla="*/ 2550 h 193162"/>
                <a:gd name="connsiteX20" fmla="*/ 157463 w 184237"/>
                <a:gd name="connsiteY20" fmla="*/ 0 h 193162"/>
                <a:gd name="connsiteX21" fmla="*/ 157463 w 184237"/>
                <a:gd name="connsiteY21" fmla="*/ 0 h 19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37" h="193162">
                  <a:moveTo>
                    <a:pt x="157463" y="0"/>
                  </a:moveTo>
                  <a:lnTo>
                    <a:pt x="65025" y="35063"/>
                  </a:lnTo>
                  <a:lnTo>
                    <a:pt x="63750" y="31875"/>
                  </a:lnTo>
                  <a:lnTo>
                    <a:pt x="11475" y="47175"/>
                  </a:lnTo>
                  <a:lnTo>
                    <a:pt x="0" y="50363"/>
                  </a:lnTo>
                  <a:lnTo>
                    <a:pt x="1275" y="56738"/>
                  </a:lnTo>
                  <a:lnTo>
                    <a:pt x="25500" y="151088"/>
                  </a:lnTo>
                  <a:lnTo>
                    <a:pt x="33150" y="161288"/>
                  </a:lnTo>
                  <a:lnTo>
                    <a:pt x="16575" y="181688"/>
                  </a:lnTo>
                  <a:lnTo>
                    <a:pt x="28050" y="193163"/>
                  </a:lnTo>
                  <a:lnTo>
                    <a:pt x="28050" y="193163"/>
                  </a:lnTo>
                  <a:lnTo>
                    <a:pt x="65025" y="157463"/>
                  </a:lnTo>
                  <a:lnTo>
                    <a:pt x="84788" y="129413"/>
                  </a:lnTo>
                  <a:lnTo>
                    <a:pt x="88612" y="137063"/>
                  </a:lnTo>
                  <a:lnTo>
                    <a:pt x="182325" y="95625"/>
                  </a:lnTo>
                  <a:lnTo>
                    <a:pt x="184238" y="93713"/>
                  </a:lnTo>
                  <a:lnTo>
                    <a:pt x="183600" y="78413"/>
                  </a:lnTo>
                  <a:lnTo>
                    <a:pt x="179775" y="65025"/>
                  </a:lnTo>
                  <a:lnTo>
                    <a:pt x="160013" y="9563"/>
                  </a:lnTo>
                  <a:lnTo>
                    <a:pt x="157463" y="2550"/>
                  </a:lnTo>
                  <a:lnTo>
                    <a:pt x="157463" y="0"/>
                  </a:lnTo>
                  <a:lnTo>
                    <a:pt x="157463"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61" name="Freeform 43">
              <a:extLst>
                <a:ext uri="{FF2B5EF4-FFF2-40B4-BE49-F238E27FC236}">
                  <a16:creationId xmlns:a16="http://schemas.microsoft.com/office/drawing/2014/main" id="{0E1BB3D7-83EF-C6FB-2C4E-254E19AEEBFB}"/>
                </a:ext>
              </a:extLst>
            </p:cNvPr>
            <p:cNvSpPr/>
            <p:nvPr/>
          </p:nvSpPr>
          <p:spPr>
            <a:xfrm>
              <a:off x="6984019" y="1364234"/>
              <a:ext cx="177225" cy="374850"/>
            </a:xfrm>
            <a:custGeom>
              <a:avLst/>
              <a:gdLst>
                <a:gd name="connsiteX0" fmla="*/ 37613 w 177225"/>
                <a:gd name="connsiteY0" fmla="*/ 0 h 374850"/>
                <a:gd name="connsiteX1" fmla="*/ 29325 w 177225"/>
                <a:gd name="connsiteY1" fmla="*/ 10838 h 374850"/>
                <a:gd name="connsiteX2" fmla="*/ 19125 w 177225"/>
                <a:gd name="connsiteY2" fmla="*/ 8925 h 374850"/>
                <a:gd name="connsiteX3" fmla="*/ 14025 w 177225"/>
                <a:gd name="connsiteY3" fmla="*/ 51000 h 374850"/>
                <a:gd name="connsiteX4" fmla="*/ 14025 w 177225"/>
                <a:gd name="connsiteY4" fmla="*/ 51638 h 374850"/>
                <a:gd name="connsiteX5" fmla="*/ 29325 w 177225"/>
                <a:gd name="connsiteY5" fmla="*/ 109013 h 374850"/>
                <a:gd name="connsiteX6" fmla="*/ 28050 w 177225"/>
                <a:gd name="connsiteY6" fmla="*/ 120488 h 374850"/>
                <a:gd name="connsiteX7" fmla="*/ 0 w 177225"/>
                <a:gd name="connsiteY7" fmla="*/ 156825 h 374850"/>
                <a:gd name="connsiteX8" fmla="*/ 7013 w 177225"/>
                <a:gd name="connsiteY8" fmla="*/ 189976 h 374850"/>
                <a:gd name="connsiteX9" fmla="*/ 7013 w 177225"/>
                <a:gd name="connsiteY9" fmla="*/ 231413 h 374850"/>
                <a:gd name="connsiteX10" fmla="*/ 1913 w 177225"/>
                <a:gd name="connsiteY10" fmla="*/ 269663 h 374850"/>
                <a:gd name="connsiteX11" fmla="*/ 31238 w 177225"/>
                <a:gd name="connsiteY11" fmla="*/ 374851 h 374850"/>
                <a:gd name="connsiteX12" fmla="*/ 31238 w 177225"/>
                <a:gd name="connsiteY12" fmla="*/ 374851 h 374850"/>
                <a:gd name="connsiteX13" fmla="*/ 31238 w 177225"/>
                <a:gd name="connsiteY13" fmla="*/ 374851 h 374850"/>
                <a:gd name="connsiteX14" fmla="*/ 58013 w 177225"/>
                <a:gd name="connsiteY14" fmla="*/ 366563 h 374850"/>
                <a:gd name="connsiteX15" fmla="*/ 138976 w 177225"/>
                <a:gd name="connsiteY15" fmla="*/ 339151 h 374850"/>
                <a:gd name="connsiteX16" fmla="*/ 175313 w 177225"/>
                <a:gd name="connsiteY16" fmla="*/ 299626 h 374850"/>
                <a:gd name="connsiteX17" fmla="*/ 175313 w 177225"/>
                <a:gd name="connsiteY17" fmla="*/ 299626 h 374850"/>
                <a:gd name="connsiteX18" fmla="*/ 175313 w 177225"/>
                <a:gd name="connsiteY18" fmla="*/ 291338 h 374850"/>
                <a:gd name="connsiteX19" fmla="*/ 177226 w 177225"/>
                <a:gd name="connsiteY19" fmla="*/ 274763 h 374850"/>
                <a:gd name="connsiteX20" fmla="*/ 172763 w 177225"/>
                <a:gd name="connsiteY20" fmla="*/ 276676 h 374850"/>
                <a:gd name="connsiteX21" fmla="*/ 172125 w 177225"/>
                <a:gd name="connsiteY21" fmla="*/ 272851 h 374850"/>
                <a:gd name="connsiteX22" fmla="*/ 131963 w 177225"/>
                <a:gd name="connsiteY22" fmla="*/ 223125 h 374850"/>
                <a:gd name="connsiteX23" fmla="*/ 131963 w 177225"/>
                <a:gd name="connsiteY23" fmla="*/ 218663 h 374850"/>
                <a:gd name="connsiteX24" fmla="*/ 37613 w 177225"/>
                <a:gd name="connsiteY24" fmla="*/ 0 h 374850"/>
                <a:gd name="connsiteX25" fmla="*/ 37613 w 177225"/>
                <a:gd name="connsiteY25" fmla="*/ 0 h 3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225" h="374850">
                  <a:moveTo>
                    <a:pt x="37613" y="0"/>
                  </a:moveTo>
                  <a:lnTo>
                    <a:pt x="29325" y="10838"/>
                  </a:lnTo>
                  <a:lnTo>
                    <a:pt x="19125" y="8925"/>
                  </a:lnTo>
                  <a:lnTo>
                    <a:pt x="14025" y="51000"/>
                  </a:lnTo>
                  <a:lnTo>
                    <a:pt x="14025" y="51638"/>
                  </a:lnTo>
                  <a:lnTo>
                    <a:pt x="29325" y="109013"/>
                  </a:lnTo>
                  <a:lnTo>
                    <a:pt x="28050" y="120488"/>
                  </a:lnTo>
                  <a:lnTo>
                    <a:pt x="0" y="156825"/>
                  </a:lnTo>
                  <a:lnTo>
                    <a:pt x="7013" y="189976"/>
                  </a:lnTo>
                  <a:lnTo>
                    <a:pt x="7013" y="231413"/>
                  </a:lnTo>
                  <a:lnTo>
                    <a:pt x="1913" y="269663"/>
                  </a:lnTo>
                  <a:lnTo>
                    <a:pt x="31238" y="374851"/>
                  </a:lnTo>
                  <a:lnTo>
                    <a:pt x="31238" y="374851"/>
                  </a:lnTo>
                  <a:lnTo>
                    <a:pt x="31238" y="374851"/>
                  </a:lnTo>
                  <a:lnTo>
                    <a:pt x="58013" y="366563"/>
                  </a:lnTo>
                  <a:lnTo>
                    <a:pt x="138976" y="339151"/>
                  </a:lnTo>
                  <a:lnTo>
                    <a:pt x="175313" y="299626"/>
                  </a:lnTo>
                  <a:lnTo>
                    <a:pt x="175313" y="299626"/>
                  </a:lnTo>
                  <a:lnTo>
                    <a:pt x="175313" y="291338"/>
                  </a:lnTo>
                  <a:lnTo>
                    <a:pt x="177226" y="274763"/>
                  </a:lnTo>
                  <a:lnTo>
                    <a:pt x="172763" y="276676"/>
                  </a:lnTo>
                  <a:lnTo>
                    <a:pt x="172125" y="272851"/>
                  </a:lnTo>
                  <a:lnTo>
                    <a:pt x="131963" y="223125"/>
                  </a:lnTo>
                  <a:lnTo>
                    <a:pt x="131963" y="218663"/>
                  </a:lnTo>
                  <a:lnTo>
                    <a:pt x="37613" y="0"/>
                  </a:lnTo>
                  <a:lnTo>
                    <a:pt x="37613"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62" name="Freeform 44">
              <a:extLst>
                <a:ext uri="{FF2B5EF4-FFF2-40B4-BE49-F238E27FC236}">
                  <a16:creationId xmlns:a16="http://schemas.microsoft.com/office/drawing/2014/main" id="{661510DA-5479-2A59-0286-D6E4BC30C6EE}"/>
                </a:ext>
              </a:extLst>
            </p:cNvPr>
            <p:cNvSpPr/>
            <p:nvPr/>
          </p:nvSpPr>
          <p:spPr>
            <a:xfrm>
              <a:off x="7108969" y="1795185"/>
              <a:ext cx="85424" cy="106462"/>
            </a:xfrm>
            <a:custGeom>
              <a:avLst/>
              <a:gdLst>
                <a:gd name="connsiteX0" fmla="*/ 62475 w 85424"/>
                <a:gd name="connsiteY0" fmla="*/ 72038 h 106462"/>
                <a:gd name="connsiteX1" fmla="*/ 61838 w 85424"/>
                <a:gd name="connsiteY1" fmla="*/ 58650 h 106462"/>
                <a:gd name="connsiteX2" fmla="*/ 59925 w 85424"/>
                <a:gd name="connsiteY2" fmla="*/ 63750 h 106462"/>
                <a:gd name="connsiteX3" fmla="*/ 62475 w 85424"/>
                <a:gd name="connsiteY3" fmla="*/ 72038 h 106462"/>
                <a:gd name="connsiteX4" fmla="*/ 62475 w 85424"/>
                <a:gd name="connsiteY4" fmla="*/ 72038 h 106462"/>
                <a:gd name="connsiteX5" fmla="*/ 74588 w 85424"/>
                <a:gd name="connsiteY5" fmla="*/ 61838 h 106462"/>
                <a:gd name="connsiteX6" fmla="*/ 66300 w 85424"/>
                <a:gd name="connsiteY6" fmla="*/ 45900 h 106462"/>
                <a:gd name="connsiteX7" fmla="*/ 65663 w 85424"/>
                <a:gd name="connsiteY7" fmla="*/ 62475 h 106462"/>
                <a:gd name="connsiteX8" fmla="*/ 74588 w 85424"/>
                <a:gd name="connsiteY8" fmla="*/ 61838 h 106462"/>
                <a:gd name="connsiteX9" fmla="*/ 74588 w 85424"/>
                <a:gd name="connsiteY9" fmla="*/ 61838 h 106462"/>
                <a:gd name="connsiteX10" fmla="*/ 71400 w 85424"/>
                <a:gd name="connsiteY10" fmla="*/ 42075 h 106462"/>
                <a:gd name="connsiteX11" fmla="*/ 75862 w 85424"/>
                <a:gd name="connsiteY11" fmla="*/ 53550 h 106462"/>
                <a:gd name="connsiteX12" fmla="*/ 81600 w 85424"/>
                <a:gd name="connsiteY12" fmla="*/ 64388 h 106462"/>
                <a:gd name="connsiteX13" fmla="*/ 85425 w 85424"/>
                <a:gd name="connsiteY13" fmla="*/ 56738 h 106462"/>
                <a:gd name="connsiteX14" fmla="*/ 79688 w 85424"/>
                <a:gd name="connsiteY14" fmla="*/ 45263 h 106462"/>
                <a:gd name="connsiteX15" fmla="*/ 77775 w 85424"/>
                <a:gd name="connsiteY15" fmla="*/ 37613 h 106462"/>
                <a:gd name="connsiteX16" fmla="*/ 71400 w 85424"/>
                <a:gd name="connsiteY16" fmla="*/ 37613 h 106462"/>
                <a:gd name="connsiteX17" fmla="*/ 71400 w 85424"/>
                <a:gd name="connsiteY17" fmla="*/ 42075 h 106462"/>
                <a:gd name="connsiteX18" fmla="*/ 0 w 85424"/>
                <a:gd name="connsiteY18" fmla="*/ 15300 h 106462"/>
                <a:gd name="connsiteX19" fmla="*/ 2550 w 85424"/>
                <a:gd name="connsiteY19" fmla="*/ 22313 h 106462"/>
                <a:gd name="connsiteX20" fmla="*/ 22313 w 85424"/>
                <a:gd name="connsiteY20" fmla="*/ 77775 h 106462"/>
                <a:gd name="connsiteX21" fmla="*/ 26137 w 85424"/>
                <a:gd name="connsiteY21" fmla="*/ 91163 h 106462"/>
                <a:gd name="connsiteX22" fmla="*/ 26775 w 85424"/>
                <a:gd name="connsiteY22" fmla="*/ 106463 h 106462"/>
                <a:gd name="connsiteX23" fmla="*/ 28050 w 85424"/>
                <a:gd name="connsiteY23" fmla="*/ 104550 h 106462"/>
                <a:gd name="connsiteX24" fmla="*/ 59288 w 85424"/>
                <a:gd name="connsiteY24" fmla="*/ 80325 h 106462"/>
                <a:gd name="connsiteX25" fmla="*/ 53550 w 85424"/>
                <a:gd name="connsiteY25" fmla="*/ 36338 h 106462"/>
                <a:gd name="connsiteX26" fmla="*/ 66300 w 85424"/>
                <a:gd name="connsiteY26" fmla="*/ 33788 h 106462"/>
                <a:gd name="connsiteX27" fmla="*/ 66300 w 85424"/>
                <a:gd name="connsiteY27" fmla="*/ 33788 h 106462"/>
                <a:gd name="connsiteX28" fmla="*/ 37612 w 85424"/>
                <a:gd name="connsiteY28" fmla="*/ 0 h 106462"/>
                <a:gd name="connsiteX29" fmla="*/ 7650 w 85424"/>
                <a:gd name="connsiteY29" fmla="*/ 11475 h 106462"/>
                <a:gd name="connsiteX30" fmla="*/ 0 w 85424"/>
                <a:gd name="connsiteY30" fmla="*/ 15300 h 106462"/>
                <a:gd name="connsiteX31" fmla="*/ 0 w 85424"/>
                <a:gd name="connsiteY31" fmla="*/ 15300 h 1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424" h="106462">
                  <a:moveTo>
                    <a:pt x="62475" y="72038"/>
                  </a:moveTo>
                  <a:lnTo>
                    <a:pt x="61838" y="58650"/>
                  </a:lnTo>
                  <a:lnTo>
                    <a:pt x="59925" y="63750"/>
                  </a:lnTo>
                  <a:lnTo>
                    <a:pt x="62475" y="72038"/>
                  </a:lnTo>
                  <a:lnTo>
                    <a:pt x="62475" y="72038"/>
                  </a:lnTo>
                  <a:close/>
                  <a:moveTo>
                    <a:pt x="74588" y="61838"/>
                  </a:moveTo>
                  <a:lnTo>
                    <a:pt x="66300" y="45900"/>
                  </a:lnTo>
                  <a:lnTo>
                    <a:pt x="65663" y="62475"/>
                  </a:lnTo>
                  <a:lnTo>
                    <a:pt x="74588" y="61838"/>
                  </a:lnTo>
                  <a:lnTo>
                    <a:pt x="74588" y="61838"/>
                  </a:lnTo>
                  <a:close/>
                  <a:moveTo>
                    <a:pt x="71400" y="42075"/>
                  </a:moveTo>
                  <a:lnTo>
                    <a:pt x="75862" y="53550"/>
                  </a:lnTo>
                  <a:lnTo>
                    <a:pt x="81600" y="64388"/>
                  </a:lnTo>
                  <a:lnTo>
                    <a:pt x="85425" y="56738"/>
                  </a:lnTo>
                  <a:lnTo>
                    <a:pt x="79688" y="45263"/>
                  </a:lnTo>
                  <a:lnTo>
                    <a:pt x="77775" y="37613"/>
                  </a:lnTo>
                  <a:lnTo>
                    <a:pt x="71400" y="37613"/>
                  </a:lnTo>
                  <a:lnTo>
                    <a:pt x="71400" y="42075"/>
                  </a:lnTo>
                  <a:close/>
                  <a:moveTo>
                    <a:pt x="0" y="15300"/>
                  </a:moveTo>
                  <a:lnTo>
                    <a:pt x="2550" y="22313"/>
                  </a:lnTo>
                  <a:lnTo>
                    <a:pt x="22313" y="77775"/>
                  </a:lnTo>
                  <a:lnTo>
                    <a:pt x="26137" y="91163"/>
                  </a:lnTo>
                  <a:lnTo>
                    <a:pt x="26775" y="106463"/>
                  </a:lnTo>
                  <a:lnTo>
                    <a:pt x="28050" y="104550"/>
                  </a:lnTo>
                  <a:lnTo>
                    <a:pt x="59288" y="80325"/>
                  </a:lnTo>
                  <a:lnTo>
                    <a:pt x="53550" y="36338"/>
                  </a:lnTo>
                  <a:lnTo>
                    <a:pt x="66300" y="33788"/>
                  </a:lnTo>
                  <a:lnTo>
                    <a:pt x="66300" y="33788"/>
                  </a:lnTo>
                  <a:lnTo>
                    <a:pt x="37612" y="0"/>
                  </a:lnTo>
                  <a:lnTo>
                    <a:pt x="7650" y="11475"/>
                  </a:lnTo>
                  <a:lnTo>
                    <a:pt x="0" y="15300"/>
                  </a:lnTo>
                  <a:lnTo>
                    <a:pt x="0" y="153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63" name="Freeform 45">
              <a:extLst>
                <a:ext uri="{FF2B5EF4-FFF2-40B4-BE49-F238E27FC236}">
                  <a16:creationId xmlns:a16="http://schemas.microsoft.com/office/drawing/2014/main" id="{E01DA587-509D-EF85-9923-35049EE7BEED}"/>
                </a:ext>
              </a:extLst>
            </p:cNvPr>
            <p:cNvSpPr/>
            <p:nvPr/>
          </p:nvSpPr>
          <p:spPr>
            <a:xfrm>
              <a:off x="6836756" y="1417147"/>
              <a:ext cx="179137" cy="349988"/>
            </a:xfrm>
            <a:custGeom>
              <a:avLst/>
              <a:gdLst>
                <a:gd name="connsiteX0" fmla="*/ 179138 w 179137"/>
                <a:gd name="connsiteY0" fmla="*/ 323213 h 349988"/>
                <a:gd name="connsiteX1" fmla="*/ 149813 w 179137"/>
                <a:gd name="connsiteY1" fmla="*/ 218025 h 349988"/>
                <a:gd name="connsiteX2" fmla="*/ 154913 w 179137"/>
                <a:gd name="connsiteY2" fmla="*/ 179775 h 349988"/>
                <a:gd name="connsiteX3" fmla="*/ 154913 w 179137"/>
                <a:gd name="connsiteY3" fmla="*/ 138338 h 349988"/>
                <a:gd name="connsiteX4" fmla="*/ 147900 w 179137"/>
                <a:gd name="connsiteY4" fmla="*/ 105188 h 349988"/>
                <a:gd name="connsiteX5" fmla="*/ 175950 w 179137"/>
                <a:gd name="connsiteY5" fmla="*/ 68850 h 349988"/>
                <a:gd name="connsiteX6" fmla="*/ 177225 w 179137"/>
                <a:gd name="connsiteY6" fmla="*/ 57375 h 349988"/>
                <a:gd name="connsiteX7" fmla="*/ 161925 w 179137"/>
                <a:gd name="connsiteY7" fmla="*/ 0 h 349988"/>
                <a:gd name="connsiteX8" fmla="*/ 153638 w 179137"/>
                <a:gd name="connsiteY8" fmla="*/ 3188 h 349988"/>
                <a:gd name="connsiteX9" fmla="*/ 118575 w 179137"/>
                <a:gd name="connsiteY9" fmla="*/ 15938 h 349988"/>
                <a:gd name="connsiteX10" fmla="*/ 84150 w 179137"/>
                <a:gd name="connsiteY10" fmla="*/ 29325 h 349988"/>
                <a:gd name="connsiteX11" fmla="*/ 4463 w 179137"/>
                <a:gd name="connsiteY11" fmla="*/ 58650 h 349988"/>
                <a:gd name="connsiteX12" fmla="*/ 0 w 179137"/>
                <a:gd name="connsiteY12" fmla="*/ 59925 h 349988"/>
                <a:gd name="connsiteX13" fmla="*/ 29325 w 179137"/>
                <a:gd name="connsiteY13" fmla="*/ 127500 h 349988"/>
                <a:gd name="connsiteX14" fmla="*/ 39525 w 179137"/>
                <a:gd name="connsiteY14" fmla="*/ 191250 h 349988"/>
                <a:gd name="connsiteX15" fmla="*/ 73313 w 179137"/>
                <a:gd name="connsiteY15" fmla="*/ 244800 h 349988"/>
                <a:gd name="connsiteX16" fmla="*/ 105825 w 179137"/>
                <a:gd name="connsiteY16" fmla="*/ 349988 h 349988"/>
                <a:gd name="connsiteX17" fmla="*/ 107100 w 179137"/>
                <a:gd name="connsiteY17" fmla="*/ 349351 h 349988"/>
                <a:gd name="connsiteX18" fmla="*/ 112200 w 179137"/>
                <a:gd name="connsiteY18" fmla="*/ 347438 h 349988"/>
                <a:gd name="connsiteX19" fmla="*/ 126863 w 179137"/>
                <a:gd name="connsiteY19" fmla="*/ 342976 h 349988"/>
                <a:gd name="connsiteX20" fmla="*/ 139613 w 179137"/>
                <a:gd name="connsiteY20" fmla="*/ 338513 h 349988"/>
                <a:gd name="connsiteX21" fmla="*/ 175950 w 179137"/>
                <a:gd name="connsiteY21" fmla="*/ 327038 h 349988"/>
                <a:gd name="connsiteX22" fmla="*/ 179138 w 179137"/>
                <a:gd name="connsiteY22" fmla="*/ 323213 h 349988"/>
                <a:gd name="connsiteX23" fmla="*/ 179138 w 179137"/>
                <a:gd name="connsiteY23" fmla="*/ 323213 h 349988"/>
                <a:gd name="connsiteX24" fmla="*/ 179138 w 179137"/>
                <a:gd name="connsiteY24" fmla="*/ 323213 h 34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137" h="349988">
                  <a:moveTo>
                    <a:pt x="179138" y="323213"/>
                  </a:moveTo>
                  <a:lnTo>
                    <a:pt x="149813" y="218025"/>
                  </a:lnTo>
                  <a:lnTo>
                    <a:pt x="154913" y="179775"/>
                  </a:lnTo>
                  <a:lnTo>
                    <a:pt x="154913" y="138338"/>
                  </a:lnTo>
                  <a:lnTo>
                    <a:pt x="147900" y="105188"/>
                  </a:lnTo>
                  <a:lnTo>
                    <a:pt x="175950" y="68850"/>
                  </a:lnTo>
                  <a:lnTo>
                    <a:pt x="177225" y="57375"/>
                  </a:lnTo>
                  <a:lnTo>
                    <a:pt x="161925" y="0"/>
                  </a:lnTo>
                  <a:lnTo>
                    <a:pt x="153638" y="3188"/>
                  </a:lnTo>
                  <a:lnTo>
                    <a:pt x="118575" y="15938"/>
                  </a:lnTo>
                  <a:lnTo>
                    <a:pt x="84150" y="29325"/>
                  </a:lnTo>
                  <a:lnTo>
                    <a:pt x="4463" y="58650"/>
                  </a:lnTo>
                  <a:lnTo>
                    <a:pt x="0" y="59925"/>
                  </a:lnTo>
                  <a:lnTo>
                    <a:pt x="29325" y="127500"/>
                  </a:lnTo>
                  <a:lnTo>
                    <a:pt x="39525" y="191250"/>
                  </a:lnTo>
                  <a:lnTo>
                    <a:pt x="73313" y="244800"/>
                  </a:lnTo>
                  <a:lnTo>
                    <a:pt x="105825" y="349988"/>
                  </a:lnTo>
                  <a:lnTo>
                    <a:pt x="107100" y="349351"/>
                  </a:lnTo>
                  <a:lnTo>
                    <a:pt x="112200" y="347438"/>
                  </a:lnTo>
                  <a:lnTo>
                    <a:pt x="126863" y="342976"/>
                  </a:lnTo>
                  <a:lnTo>
                    <a:pt x="139613" y="338513"/>
                  </a:lnTo>
                  <a:lnTo>
                    <a:pt x="175950" y="327038"/>
                  </a:lnTo>
                  <a:lnTo>
                    <a:pt x="179138" y="323213"/>
                  </a:lnTo>
                  <a:lnTo>
                    <a:pt x="179138" y="323213"/>
                  </a:lnTo>
                  <a:lnTo>
                    <a:pt x="179138" y="3232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64" name="Freeform 46">
              <a:extLst>
                <a:ext uri="{FF2B5EF4-FFF2-40B4-BE49-F238E27FC236}">
                  <a16:creationId xmlns:a16="http://schemas.microsoft.com/office/drawing/2014/main" id="{AB9297E3-7F73-D9FA-9EEC-B1434D5D2654}"/>
                </a:ext>
              </a:extLst>
            </p:cNvPr>
            <p:cNvSpPr/>
            <p:nvPr/>
          </p:nvSpPr>
          <p:spPr>
            <a:xfrm>
              <a:off x="5660566" y="3099513"/>
              <a:ext cx="429676" cy="664276"/>
            </a:xfrm>
            <a:custGeom>
              <a:avLst/>
              <a:gdLst>
                <a:gd name="connsiteX0" fmla="*/ 637 w 429676"/>
                <a:gd name="connsiteY0" fmla="*/ 43350 h 664276"/>
                <a:gd name="connsiteX1" fmla="*/ 3188 w 429676"/>
                <a:gd name="connsiteY1" fmla="*/ 48450 h 664276"/>
                <a:gd name="connsiteX2" fmla="*/ 12750 w 429676"/>
                <a:gd name="connsiteY2" fmla="*/ 54188 h 664276"/>
                <a:gd name="connsiteX3" fmla="*/ 16575 w 429676"/>
                <a:gd name="connsiteY3" fmla="*/ 317476 h 664276"/>
                <a:gd name="connsiteX4" fmla="*/ 17850 w 429676"/>
                <a:gd name="connsiteY4" fmla="*/ 461551 h 664276"/>
                <a:gd name="connsiteX5" fmla="*/ 51000 w 429676"/>
                <a:gd name="connsiteY5" fmla="*/ 659177 h 664276"/>
                <a:gd name="connsiteX6" fmla="*/ 53550 w 429676"/>
                <a:gd name="connsiteY6" fmla="*/ 658539 h 664276"/>
                <a:gd name="connsiteX7" fmla="*/ 82875 w 429676"/>
                <a:gd name="connsiteY7" fmla="*/ 664276 h 664276"/>
                <a:gd name="connsiteX8" fmla="*/ 90525 w 429676"/>
                <a:gd name="connsiteY8" fmla="*/ 607539 h 664276"/>
                <a:gd name="connsiteX9" fmla="*/ 103275 w 429676"/>
                <a:gd name="connsiteY9" fmla="*/ 640051 h 664276"/>
                <a:gd name="connsiteX10" fmla="*/ 124950 w 429676"/>
                <a:gd name="connsiteY10" fmla="*/ 659814 h 664276"/>
                <a:gd name="connsiteX11" fmla="*/ 166388 w 429676"/>
                <a:gd name="connsiteY11" fmla="*/ 635589 h 664276"/>
                <a:gd name="connsiteX12" fmla="*/ 161925 w 429676"/>
                <a:gd name="connsiteY12" fmla="*/ 631764 h 664276"/>
                <a:gd name="connsiteX13" fmla="*/ 163200 w 429676"/>
                <a:gd name="connsiteY13" fmla="*/ 632401 h 664276"/>
                <a:gd name="connsiteX14" fmla="*/ 133875 w 429676"/>
                <a:gd name="connsiteY14" fmla="*/ 566101 h 664276"/>
                <a:gd name="connsiteX15" fmla="*/ 411188 w 429676"/>
                <a:gd name="connsiteY15" fmla="*/ 520839 h 664276"/>
                <a:gd name="connsiteX16" fmla="*/ 429676 w 429676"/>
                <a:gd name="connsiteY16" fmla="*/ 517651 h 664276"/>
                <a:gd name="connsiteX17" fmla="*/ 429676 w 429676"/>
                <a:gd name="connsiteY17" fmla="*/ 517013 h 664276"/>
                <a:gd name="connsiteX18" fmla="*/ 412463 w 429676"/>
                <a:gd name="connsiteY18" fmla="*/ 483864 h 664276"/>
                <a:gd name="connsiteX19" fmla="*/ 411188 w 429676"/>
                <a:gd name="connsiteY19" fmla="*/ 436688 h 664276"/>
                <a:gd name="connsiteX20" fmla="*/ 397163 w 429676"/>
                <a:gd name="connsiteY20" fmla="*/ 411188 h 664276"/>
                <a:gd name="connsiteX21" fmla="*/ 404176 w 429676"/>
                <a:gd name="connsiteY21" fmla="*/ 360826 h 664276"/>
                <a:gd name="connsiteX22" fmla="*/ 415651 w 429676"/>
                <a:gd name="connsiteY22" fmla="*/ 348076 h 664276"/>
                <a:gd name="connsiteX23" fmla="*/ 367838 w 429676"/>
                <a:gd name="connsiteY23" fmla="*/ 263288 h 664276"/>
                <a:gd name="connsiteX24" fmla="*/ 281776 w 429676"/>
                <a:gd name="connsiteY24" fmla="*/ 1275 h 664276"/>
                <a:gd name="connsiteX25" fmla="*/ 281138 w 429676"/>
                <a:gd name="connsiteY25" fmla="*/ 0 h 664276"/>
                <a:gd name="connsiteX26" fmla="*/ 262013 w 429676"/>
                <a:gd name="connsiteY26" fmla="*/ 3188 h 664276"/>
                <a:gd name="connsiteX27" fmla="*/ 159375 w 429676"/>
                <a:gd name="connsiteY27" fmla="*/ 19762 h 664276"/>
                <a:gd name="connsiteX28" fmla="*/ 107738 w 429676"/>
                <a:gd name="connsiteY28" fmla="*/ 26137 h 664276"/>
                <a:gd name="connsiteX29" fmla="*/ 0 w 429676"/>
                <a:gd name="connsiteY29" fmla="*/ 40800 h 664276"/>
                <a:gd name="connsiteX30" fmla="*/ 637 w 429676"/>
                <a:gd name="connsiteY30" fmla="*/ 43350 h 664276"/>
                <a:gd name="connsiteX31" fmla="*/ 637 w 429676"/>
                <a:gd name="connsiteY31" fmla="*/ 43350 h 66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9676" h="664276">
                  <a:moveTo>
                    <a:pt x="637" y="43350"/>
                  </a:moveTo>
                  <a:lnTo>
                    <a:pt x="3188" y="48450"/>
                  </a:lnTo>
                  <a:lnTo>
                    <a:pt x="12750" y="54188"/>
                  </a:lnTo>
                  <a:lnTo>
                    <a:pt x="16575" y="317476"/>
                  </a:lnTo>
                  <a:lnTo>
                    <a:pt x="17850" y="461551"/>
                  </a:lnTo>
                  <a:lnTo>
                    <a:pt x="51000" y="659177"/>
                  </a:lnTo>
                  <a:lnTo>
                    <a:pt x="53550" y="658539"/>
                  </a:lnTo>
                  <a:lnTo>
                    <a:pt x="82875" y="664276"/>
                  </a:lnTo>
                  <a:lnTo>
                    <a:pt x="90525" y="607539"/>
                  </a:lnTo>
                  <a:lnTo>
                    <a:pt x="103275" y="640051"/>
                  </a:lnTo>
                  <a:lnTo>
                    <a:pt x="124950" y="659814"/>
                  </a:lnTo>
                  <a:lnTo>
                    <a:pt x="166388" y="635589"/>
                  </a:lnTo>
                  <a:lnTo>
                    <a:pt x="161925" y="631764"/>
                  </a:lnTo>
                  <a:lnTo>
                    <a:pt x="163200" y="632401"/>
                  </a:lnTo>
                  <a:lnTo>
                    <a:pt x="133875" y="566101"/>
                  </a:lnTo>
                  <a:lnTo>
                    <a:pt x="411188" y="520839"/>
                  </a:lnTo>
                  <a:lnTo>
                    <a:pt x="429676" y="517651"/>
                  </a:lnTo>
                  <a:lnTo>
                    <a:pt x="429676" y="517013"/>
                  </a:lnTo>
                  <a:lnTo>
                    <a:pt x="412463" y="483864"/>
                  </a:lnTo>
                  <a:lnTo>
                    <a:pt x="411188" y="436688"/>
                  </a:lnTo>
                  <a:lnTo>
                    <a:pt x="397163" y="411188"/>
                  </a:lnTo>
                  <a:lnTo>
                    <a:pt x="404176" y="360826"/>
                  </a:lnTo>
                  <a:lnTo>
                    <a:pt x="415651" y="348076"/>
                  </a:lnTo>
                  <a:lnTo>
                    <a:pt x="367838" y="263288"/>
                  </a:lnTo>
                  <a:lnTo>
                    <a:pt x="281776" y="1275"/>
                  </a:lnTo>
                  <a:lnTo>
                    <a:pt x="281138" y="0"/>
                  </a:lnTo>
                  <a:lnTo>
                    <a:pt x="262013" y="3188"/>
                  </a:lnTo>
                  <a:lnTo>
                    <a:pt x="159375" y="19762"/>
                  </a:lnTo>
                  <a:lnTo>
                    <a:pt x="107738" y="26137"/>
                  </a:lnTo>
                  <a:lnTo>
                    <a:pt x="0" y="40800"/>
                  </a:lnTo>
                  <a:lnTo>
                    <a:pt x="637" y="43350"/>
                  </a:lnTo>
                  <a:lnTo>
                    <a:pt x="637" y="433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65" name="Freeform 47">
              <a:extLst>
                <a:ext uri="{FF2B5EF4-FFF2-40B4-BE49-F238E27FC236}">
                  <a16:creationId xmlns:a16="http://schemas.microsoft.com/office/drawing/2014/main" id="{7A1C3EC1-0DB6-2727-3A2F-FC43E7E6F2DF}"/>
                </a:ext>
              </a:extLst>
            </p:cNvPr>
            <p:cNvSpPr/>
            <p:nvPr/>
          </p:nvSpPr>
          <p:spPr>
            <a:xfrm>
              <a:off x="5794442" y="3573814"/>
              <a:ext cx="981751" cy="838314"/>
            </a:xfrm>
            <a:custGeom>
              <a:avLst/>
              <a:gdLst>
                <a:gd name="connsiteX0" fmla="*/ 769464 w 981751"/>
                <a:gd name="connsiteY0" fmla="*/ 829389 h 838314"/>
                <a:gd name="connsiteX1" fmla="*/ 768189 w 981751"/>
                <a:gd name="connsiteY1" fmla="*/ 829389 h 838314"/>
                <a:gd name="connsiteX2" fmla="*/ 769464 w 981751"/>
                <a:gd name="connsiteY2" fmla="*/ 829389 h 838314"/>
                <a:gd name="connsiteX3" fmla="*/ 769464 w 981751"/>
                <a:gd name="connsiteY3" fmla="*/ 829389 h 838314"/>
                <a:gd name="connsiteX4" fmla="*/ 769464 w 981751"/>
                <a:gd name="connsiteY4" fmla="*/ 829389 h 838314"/>
                <a:gd name="connsiteX5" fmla="*/ 763089 w 981751"/>
                <a:gd name="connsiteY5" fmla="*/ 828752 h 838314"/>
                <a:gd name="connsiteX6" fmla="*/ 763089 w 981751"/>
                <a:gd name="connsiteY6" fmla="*/ 828752 h 838314"/>
                <a:gd name="connsiteX7" fmla="*/ 763089 w 981751"/>
                <a:gd name="connsiteY7" fmla="*/ 828752 h 838314"/>
                <a:gd name="connsiteX8" fmla="*/ 763089 w 981751"/>
                <a:gd name="connsiteY8" fmla="*/ 828752 h 838314"/>
                <a:gd name="connsiteX9" fmla="*/ 764364 w 981751"/>
                <a:gd name="connsiteY9" fmla="*/ 828114 h 838314"/>
                <a:gd name="connsiteX10" fmla="*/ 764364 w 981751"/>
                <a:gd name="connsiteY10" fmla="*/ 828114 h 838314"/>
                <a:gd name="connsiteX11" fmla="*/ 764364 w 981751"/>
                <a:gd name="connsiteY11" fmla="*/ 828114 h 838314"/>
                <a:gd name="connsiteX12" fmla="*/ 764364 w 981751"/>
                <a:gd name="connsiteY12" fmla="*/ 828114 h 838314"/>
                <a:gd name="connsiteX13" fmla="*/ 677026 w 981751"/>
                <a:gd name="connsiteY13" fmla="*/ 837676 h 838314"/>
                <a:gd name="connsiteX14" fmla="*/ 677026 w 981751"/>
                <a:gd name="connsiteY14" fmla="*/ 837676 h 838314"/>
                <a:gd name="connsiteX15" fmla="*/ 677026 w 981751"/>
                <a:gd name="connsiteY15" fmla="*/ 837676 h 838314"/>
                <a:gd name="connsiteX16" fmla="*/ 677026 w 981751"/>
                <a:gd name="connsiteY16" fmla="*/ 837676 h 838314"/>
                <a:gd name="connsiteX17" fmla="*/ 675751 w 981751"/>
                <a:gd name="connsiteY17" fmla="*/ 838314 h 838314"/>
                <a:gd name="connsiteX18" fmla="*/ 675751 w 981751"/>
                <a:gd name="connsiteY18" fmla="*/ 838314 h 838314"/>
                <a:gd name="connsiteX19" fmla="*/ 675751 w 981751"/>
                <a:gd name="connsiteY19" fmla="*/ 838314 h 838314"/>
                <a:gd name="connsiteX20" fmla="*/ 675751 w 981751"/>
                <a:gd name="connsiteY20" fmla="*/ 838314 h 838314"/>
                <a:gd name="connsiteX21" fmla="*/ 676389 w 981751"/>
                <a:gd name="connsiteY21" fmla="*/ 837676 h 838314"/>
                <a:gd name="connsiteX22" fmla="*/ 676389 w 981751"/>
                <a:gd name="connsiteY22" fmla="*/ 837676 h 838314"/>
                <a:gd name="connsiteX23" fmla="*/ 676389 w 981751"/>
                <a:gd name="connsiteY23" fmla="*/ 837676 h 838314"/>
                <a:gd name="connsiteX24" fmla="*/ 676389 w 981751"/>
                <a:gd name="connsiteY24" fmla="*/ 837676 h 838314"/>
                <a:gd name="connsiteX25" fmla="*/ 670014 w 981751"/>
                <a:gd name="connsiteY25" fmla="*/ 838314 h 838314"/>
                <a:gd name="connsiteX26" fmla="*/ 670014 w 981751"/>
                <a:gd name="connsiteY26" fmla="*/ 838314 h 838314"/>
                <a:gd name="connsiteX27" fmla="*/ 670014 w 981751"/>
                <a:gd name="connsiteY27" fmla="*/ 838314 h 838314"/>
                <a:gd name="connsiteX28" fmla="*/ 670014 w 981751"/>
                <a:gd name="connsiteY28" fmla="*/ 838314 h 838314"/>
                <a:gd name="connsiteX29" fmla="*/ 852339 w 981751"/>
                <a:gd name="connsiteY29" fmla="*/ 797514 h 838314"/>
                <a:gd name="connsiteX30" fmla="*/ 852339 w 981751"/>
                <a:gd name="connsiteY30" fmla="*/ 797514 h 838314"/>
                <a:gd name="connsiteX31" fmla="*/ 852339 w 981751"/>
                <a:gd name="connsiteY31" fmla="*/ 798789 h 838314"/>
                <a:gd name="connsiteX32" fmla="*/ 852339 w 981751"/>
                <a:gd name="connsiteY32" fmla="*/ 797514 h 838314"/>
                <a:gd name="connsiteX33" fmla="*/ 869552 w 981751"/>
                <a:gd name="connsiteY33" fmla="*/ 793051 h 838314"/>
                <a:gd name="connsiteX34" fmla="*/ 869552 w 981751"/>
                <a:gd name="connsiteY34" fmla="*/ 791776 h 838314"/>
                <a:gd name="connsiteX35" fmla="*/ 868277 w 981751"/>
                <a:gd name="connsiteY35" fmla="*/ 793689 h 838314"/>
                <a:gd name="connsiteX36" fmla="*/ 869552 w 981751"/>
                <a:gd name="connsiteY36" fmla="*/ 793051 h 838314"/>
                <a:gd name="connsiteX37" fmla="*/ 869552 w 981751"/>
                <a:gd name="connsiteY37" fmla="*/ 793051 h 838314"/>
                <a:gd name="connsiteX38" fmla="*/ 863814 w 981751"/>
                <a:gd name="connsiteY38" fmla="*/ 792414 h 838314"/>
                <a:gd name="connsiteX39" fmla="*/ 861264 w 981751"/>
                <a:gd name="connsiteY39" fmla="*/ 789864 h 838314"/>
                <a:gd name="connsiteX40" fmla="*/ 860627 w 981751"/>
                <a:gd name="connsiteY40" fmla="*/ 790502 h 838314"/>
                <a:gd name="connsiteX41" fmla="*/ 863814 w 981751"/>
                <a:gd name="connsiteY41" fmla="*/ 792414 h 838314"/>
                <a:gd name="connsiteX42" fmla="*/ 863814 w 981751"/>
                <a:gd name="connsiteY42" fmla="*/ 792414 h 838314"/>
                <a:gd name="connsiteX43" fmla="*/ 861902 w 981751"/>
                <a:gd name="connsiteY43" fmla="*/ 796877 h 838314"/>
                <a:gd name="connsiteX44" fmla="*/ 854252 w 981751"/>
                <a:gd name="connsiteY44" fmla="*/ 786676 h 838314"/>
                <a:gd name="connsiteX45" fmla="*/ 858714 w 981751"/>
                <a:gd name="connsiteY45" fmla="*/ 794964 h 838314"/>
                <a:gd name="connsiteX46" fmla="*/ 861902 w 981751"/>
                <a:gd name="connsiteY46" fmla="*/ 796877 h 838314"/>
                <a:gd name="connsiteX47" fmla="*/ 861902 w 981751"/>
                <a:gd name="connsiteY47" fmla="*/ 796877 h 838314"/>
                <a:gd name="connsiteX48" fmla="*/ 922464 w 981751"/>
                <a:gd name="connsiteY48" fmla="*/ 759264 h 838314"/>
                <a:gd name="connsiteX49" fmla="*/ 922464 w 981751"/>
                <a:gd name="connsiteY49" fmla="*/ 761814 h 838314"/>
                <a:gd name="connsiteX50" fmla="*/ 923740 w 981751"/>
                <a:gd name="connsiteY50" fmla="*/ 760539 h 838314"/>
                <a:gd name="connsiteX51" fmla="*/ 922464 w 981751"/>
                <a:gd name="connsiteY51" fmla="*/ 759264 h 838314"/>
                <a:gd name="connsiteX52" fmla="*/ 931389 w 981751"/>
                <a:gd name="connsiteY52" fmla="*/ 752889 h 838314"/>
                <a:gd name="connsiteX53" fmla="*/ 933302 w 981751"/>
                <a:gd name="connsiteY53" fmla="*/ 749701 h 838314"/>
                <a:gd name="connsiteX54" fmla="*/ 931389 w 981751"/>
                <a:gd name="connsiteY54" fmla="*/ 752889 h 838314"/>
                <a:gd name="connsiteX55" fmla="*/ 931389 w 981751"/>
                <a:gd name="connsiteY55" fmla="*/ 752889 h 838314"/>
                <a:gd name="connsiteX56" fmla="*/ 931389 w 981751"/>
                <a:gd name="connsiteY56" fmla="*/ 752889 h 838314"/>
                <a:gd name="connsiteX57" fmla="*/ 933302 w 981751"/>
                <a:gd name="connsiteY57" fmla="*/ 746514 h 838314"/>
                <a:gd name="connsiteX58" fmla="*/ 933302 w 981751"/>
                <a:gd name="connsiteY58" fmla="*/ 746514 h 838314"/>
                <a:gd name="connsiteX59" fmla="*/ 933302 w 981751"/>
                <a:gd name="connsiteY59" fmla="*/ 746514 h 838314"/>
                <a:gd name="connsiteX60" fmla="*/ 933302 w 981751"/>
                <a:gd name="connsiteY60" fmla="*/ 746514 h 838314"/>
                <a:gd name="connsiteX61" fmla="*/ 921827 w 981751"/>
                <a:gd name="connsiteY61" fmla="*/ 744601 h 838314"/>
                <a:gd name="connsiteX62" fmla="*/ 921827 w 981751"/>
                <a:gd name="connsiteY62" fmla="*/ 744601 h 838314"/>
                <a:gd name="connsiteX63" fmla="*/ 921827 w 981751"/>
                <a:gd name="connsiteY63" fmla="*/ 744601 h 838314"/>
                <a:gd name="connsiteX64" fmla="*/ 921827 w 981751"/>
                <a:gd name="connsiteY64" fmla="*/ 744601 h 838314"/>
                <a:gd name="connsiteX65" fmla="*/ 928202 w 981751"/>
                <a:gd name="connsiteY65" fmla="*/ 735039 h 838314"/>
                <a:gd name="connsiteX66" fmla="*/ 928202 w 981751"/>
                <a:gd name="connsiteY66" fmla="*/ 735039 h 838314"/>
                <a:gd name="connsiteX67" fmla="*/ 928202 w 981751"/>
                <a:gd name="connsiteY67" fmla="*/ 735039 h 838314"/>
                <a:gd name="connsiteX68" fmla="*/ 928202 w 981751"/>
                <a:gd name="connsiteY68" fmla="*/ 735039 h 838314"/>
                <a:gd name="connsiteX69" fmla="*/ 928202 w 981751"/>
                <a:gd name="connsiteY69" fmla="*/ 735039 h 838314"/>
                <a:gd name="connsiteX70" fmla="*/ 910352 w 981751"/>
                <a:gd name="connsiteY70" fmla="*/ 734401 h 838314"/>
                <a:gd name="connsiteX71" fmla="*/ 910352 w 981751"/>
                <a:gd name="connsiteY71" fmla="*/ 734401 h 838314"/>
                <a:gd name="connsiteX72" fmla="*/ 910352 w 981751"/>
                <a:gd name="connsiteY72" fmla="*/ 734401 h 838314"/>
                <a:gd name="connsiteX73" fmla="*/ 910352 w 981751"/>
                <a:gd name="connsiteY73" fmla="*/ 734401 h 838314"/>
                <a:gd name="connsiteX74" fmla="*/ 932027 w 981751"/>
                <a:gd name="connsiteY74" fmla="*/ 719739 h 838314"/>
                <a:gd name="connsiteX75" fmla="*/ 930752 w 981751"/>
                <a:gd name="connsiteY75" fmla="*/ 720376 h 838314"/>
                <a:gd name="connsiteX76" fmla="*/ 932664 w 981751"/>
                <a:gd name="connsiteY76" fmla="*/ 721014 h 838314"/>
                <a:gd name="connsiteX77" fmla="*/ 932027 w 981751"/>
                <a:gd name="connsiteY77" fmla="*/ 719739 h 838314"/>
                <a:gd name="connsiteX78" fmla="*/ 932027 w 981751"/>
                <a:gd name="connsiteY78" fmla="*/ 719739 h 838314"/>
                <a:gd name="connsiteX79" fmla="*/ 934577 w 981751"/>
                <a:gd name="connsiteY79" fmla="*/ 719739 h 838314"/>
                <a:gd name="connsiteX80" fmla="*/ 933302 w 981751"/>
                <a:gd name="connsiteY80" fmla="*/ 718464 h 838314"/>
                <a:gd name="connsiteX81" fmla="*/ 934577 w 981751"/>
                <a:gd name="connsiteY81" fmla="*/ 719739 h 838314"/>
                <a:gd name="connsiteX82" fmla="*/ 934577 w 981751"/>
                <a:gd name="connsiteY82" fmla="*/ 719739 h 838314"/>
                <a:gd name="connsiteX83" fmla="*/ 934577 w 981751"/>
                <a:gd name="connsiteY83" fmla="*/ 719739 h 838314"/>
                <a:gd name="connsiteX84" fmla="*/ 930115 w 981751"/>
                <a:gd name="connsiteY84" fmla="*/ 718464 h 838314"/>
                <a:gd name="connsiteX85" fmla="*/ 930115 w 981751"/>
                <a:gd name="connsiteY85" fmla="*/ 718464 h 838314"/>
                <a:gd name="connsiteX86" fmla="*/ 930115 w 981751"/>
                <a:gd name="connsiteY86" fmla="*/ 718464 h 838314"/>
                <a:gd name="connsiteX87" fmla="*/ 930115 w 981751"/>
                <a:gd name="connsiteY87" fmla="*/ 718464 h 838314"/>
                <a:gd name="connsiteX88" fmla="*/ 930115 w 981751"/>
                <a:gd name="connsiteY88" fmla="*/ 718464 h 838314"/>
                <a:gd name="connsiteX89" fmla="*/ 953702 w 981751"/>
                <a:gd name="connsiteY89" fmla="*/ 714001 h 838314"/>
                <a:gd name="connsiteX90" fmla="*/ 953702 w 981751"/>
                <a:gd name="connsiteY90" fmla="*/ 714001 h 838314"/>
                <a:gd name="connsiteX91" fmla="*/ 952427 w 981751"/>
                <a:gd name="connsiteY91" fmla="*/ 715914 h 838314"/>
                <a:gd name="connsiteX92" fmla="*/ 953702 w 981751"/>
                <a:gd name="connsiteY92" fmla="*/ 714001 h 838314"/>
                <a:gd name="connsiteX93" fmla="*/ 953702 w 981751"/>
                <a:gd name="connsiteY93" fmla="*/ 714001 h 838314"/>
                <a:gd name="connsiteX94" fmla="*/ 927564 w 981751"/>
                <a:gd name="connsiteY94" fmla="*/ 716551 h 838314"/>
                <a:gd name="connsiteX95" fmla="*/ 926289 w 981751"/>
                <a:gd name="connsiteY95" fmla="*/ 716551 h 838314"/>
                <a:gd name="connsiteX96" fmla="*/ 927564 w 981751"/>
                <a:gd name="connsiteY96" fmla="*/ 716551 h 838314"/>
                <a:gd name="connsiteX97" fmla="*/ 927564 w 981751"/>
                <a:gd name="connsiteY97" fmla="*/ 716551 h 838314"/>
                <a:gd name="connsiteX98" fmla="*/ 940952 w 981751"/>
                <a:gd name="connsiteY98" fmla="*/ 708264 h 838314"/>
                <a:gd name="connsiteX99" fmla="*/ 939039 w 981751"/>
                <a:gd name="connsiteY99" fmla="*/ 708264 h 838314"/>
                <a:gd name="connsiteX100" fmla="*/ 938402 w 981751"/>
                <a:gd name="connsiteY100" fmla="*/ 708901 h 838314"/>
                <a:gd name="connsiteX101" fmla="*/ 940952 w 981751"/>
                <a:gd name="connsiteY101" fmla="*/ 708264 h 838314"/>
                <a:gd name="connsiteX102" fmla="*/ 940952 w 981751"/>
                <a:gd name="connsiteY102" fmla="*/ 708264 h 838314"/>
                <a:gd name="connsiteX103" fmla="*/ 946052 w 981751"/>
                <a:gd name="connsiteY103" fmla="*/ 705714 h 838314"/>
                <a:gd name="connsiteX104" fmla="*/ 946052 w 981751"/>
                <a:gd name="connsiteY104" fmla="*/ 705714 h 838314"/>
                <a:gd name="connsiteX105" fmla="*/ 946052 w 981751"/>
                <a:gd name="connsiteY105" fmla="*/ 705714 h 838314"/>
                <a:gd name="connsiteX106" fmla="*/ 946052 w 981751"/>
                <a:gd name="connsiteY106" fmla="*/ 705714 h 838314"/>
                <a:gd name="connsiteX107" fmla="*/ 891864 w 981751"/>
                <a:gd name="connsiteY107" fmla="*/ 707626 h 838314"/>
                <a:gd name="connsiteX108" fmla="*/ 891864 w 981751"/>
                <a:gd name="connsiteY108" fmla="*/ 706351 h 838314"/>
                <a:gd name="connsiteX109" fmla="*/ 891864 w 981751"/>
                <a:gd name="connsiteY109" fmla="*/ 707626 h 838314"/>
                <a:gd name="connsiteX110" fmla="*/ 891864 w 981751"/>
                <a:gd name="connsiteY110" fmla="*/ 707626 h 838314"/>
                <a:gd name="connsiteX111" fmla="*/ 897602 w 981751"/>
                <a:gd name="connsiteY111" fmla="*/ 705714 h 838314"/>
                <a:gd name="connsiteX112" fmla="*/ 895689 w 981751"/>
                <a:gd name="connsiteY112" fmla="*/ 705714 h 838314"/>
                <a:gd name="connsiteX113" fmla="*/ 897602 w 981751"/>
                <a:gd name="connsiteY113" fmla="*/ 709539 h 838314"/>
                <a:gd name="connsiteX114" fmla="*/ 897602 w 981751"/>
                <a:gd name="connsiteY114" fmla="*/ 705714 h 838314"/>
                <a:gd name="connsiteX115" fmla="*/ 882302 w 981751"/>
                <a:gd name="connsiteY115" fmla="*/ 706351 h 838314"/>
                <a:gd name="connsiteX116" fmla="*/ 882302 w 981751"/>
                <a:gd name="connsiteY116" fmla="*/ 702526 h 838314"/>
                <a:gd name="connsiteX117" fmla="*/ 879114 w 981751"/>
                <a:gd name="connsiteY117" fmla="*/ 703164 h 838314"/>
                <a:gd name="connsiteX118" fmla="*/ 882302 w 981751"/>
                <a:gd name="connsiteY118" fmla="*/ 706351 h 838314"/>
                <a:gd name="connsiteX119" fmla="*/ 873377 w 981751"/>
                <a:gd name="connsiteY119" fmla="*/ 700614 h 838314"/>
                <a:gd name="connsiteX120" fmla="*/ 876564 w 981751"/>
                <a:gd name="connsiteY120" fmla="*/ 703801 h 838314"/>
                <a:gd name="connsiteX121" fmla="*/ 876564 w 981751"/>
                <a:gd name="connsiteY121" fmla="*/ 702526 h 838314"/>
                <a:gd name="connsiteX122" fmla="*/ 873377 w 981751"/>
                <a:gd name="connsiteY122" fmla="*/ 700614 h 838314"/>
                <a:gd name="connsiteX123" fmla="*/ 873377 w 981751"/>
                <a:gd name="connsiteY123" fmla="*/ 700614 h 838314"/>
                <a:gd name="connsiteX124" fmla="*/ 967727 w 981751"/>
                <a:gd name="connsiteY124" fmla="*/ 704439 h 838314"/>
                <a:gd name="connsiteX125" fmla="*/ 956252 w 981751"/>
                <a:gd name="connsiteY125" fmla="*/ 709539 h 838314"/>
                <a:gd name="connsiteX126" fmla="*/ 960077 w 981751"/>
                <a:gd name="connsiteY126" fmla="*/ 710176 h 838314"/>
                <a:gd name="connsiteX127" fmla="*/ 967727 w 981751"/>
                <a:gd name="connsiteY127" fmla="*/ 704439 h 838314"/>
                <a:gd name="connsiteX128" fmla="*/ 877839 w 981751"/>
                <a:gd name="connsiteY128" fmla="*/ 698701 h 838314"/>
                <a:gd name="connsiteX129" fmla="*/ 874014 w 981751"/>
                <a:gd name="connsiteY129" fmla="*/ 698701 h 838314"/>
                <a:gd name="connsiteX130" fmla="*/ 874014 w 981751"/>
                <a:gd name="connsiteY130" fmla="*/ 699976 h 838314"/>
                <a:gd name="connsiteX131" fmla="*/ 877839 w 981751"/>
                <a:gd name="connsiteY131" fmla="*/ 698701 h 838314"/>
                <a:gd name="connsiteX132" fmla="*/ 979202 w 981751"/>
                <a:gd name="connsiteY132" fmla="*/ 666189 h 838314"/>
                <a:gd name="connsiteX133" fmla="*/ 979840 w 981751"/>
                <a:gd name="connsiteY133" fmla="*/ 663001 h 838314"/>
                <a:gd name="connsiteX134" fmla="*/ 980477 w 981751"/>
                <a:gd name="connsiteY134" fmla="*/ 654714 h 838314"/>
                <a:gd name="connsiteX135" fmla="*/ 979202 w 981751"/>
                <a:gd name="connsiteY135" fmla="*/ 666189 h 838314"/>
                <a:gd name="connsiteX136" fmla="*/ 979202 w 981751"/>
                <a:gd name="connsiteY136" fmla="*/ 666189 h 838314"/>
                <a:gd name="connsiteX137" fmla="*/ 979840 w 981751"/>
                <a:gd name="connsiteY137" fmla="*/ 630489 h 838314"/>
                <a:gd name="connsiteX138" fmla="*/ 977289 w 981751"/>
                <a:gd name="connsiteY138" fmla="*/ 624114 h 838314"/>
                <a:gd name="connsiteX139" fmla="*/ 976014 w 981751"/>
                <a:gd name="connsiteY139" fmla="*/ 626664 h 838314"/>
                <a:gd name="connsiteX140" fmla="*/ 979840 w 981751"/>
                <a:gd name="connsiteY140" fmla="*/ 630489 h 838314"/>
                <a:gd name="connsiteX141" fmla="*/ 831302 w 981751"/>
                <a:gd name="connsiteY141" fmla="*/ 646426 h 838314"/>
                <a:gd name="connsiteX142" fmla="*/ 830027 w 981751"/>
                <a:gd name="connsiteY142" fmla="*/ 648339 h 838314"/>
                <a:gd name="connsiteX143" fmla="*/ 833214 w 981751"/>
                <a:gd name="connsiteY143" fmla="*/ 648976 h 838314"/>
                <a:gd name="connsiteX144" fmla="*/ 831302 w 981751"/>
                <a:gd name="connsiteY144" fmla="*/ 646426 h 838314"/>
                <a:gd name="connsiteX145" fmla="*/ 831302 w 981751"/>
                <a:gd name="connsiteY145" fmla="*/ 646426 h 838314"/>
                <a:gd name="connsiteX146" fmla="*/ 819827 w 981751"/>
                <a:gd name="connsiteY146" fmla="*/ 640051 h 838314"/>
                <a:gd name="connsiteX147" fmla="*/ 814089 w 981751"/>
                <a:gd name="connsiteY147" fmla="*/ 641964 h 838314"/>
                <a:gd name="connsiteX148" fmla="*/ 818552 w 981751"/>
                <a:gd name="connsiteY148" fmla="*/ 642601 h 838314"/>
                <a:gd name="connsiteX149" fmla="*/ 819827 w 981751"/>
                <a:gd name="connsiteY149" fmla="*/ 640051 h 838314"/>
                <a:gd name="connsiteX150" fmla="*/ 819827 w 981751"/>
                <a:gd name="connsiteY150" fmla="*/ 640051 h 838314"/>
                <a:gd name="connsiteX151" fmla="*/ 806439 w 981751"/>
                <a:gd name="connsiteY151" fmla="*/ 641326 h 838314"/>
                <a:gd name="connsiteX152" fmla="*/ 806439 w 981751"/>
                <a:gd name="connsiteY152" fmla="*/ 639414 h 838314"/>
                <a:gd name="connsiteX153" fmla="*/ 805802 w 981751"/>
                <a:gd name="connsiteY153" fmla="*/ 640051 h 838314"/>
                <a:gd name="connsiteX154" fmla="*/ 806439 w 981751"/>
                <a:gd name="connsiteY154" fmla="*/ 641326 h 838314"/>
                <a:gd name="connsiteX155" fmla="*/ 806439 w 981751"/>
                <a:gd name="connsiteY155" fmla="*/ 641326 h 838314"/>
                <a:gd name="connsiteX156" fmla="*/ 793052 w 981751"/>
                <a:gd name="connsiteY156" fmla="*/ 640689 h 838314"/>
                <a:gd name="connsiteX157" fmla="*/ 789227 w 981751"/>
                <a:gd name="connsiteY157" fmla="*/ 643239 h 838314"/>
                <a:gd name="connsiteX158" fmla="*/ 794326 w 981751"/>
                <a:gd name="connsiteY158" fmla="*/ 645789 h 838314"/>
                <a:gd name="connsiteX159" fmla="*/ 793052 w 981751"/>
                <a:gd name="connsiteY159" fmla="*/ 640689 h 838314"/>
                <a:gd name="connsiteX160" fmla="*/ 793052 w 981751"/>
                <a:gd name="connsiteY160" fmla="*/ 640689 h 838314"/>
                <a:gd name="connsiteX161" fmla="*/ 810902 w 981751"/>
                <a:gd name="connsiteY161" fmla="*/ 641326 h 838314"/>
                <a:gd name="connsiteX162" fmla="*/ 810264 w 981751"/>
                <a:gd name="connsiteY162" fmla="*/ 639414 h 838314"/>
                <a:gd name="connsiteX163" fmla="*/ 807076 w 981751"/>
                <a:gd name="connsiteY163" fmla="*/ 638776 h 838314"/>
                <a:gd name="connsiteX164" fmla="*/ 810902 w 981751"/>
                <a:gd name="connsiteY164" fmla="*/ 641326 h 838314"/>
                <a:gd name="connsiteX165" fmla="*/ 810902 w 981751"/>
                <a:gd name="connsiteY165" fmla="*/ 641326 h 838314"/>
                <a:gd name="connsiteX166" fmla="*/ 726751 w 981751"/>
                <a:gd name="connsiteY166" fmla="*/ 578851 h 838314"/>
                <a:gd name="connsiteX167" fmla="*/ 722927 w 981751"/>
                <a:gd name="connsiteY167" fmla="*/ 580764 h 838314"/>
                <a:gd name="connsiteX168" fmla="*/ 730576 w 981751"/>
                <a:gd name="connsiteY168" fmla="*/ 583314 h 838314"/>
                <a:gd name="connsiteX169" fmla="*/ 726751 w 981751"/>
                <a:gd name="connsiteY169" fmla="*/ 578851 h 838314"/>
                <a:gd name="connsiteX170" fmla="*/ 726751 w 981751"/>
                <a:gd name="connsiteY170" fmla="*/ 578851 h 838314"/>
                <a:gd name="connsiteX171" fmla="*/ 711451 w 981751"/>
                <a:gd name="connsiteY171" fmla="*/ 558451 h 838314"/>
                <a:gd name="connsiteX172" fmla="*/ 706351 w 981751"/>
                <a:gd name="connsiteY172" fmla="*/ 550801 h 838314"/>
                <a:gd name="connsiteX173" fmla="*/ 708264 w 981751"/>
                <a:gd name="connsiteY173" fmla="*/ 556539 h 838314"/>
                <a:gd name="connsiteX174" fmla="*/ 711451 w 981751"/>
                <a:gd name="connsiteY174" fmla="*/ 558451 h 838314"/>
                <a:gd name="connsiteX175" fmla="*/ 711451 w 981751"/>
                <a:gd name="connsiteY175" fmla="*/ 558451 h 838314"/>
                <a:gd name="connsiteX176" fmla="*/ 731214 w 981751"/>
                <a:gd name="connsiteY176" fmla="*/ 571201 h 838314"/>
                <a:gd name="connsiteX177" fmla="*/ 721652 w 981751"/>
                <a:gd name="connsiteY177" fmla="*/ 550801 h 838314"/>
                <a:gd name="connsiteX178" fmla="*/ 715277 w 981751"/>
                <a:gd name="connsiteY178" fmla="*/ 548888 h 838314"/>
                <a:gd name="connsiteX179" fmla="*/ 731214 w 981751"/>
                <a:gd name="connsiteY179" fmla="*/ 571201 h 838314"/>
                <a:gd name="connsiteX180" fmla="*/ 705714 w 981751"/>
                <a:gd name="connsiteY180" fmla="*/ 545701 h 838314"/>
                <a:gd name="connsiteX181" fmla="*/ 703802 w 981751"/>
                <a:gd name="connsiteY181" fmla="*/ 540601 h 838314"/>
                <a:gd name="connsiteX182" fmla="*/ 702527 w 981751"/>
                <a:gd name="connsiteY182" fmla="*/ 537414 h 838314"/>
                <a:gd name="connsiteX183" fmla="*/ 705714 w 981751"/>
                <a:gd name="connsiteY183" fmla="*/ 545701 h 838314"/>
                <a:gd name="connsiteX184" fmla="*/ 705714 w 981751"/>
                <a:gd name="connsiteY184" fmla="*/ 545701 h 838314"/>
                <a:gd name="connsiteX185" fmla="*/ 652164 w 981751"/>
                <a:gd name="connsiteY185" fmla="*/ 474301 h 838314"/>
                <a:gd name="connsiteX186" fmla="*/ 640689 w 981751"/>
                <a:gd name="connsiteY186" fmla="*/ 466013 h 838314"/>
                <a:gd name="connsiteX187" fmla="*/ 645151 w 981751"/>
                <a:gd name="connsiteY187" fmla="*/ 470476 h 838314"/>
                <a:gd name="connsiteX188" fmla="*/ 652164 w 981751"/>
                <a:gd name="connsiteY188" fmla="*/ 474301 h 838314"/>
                <a:gd name="connsiteX189" fmla="*/ 941589 w 981751"/>
                <a:gd name="connsiteY189" fmla="*/ 430951 h 838314"/>
                <a:gd name="connsiteX190" fmla="*/ 894414 w 981751"/>
                <a:gd name="connsiteY190" fmla="*/ 353175 h 838314"/>
                <a:gd name="connsiteX191" fmla="*/ 891864 w 981751"/>
                <a:gd name="connsiteY191" fmla="*/ 353175 h 838314"/>
                <a:gd name="connsiteX192" fmla="*/ 941589 w 981751"/>
                <a:gd name="connsiteY192" fmla="*/ 430951 h 838314"/>
                <a:gd name="connsiteX193" fmla="*/ 941589 w 981751"/>
                <a:gd name="connsiteY193" fmla="*/ 430951 h 838314"/>
                <a:gd name="connsiteX194" fmla="*/ 617101 w 981751"/>
                <a:gd name="connsiteY194" fmla="*/ 306001 h 838314"/>
                <a:gd name="connsiteX195" fmla="*/ 615189 w 981751"/>
                <a:gd name="connsiteY195" fmla="*/ 305363 h 838314"/>
                <a:gd name="connsiteX196" fmla="*/ 617101 w 981751"/>
                <a:gd name="connsiteY196" fmla="*/ 306001 h 838314"/>
                <a:gd name="connsiteX197" fmla="*/ 617101 w 981751"/>
                <a:gd name="connsiteY197" fmla="*/ 306001 h 838314"/>
                <a:gd name="connsiteX198" fmla="*/ 617101 w 981751"/>
                <a:gd name="connsiteY198" fmla="*/ 306001 h 838314"/>
                <a:gd name="connsiteX199" fmla="*/ 613276 w 981751"/>
                <a:gd name="connsiteY199" fmla="*/ 301538 h 838314"/>
                <a:gd name="connsiteX200" fmla="*/ 613276 w 981751"/>
                <a:gd name="connsiteY200" fmla="*/ 301538 h 838314"/>
                <a:gd name="connsiteX201" fmla="*/ 613276 w 981751"/>
                <a:gd name="connsiteY201" fmla="*/ 302813 h 838314"/>
                <a:gd name="connsiteX202" fmla="*/ 613276 w 981751"/>
                <a:gd name="connsiteY202" fmla="*/ 301538 h 838314"/>
                <a:gd name="connsiteX203" fmla="*/ 613276 w 981751"/>
                <a:gd name="connsiteY203" fmla="*/ 301538 h 838314"/>
                <a:gd name="connsiteX204" fmla="*/ 608176 w 981751"/>
                <a:gd name="connsiteY204" fmla="*/ 294525 h 838314"/>
                <a:gd name="connsiteX205" fmla="*/ 608176 w 981751"/>
                <a:gd name="connsiteY205" fmla="*/ 294525 h 838314"/>
                <a:gd name="connsiteX206" fmla="*/ 608176 w 981751"/>
                <a:gd name="connsiteY206" fmla="*/ 294525 h 838314"/>
                <a:gd name="connsiteX207" fmla="*/ 608176 w 981751"/>
                <a:gd name="connsiteY207" fmla="*/ 294525 h 838314"/>
                <a:gd name="connsiteX208" fmla="*/ 611364 w 981751"/>
                <a:gd name="connsiteY208" fmla="*/ 291976 h 838314"/>
                <a:gd name="connsiteX209" fmla="*/ 613276 w 981751"/>
                <a:gd name="connsiteY209" fmla="*/ 293251 h 838314"/>
                <a:gd name="connsiteX210" fmla="*/ 613276 w 981751"/>
                <a:gd name="connsiteY210" fmla="*/ 291976 h 838314"/>
                <a:gd name="connsiteX211" fmla="*/ 611364 w 981751"/>
                <a:gd name="connsiteY211" fmla="*/ 291976 h 838314"/>
                <a:gd name="connsiteX212" fmla="*/ 615189 w 981751"/>
                <a:gd name="connsiteY212" fmla="*/ 290063 h 838314"/>
                <a:gd name="connsiteX213" fmla="*/ 612639 w 981751"/>
                <a:gd name="connsiteY213" fmla="*/ 290700 h 838314"/>
                <a:gd name="connsiteX214" fmla="*/ 613276 w 981751"/>
                <a:gd name="connsiteY214" fmla="*/ 290700 h 838314"/>
                <a:gd name="connsiteX215" fmla="*/ 615189 w 981751"/>
                <a:gd name="connsiteY215" fmla="*/ 290063 h 838314"/>
                <a:gd name="connsiteX216" fmla="*/ 615189 w 981751"/>
                <a:gd name="connsiteY216" fmla="*/ 290063 h 838314"/>
                <a:gd name="connsiteX217" fmla="*/ 610726 w 981751"/>
                <a:gd name="connsiteY217" fmla="*/ 289425 h 838314"/>
                <a:gd name="connsiteX218" fmla="*/ 608814 w 981751"/>
                <a:gd name="connsiteY218" fmla="*/ 287513 h 838314"/>
                <a:gd name="connsiteX219" fmla="*/ 609451 w 981751"/>
                <a:gd name="connsiteY219" fmla="*/ 288150 h 838314"/>
                <a:gd name="connsiteX220" fmla="*/ 610726 w 981751"/>
                <a:gd name="connsiteY220" fmla="*/ 289425 h 838314"/>
                <a:gd name="connsiteX221" fmla="*/ 610726 w 981751"/>
                <a:gd name="connsiteY221" fmla="*/ 289425 h 838314"/>
                <a:gd name="connsiteX222" fmla="*/ 605626 w 981751"/>
                <a:gd name="connsiteY222" fmla="*/ 282413 h 838314"/>
                <a:gd name="connsiteX223" fmla="*/ 604351 w 981751"/>
                <a:gd name="connsiteY223" fmla="*/ 282413 h 838314"/>
                <a:gd name="connsiteX224" fmla="*/ 605626 w 981751"/>
                <a:gd name="connsiteY224" fmla="*/ 282413 h 838314"/>
                <a:gd name="connsiteX225" fmla="*/ 605626 w 981751"/>
                <a:gd name="connsiteY225" fmla="*/ 282413 h 838314"/>
                <a:gd name="connsiteX226" fmla="*/ 605626 w 981751"/>
                <a:gd name="connsiteY226" fmla="*/ 282413 h 838314"/>
                <a:gd name="connsiteX227" fmla="*/ 610726 w 981751"/>
                <a:gd name="connsiteY227" fmla="*/ 274126 h 838314"/>
                <a:gd name="connsiteX228" fmla="*/ 608176 w 981751"/>
                <a:gd name="connsiteY228" fmla="*/ 274126 h 838314"/>
                <a:gd name="connsiteX229" fmla="*/ 607539 w 981751"/>
                <a:gd name="connsiteY229" fmla="*/ 274763 h 838314"/>
                <a:gd name="connsiteX230" fmla="*/ 610726 w 981751"/>
                <a:gd name="connsiteY230" fmla="*/ 274126 h 838314"/>
                <a:gd name="connsiteX231" fmla="*/ 610726 w 981751"/>
                <a:gd name="connsiteY231" fmla="*/ 274126 h 838314"/>
                <a:gd name="connsiteX232" fmla="*/ 613276 w 981751"/>
                <a:gd name="connsiteY232" fmla="*/ 275400 h 838314"/>
                <a:gd name="connsiteX233" fmla="*/ 610089 w 981751"/>
                <a:gd name="connsiteY233" fmla="*/ 272213 h 838314"/>
                <a:gd name="connsiteX234" fmla="*/ 611364 w 981751"/>
                <a:gd name="connsiteY234" fmla="*/ 272850 h 838314"/>
                <a:gd name="connsiteX235" fmla="*/ 613276 w 981751"/>
                <a:gd name="connsiteY235" fmla="*/ 275400 h 838314"/>
                <a:gd name="connsiteX236" fmla="*/ 613276 w 981751"/>
                <a:gd name="connsiteY236" fmla="*/ 275400 h 838314"/>
                <a:gd name="connsiteX237" fmla="*/ 588414 w 981751"/>
                <a:gd name="connsiteY237" fmla="*/ 247988 h 838314"/>
                <a:gd name="connsiteX238" fmla="*/ 587139 w 981751"/>
                <a:gd name="connsiteY238" fmla="*/ 247350 h 838314"/>
                <a:gd name="connsiteX239" fmla="*/ 587139 w 981751"/>
                <a:gd name="connsiteY239" fmla="*/ 247988 h 838314"/>
                <a:gd name="connsiteX240" fmla="*/ 588414 w 981751"/>
                <a:gd name="connsiteY240" fmla="*/ 247988 h 838314"/>
                <a:gd name="connsiteX241" fmla="*/ 561001 w 981751"/>
                <a:gd name="connsiteY241" fmla="*/ 247988 h 838314"/>
                <a:gd name="connsiteX242" fmla="*/ 559089 w 981751"/>
                <a:gd name="connsiteY242" fmla="*/ 245438 h 838314"/>
                <a:gd name="connsiteX243" fmla="*/ 559726 w 981751"/>
                <a:gd name="connsiteY243" fmla="*/ 248626 h 838314"/>
                <a:gd name="connsiteX244" fmla="*/ 561001 w 981751"/>
                <a:gd name="connsiteY244" fmla="*/ 247988 h 838314"/>
                <a:gd name="connsiteX245" fmla="*/ 561001 w 981751"/>
                <a:gd name="connsiteY245" fmla="*/ 247988 h 838314"/>
                <a:gd name="connsiteX246" fmla="*/ 327038 w 981751"/>
                <a:gd name="connsiteY246" fmla="*/ 226950 h 838314"/>
                <a:gd name="connsiteX247" fmla="*/ 346163 w 981751"/>
                <a:gd name="connsiteY247" fmla="*/ 212288 h 838314"/>
                <a:gd name="connsiteX248" fmla="*/ 325126 w 981751"/>
                <a:gd name="connsiteY248" fmla="*/ 226313 h 838314"/>
                <a:gd name="connsiteX249" fmla="*/ 327038 w 981751"/>
                <a:gd name="connsiteY249" fmla="*/ 226950 h 838314"/>
                <a:gd name="connsiteX250" fmla="*/ 327038 w 981751"/>
                <a:gd name="connsiteY250" fmla="*/ 226950 h 838314"/>
                <a:gd name="connsiteX251" fmla="*/ 365288 w 981751"/>
                <a:gd name="connsiteY251" fmla="*/ 196350 h 838314"/>
                <a:gd name="connsiteX252" fmla="*/ 367201 w 981751"/>
                <a:gd name="connsiteY252" fmla="*/ 194438 h 838314"/>
                <a:gd name="connsiteX253" fmla="*/ 359551 w 981751"/>
                <a:gd name="connsiteY253" fmla="*/ 197625 h 838314"/>
                <a:gd name="connsiteX254" fmla="*/ 365288 w 981751"/>
                <a:gd name="connsiteY254" fmla="*/ 196350 h 838314"/>
                <a:gd name="connsiteX255" fmla="*/ 365288 w 981751"/>
                <a:gd name="connsiteY255" fmla="*/ 196350 h 838314"/>
                <a:gd name="connsiteX256" fmla="*/ 121125 w 981751"/>
                <a:gd name="connsiteY256" fmla="*/ 153000 h 838314"/>
                <a:gd name="connsiteX257" fmla="*/ 51000 w 981751"/>
                <a:gd name="connsiteY257" fmla="*/ 175313 h 838314"/>
                <a:gd name="connsiteX258" fmla="*/ 89250 w 981751"/>
                <a:gd name="connsiteY258" fmla="*/ 163838 h 838314"/>
                <a:gd name="connsiteX259" fmla="*/ 121125 w 981751"/>
                <a:gd name="connsiteY259" fmla="*/ 153000 h 838314"/>
                <a:gd name="connsiteX260" fmla="*/ 295801 w 981751"/>
                <a:gd name="connsiteY260" fmla="*/ 43987 h 838314"/>
                <a:gd name="connsiteX261" fmla="*/ 277313 w 981751"/>
                <a:gd name="connsiteY261" fmla="*/ 47175 h 838314"/>
                <a:gd name="connsiteX262" fmla="*/ 0 w 981751"/>
                <a:gd name="connsiteY262" fmla="*/ 92438 h 838314"/>
                <a:gd name="connsiteX263" fmla="*/ 29325 w 981751"/>
                <a:gd name="connsiteY263" fmla="*/ 158738 h 838314"/>
                <a:gd name="connsiteX264" fmla="*/ 31238 w 981751"/>
                <a:gd name="connsiteY264" fmla="*/ 159375 h 838314"/>
                <a:gd name="connsiteX265" fmla="*/ 24225 w 981751"/>
                <a:gd name="connsiteY265" fmla="*/ 186150 h 838314"/>
                <a:gd name="connsiteX266" fmla="*/ 44625 w 981751"/>
                <a:gd name="connsiteY266" fmla="*/ 176588 h 838314"/>
                <a:gd name="connsiteX267" fmla="*/ 66938 w 981751"/>
                <a:gd name="connsiteY267" fmla="*/ 156825 h 838314"/>
                <a:gd name="connsiteX268" fmla="*/ 105188 w 981751"/>
                <a:gd name="connsiteY268" fmla="*/ 155550 h 838314"/>
                <a:gd name="connsiteX269" fmla="*/ 149813 w 981751"/>
                <a:gd name="connsiteY269" fmla="*/ 139613 h 838314"/>
                <a:gd name="connsiteX270" fmla="*/ 180413 w 981751"/>
                <a:gd name="connsiteY270" fmla="*/ 144075 h 838314"/>
                <a:gd name="connsiteX271" fmla="*/ 173400 w 981751"/>
                <a:gd name="connsiteY271" fmla="*/ 155550 h 838314"/>
                <a:gd name="connsiteX272" fmla="*/ 228225 w 981751"/>
                <a:gd name="connsiteY272" fmla="*/ 174038 h 838314"/>
                <a:gd name="connsiteX273" fmla="*/ 276038 w 981751"/>
                <a:gd name="connsiteY273" fmla="*/ 196988 h 838314"/>
                <a:gd name="connsiteX274" fmla="*/ 287513 w 981751"/>
                <a:gd name="connsiteY274" fmla="*/ 222488 h 838314"/>
                <a:gd name="connsiteX275" fmla="*/ 322576 w 981751"/>
                <a:gd name="connsiteY275" fmla="*/ 214838 h 838314"/>
                <a:gd name="connsiteX276" fmla="*/ 406088 w 981751"/>
                <a:gd name="connsiteY276" fmla="*/ 146625 h 838314"/>
                <a:gd name="connsiteX277" fmla="*/ 437326 w 981751"/>
                <a:gd name="connsiteY277" fmla="*/ 147900 h 838314"/>
                <a:gd name="connsiteX278" fmla="*/ 562914 w 981751"/>
                <a:gd name="connsiteY278" fmla="*/ 242888 h 838314"/>
                <a:gd name="connsiteX279" fmla="*/ 588414 w 981751"/>
                <a:gd name="connsiteY279" fmla="*/ 237788 h 838314"/>
                <a:gd name="connsiteX280" fmla="*/ 615826 w 981751"/>
                <a:gd name="connsiteY280" fmla="*/ 273488 h 838314"/>
                <a:gd name="connsiteX281" fmla="*/ 620926 w 981751"/>
                <a:gd name="connsiteY281" fmla="*/ 330226 h 838314"/>
                <a:gd name="connsiteX282" fmla="*/ 612639 w 981751"/>
                <a:gd name="connsiteY282" fmla="*/ 365926 h 838314"/>
                <a:gd name="connsiteX283" fmla="*/ 616464 w 981751"/>
                <a:gd name="connsiteY283" fmla="*/ 383775 h 838314"/>
                <a:gd name="connsiteX284" fmla="*/ 638776 w 981751"/>
                <a:gd name="connsiteY284" fmla="*/ 429038 h 838314"/>
                <a:gd name="connsiteX285" fmla="*/ 627939 w 981751"/>
                <a:gd name="connsiteY285" fmla="*/ 393976 h 838314"/>
                <a:gd name="connsiteX286" fmla="*/ 657264 w 981751"/>
                <a:gd name="connsiteY286" fmla="*/ 393338 h 838314"/>
                <a:gd name="connsiteX287" fmla="*/ 659814 w 981751"/>
                <a:gd name="connsiteY287" fmla="*/ 418838 h 838314"/>
                <a:gd name="connsiteX288" fmla="*/ 644514 w 981751"/>
                <a:gd name="connsiteY288" fmla="*/ 458363 h 838314"/>
                <a:gd name="connsiteX289" fmla="*/ 698064 w 981751"/>
                <a:gd name="connsiteY289" fmla="*/ 531676 h 838314"/>
                <a:gd name="connsiteX290" fmla="*/ 717826 w 981751"/>
                <a:gd name="connsiteY290" fmla="*/ 532314 h 838314"/>
                <a:gd name="connsiteX291" fmla="*/ 701251 w 981751"/>
                <a:gd name="connsiteY291" fmla="*/ 510001 h 838314"/>
                <a:gd name="connsiteX292" fmla="*/ 721652 w 981751"/>
                <a:gd name="connsiteY292" fmla="*/ 512551 h 838314"/>
                <a:gd name="connsiteX293" fmla="*/ 733764 w 981751"/>
                <a:gd name="connsiteY293" fmla="*/ 504901 h 838314"/>
                <a:gd name="connsiteX294" fmla="*/ 728664 w 981751"/>
                <a:gd name="connsiteY294" fmla="*/ 545701 h 838314"/>
                <a:gd name="connsiteX295" fmla="*/ 756714 w 981751"/>
                <a:gd name="connsiteY295" fmla="*/ 567376 h 838314"/>
                <a:gd name="connsiteX296" fmla="*/ 775201 w 981751"/>
                <a:gd name="connsiteY296" fmla="*/ 617739 h 838314"/>
                <a:gd name="connsiteX297" fmla="*/ 800064 w 981751"/>
                <a:gd name="connsiteY297" fmla="*/ 633039 h 838314"/>
                <a:gd name="connsiteX298" fmla="*/ 832577 w 981751"/>
                <a:gd name="connsiteY298" fmla="*/ 641326 h 838314"/>
                <a:gd name="connsiteX299" fmla="*/ 877202 w 981751"/>
                <a:gd name="connsiteY299" fmla="*/ 697426 h 838314"/>
                <a:gd name="connsiteX300" fmla="*/ 900152 w 981751"/>
                <a:gd name="connsiteY300" fmla="*/ 709539 h 838314"/>
                <a:gd name="connsiteX301" fmla="*/ 868914 w 981751"/>
                <a:gd name="connsiteY301" fmla="*/ 711451 h 838314"/>
                <a:gd name="connsiteX302" fmla="*/ 882939 w 981751"/>
                <a:gd name="connsiteY302" fmla="*/ 727389 h 838314"/>
                <a:gd name="connsiteX303" fmla="*/ 933939 w 981751"/>
                <a:gd name="connsiteY303" fmla="*/ 710814 h 838314"/>
                <a:gd name="connsiteX304" fmla="*/ 958802 w 981751"/>
                <a:gd name="connsiteY304" fmla="*/ 696789 h 838314"/>
                <a:gd name="connsiteX305" fmla="*/ 981752 w 981751"/>
                <a:gd name="connsiteY305" fmla="*/ 615826 h 838314"/>
                <a:gd name="connsiteX306" fmla="*/ 970277 w 981751"/>
                <a:gd name="connsiteY306" fmla="*/ 490238 h 838314"/>
                <a:gd name="connsiteX307" fmla="*/ 967727 w 981751"/>
                <a:gd name="connsiteY307" fmla="*/ 477488 h 838314"/>
                <a:gd name="connsiteX308" fmla="*/ 905889 w 981751"/>
                <a:gd name="connsiteY308" fmla="*/ 374851 h 838314"/>
                <a:gd name="connsiteX309" fmla="*/ 852977 w 981751"/>
                <a:gd name="connsiteY309" fmla="*/ 300263 h 838314"/>
                <a:gd name="connsiteX310" fmla="*/ 823014 w 981751"/>
                <a:gd name="connsiteY310" fmla="*/ 239700 h 838314"/>
                <a:gd name="connsiteX311" fmla="*/ 847877 w 981751"/>
                <a:gd name="connsiteY311" fmla="*/ 260738 h 838314"/>
                <a:gd name="connsiteX312" fmla="*/ 852977 w 981751"/>
                <a:gd name="connsiteY312" fmla="*/ 256913 h 838314"/>
                <a:gd name="connsiteX313" fmla="*/ 864452 w 981751"/>
                <a:gd name="connsiteY313" fmla="*/ 310463 h 838314"/>
                <a:gd name="connsiteX314" fmla="*/ 893139 w 981751"/>
                <a:gd name="connsiteY314" fmla="*/ 350626 h 838314"/>
                <a:gd name="connsiteX315" fmla="*/ 865089 w 981751"/>
                <a:gd name="connsiteY315" fmla="*/ 296438 h 838314"/>
                <a:gd name="connsiteX316" fmla="*/ 866364 w 981751"/>
                <a:gd name="connsiteY316" fmla="*/ 270938 h 838314"/>
                <a:gd name="connsiteX317" fmla="*/ 783489 w 981751"/>
                <a:gd name="connsiteY317" fmla="*/ 170213 h 838314"/>
                <a:gd name="connsiteX318" fmla="*/ 763726 w 981751"/>
                <a:gd name="connsiteY318" fmla="*/ 138337 h 838314"/>
                <a:gd name="connsiteX319" fmla="*/ 736951 w 981751"/>
                <a:gd name="connsiteY319" fmla="*/ 84788 h 838314"/>
                <a:gd name="connsiteX320" fmla="*/ 719101 w 981751"/>
                <a:gd name="connsiteY320" fmla="*/ 39525 h 838314"/>
                <a:gd name="connsiteX321" fmla="*/ 705076 w 981751"/>
                <a:gd name="connsiteY321" fmla="*/ 23587 h 838314"/>
                <a:gd name="connsiteX322" fmla="*/ 701889 w 981751"/>
                <a:gd name="connsiteY322" fmla="*/ 3188 h 838314"/>
                <a:gd name="connsiteX323" fmla="*/ 701251 w 981751"/>
                <a:gd name="connsiteY323" fmla="*/ 2550 h 838314"/>
                <a:gd name="connsiteX324" fmla="*/ 656626 w 981751"/>
                <a:gd name="connsiteY324" fmla="*/ 0 h 838314"/>
                <a:gd name="connsiteX325" fmla="*/ 639414 w 981751"/>
                <a:gd name="connsiteY325" fmla="*/ 13387 h 838314"/>
                <a:gd name="connsiteX326" fmla="*/ 629214 w 981751"/>
                <a:gd name="connsiteY326" fmla="*/ 63112 h 838314"/>
                <a:gd name="connsiteX327" fmla="*/ 619651 w 981751"/>
                <a:gd name="connsiteY327" fmla="*/ 40163 h 838314"/>
                <a:gd name="connsiteX328" fmla="*/ 316838 w 981751"/>
                <a:gd name="connsiteY328" fmla="*/ 77775 h 838314"/>
                <a:gd name="connsiteX329" fmla="*/ 295801 w 981751"/>
                <a:gd name="connsiteY329" fmla="*/ 43987 h 838314"/>
                <a:gd name="connsiteX330" fmla="*/ 295801 w 981751"/>
                <a:gd name="connsiteY330" fmla="*/ 43987 h 838314"/>
                <a:gd name="connsiteX331" fmla="*/ 295801 w 981751"/>
                <a:gd name="connsiteY331" fmla="*/ 43987 h 83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981751" h="838314">
                  <a:moveTo>
                    <a:pt x="769464" y="829389"/>
                  </a:moveTo>
                  <a:lnTo>
                    <a:pt x="768189" y="829389"/>
                  </a:lnTo>
                  <a:lnTo>
                    <a:pt x="769464" y="829389"/>
                  </a:lnTo>
                  <a:lnTo>
                    <a:pt x="769464" y="829389"/>
                  </a:lnTo>
                  <a:lnTo>
                    <a:pt x="769464" y="829389"/>
                  </a:lnTo>
                  <a:close/>
                  <a:moveTo>
                    <a:pt x="763089" y="828752"/>
                  </a:moveTo>
                  <a:lnTo>
                    <a:pt x="763089" y="828752"/>
                  </a:lnTo>
                  <a:lnTo>
                    <a:pt x="763089" y="828752"/>
                  </a:lnTo>
                  <a:lnTo>
                    <a:pt x="763089" y="828752"/>
                  </a:lnTo>
                  <a:close/>
                  <a:moveTo>
                    <a:pt x="764364" y="828114"/>
                  </a:moveTo>
                  <a:lnTo>
                    <a:pt x="764364" y="828114"/>
                  </a:lnTo>
                  <a:lnTo>
                    <a:pt x="764364" y="828114"/>
                  </a:lnTo>
                  <a:lnTo>
                    <a:pt x="764364" y="828114"/>
                  </a:lnTo>
                  <a:close/>
                  <a:moveTo>
                    <a:pt x="677026" y="837676"/>
                  </a:moveTo>
                  <a:lnTo>
                    <a:pt x="677026" y="837676"/>
                  </a:lnTo>
                  <a:lnTo>
                    <a:pt x="677026" y="837676"/>
                  </a:lnTo>
                  <a:lnTo>
                    <a:pt x="677026" y="837676"/>
                  </a:lnTo>
                  <a:close/>
                  <a:moveTo>
                    <a:pt x="675751" y="838314"/>
                  </a:moveTo>
                  <a:lnTo>
                    <a:pt x="675751" y="838314"/>
                  </a:lnTo>
                  <a:lnTo>
                    <a:pt x="675751" y="838314"/>
                  </a:lnTo>
                  <a:lnTo>
                    <a:pt x="675751" y="838314"/>
                  </a:lnTo>
                  <a:close/>
                  <a:moveTo>
                    <a:pt x="676389" y="837676"/>
                  </a:moveTo>
                  <a:lnTo>
                    <a:pt x="676389" y="837676"/>
                  </a:lnTo>
                  <a:lnTo>
                    <a:pt x="676389" y="837676"/>
                  </a:lnTo>
                  <a:lnTo>
                    <a:pt x="676389" y="837676"/>
                  </a:lnTo>
                  <a:close/>
                  <a:moveTo>
                    <a:pt x="670014" y="838314"/>
                  </a:moveTo>
                  <a:lnTo>
                    <a:pt x="670014" y="838314"/>
                  </a:lnTo>
                  <a:lnTo>
                    <a:pt x="670014" y="838314"/>
                  </a:lnTo>
                  <a:lnTo>
                    <a:pt x="670014" y="838314"/>
                  </a:lnTo>
                  <a:close/>
                  <a:moveTo>
                    <a:pt x="852339" y="797514"/>
                  </a:moveTo>
                  <a:lnTo>
                    <a:pt x="852339" y="797514"/>
                  </a:lnTo>
                  <a:lnTo>
                    <a:pt x="852339" y="798789"/>
                  </a:lnTo>
                  <a:lnTo>
                    <a:pt x="852339" y="797514"/>
                  </a:lnTo>
                  <a:close/>
                  <a:moveTo>
                    <a:pt x="869552" y="793051"/>
                  </a:moveTo>
                  <a:lnTo>
                    <a:pt x="869552" y="791776"/>
                  </a:lnTo>
                  <a:lnTo>
                    <a:pt x="868277" y="793689"/>
                  </a:lnTo>
                  <a:lnTo>
                    <a:pt x="869552" y="793051"/>
                  </a:lnTo>
                  <a:lnTo>
                    <a:pt x="869552" y="793051"/>
                  </a:lnTo>
                  <a:close/>
                  <a:moveTo>
                    <a:pt x="863814" y="792414"/>
                  </a:moveTo>
                  <a:lnTo>
                    <a:pt x="861264" y="789864"/>
                  </a:lnTo>
                  <a:lnTo>
                    <a:pt x="860627" y="790502"/>
                  </a:lnTo>
                  <a:lnTo>
                    <a:pt x="863814" y="792414"/>
                  </a:lnTo>
                  <a:lnTo>
                    <a:pt x="863814" y="792414"/>
                  </a:lnTo>
                  <a:close/>
                  <a:moveTo>
                    <a:pt x="861902" y="796877"/>
                  </a:moveTo>
                  <a:lnTo>
                    <a:pt x="854252" y="786676"/>
                  </a:lnTo>
                  <a:lnTo>
                    <a:pt x="858714" y="794964"/>
                  </a:lnTo>
                  <a:lnTo>
                    <a:pt x="861902" y="796877"/>
                  </a:lnTo>
                  <a:lnTo>
                    <a:pt x="861902" y="796877"/>
                  </a:lnTo>
                  <a:close/>
                  <a:moveTo>
                    <a:pt x="922464" y="759264"/>
                  </a:moveTo>
                  <a:lnTo>
                    <a:pt x="922464" y="761814"/>
                  </a:lnTo>
                  <a:lnTo>
                    <a:pt x="923740" y="760539"/>
                  </a:lnTo>
                  <a:lnTo>
                    <a:pt x="922464" y="759264"/>
                  </a:lnTo>
                  <a:close/>
                  <a:moveTo>
                    <a:pt x="931389" y="752889"/>
                  </a:moveTo>
                  <a:lnTo>
                    <a:pt x="933302" y="749701"/>
                  </a:lnTo>
                  <a:lnTo>
                    <a:pt x="931389" y="752889"/>
                  </a:lnTo>
                  <a:lnTo>
                    <a:pt x="931389" y="752889"/>
                  </a:lnTo>
                  <a:lnTo>
                    <a:pt x="931389" y="752889"/>
                  </a:lnTo>
                  <a:close/>
                  <a:moveTo>
                    <a:pt x="933302" y="746514"/>
                  </a:moveTo>
                  <a:lnTo>
                    <a:pt x="933302" y="746514"/>
                  </a:lnTo>
                  <a:lnTo>
                    <a:pt x="933302" y="746514"/>
                  </a:lnTo>
                  <a:lnTo>
                    <a:pt x="933302" y="746514"/>
                  </a:lnTo>
                  <a:close/>
                  <a:moveTo>
                    <a:pt x="921827" y="744601"/>
                  </a:moveTo>
                  <a:lnTo>
                    <a:pt x="921827" y="744601"/>
                  </a:lnTo>
                  <a:lnTo>
                    <a:pt x="921827" y="744601"/>
                  </a:lnTo>
                  <a:lnTo>
                    <a:pt x="921827" y="744601"/>
                  </a:lnTo>
                  <a:close/>
                  <a:moveTo>
                    <a:pt x="928202" y="735039"/>
                  </a:moveTo>
                  <a:lnTo>
                    <a:pt x="928202" y="735039"/>
                  </a:lnTo>
                  <a:lnTo>
                    <a:pt x="928202" y="735039"/>
                  </a:lnTo>
                  <a:lnTo>
                    <a:pt x="928202" y="735039"/>
                  </a:lnTo>
                  <a:lnTo>
                    <a:pt x="928202" y="735039"/>
                  </a:lnTo>
                  <a:close/>
                  <a:moveTo>
                    <a:pt x="910352" y="734401"/>
                  </a:moveTo>
                  <a:lnTo>
                    <a:pt x="910352" y="734401"/>
                  </a:lnTo>
                  <a:lnTo>
                    <a:pt x="910352" y="734401"/>
                  </a:lnTo>
                  <a:lnTo>
                    <a:pt x="910352" y="734401"/>
                  </a:lnTo>
                  <a:close/>
                  <a:moveTo>
                    <a:pt x="932027" y="719739"/>
                  </a:moveTo>
                  <a:lnTo>
                    <a:pt x="930752" y="720376"/>
                  </a:lnTo>
                  <a:lnTo>
                    <a:pt x="932664" y="721014"/>
                  </a:lnTo>
                  <a:lnTo>
                    <a:pt x="932027" y="719739"/>
                  </a:lnTo>
                  <a:lnTo>
                    <a:pt x="932027" y="719739"/>
                  </a:lnTo>
                  <a:close/>
                  <a:moveTo>
                    <a:pt x="934577" y="719739"/>
                  </a:moveTo>
                  <a:lnTo>
                    <a:pt x="933302" y="718464"/>
                  </a:lnTo>
                  <a:lnTo>
                    <a:pt x="934577" y="719739"/>
                  </a:lnTo>
                  <a:lnTo>
                    <a:pt x="934577" y="719739"/>
                  </a:lnTo>
                  <a:lnTo>
                    <a:pt x="934577" y="719739"/>
                  </a:lnTo>
                  <a:close/>
                  <a:moveTo>
                    <a:pt x="930115" y="718464"/>
                  </a:moveTo>
                  <a:lnTo>
                    <a:pt x="930115" y="718464"/>
                  </a:lnTo>
                  <a:lnTo>
                    <a:pt x="930115" y="718464"/>
                  </a:lnTo>
                  <a:lnTo>
                    <a:pt x="930115" y="718464"/>
                  </a:lnTo>
                  <a:lnTo>
                    <a:pt x="930115" y="718464"/>
                  </a:lnTo>
                  <a:close/>
                  <a:moveTo>
                    <a:pt x="953702" y="714001"/>
                  </a:moveTo>
                  <a:lnTo>
                    <a:pt x="953702" y="714001"/>
                  </a:lnTo>
                  <a:lnTo>
                    <a:pt x="952427" y="715914"/>
                  </a:lnTo>
                  <a:lnTo>
                    <a:pt x="953702" y="714001"/>
                  </a:lnTo>
                  <a:lnTo>
                    <a:pt x="953702" y="714001"/>
                  </a:lnTo>
                  <a:close/>
                  <a:moveTo>
                    <a:pt x="927564" y="716551"/>
                  </a:moveTo>
                  <a:lnTo>
                    <a:pt x="926289" y="716551"/>
                  </a:lnTo>
                  <a:lnTo>
                    <a:pt x="927564" y="716551"/>
                  </a:lnTo>
                  <a:lnTo>
                    <a:pt x="927564" y="716551"/>
                  </a:lnTo>
                  <a:close/>
                  <a:moveTo>
                    <a:pt x="940952" y="708264"/>
                  </a:moveTo>
                  <a:lnTo>
                    <a:pt x="939039" y="708264"/>
                  </a:lnTo>
                  <a:lnTo>
                    <a:pt x="938402" y="708901"/>
                  </a:lnTo>
                  <a:lnTo>
                    <a:pt x="940952" y="708264"/>
                  </a:lnTo>
                  <a:lnTo>
                    <a:pt x="940952" y="708264"/>
                  </a:lnTo>
                  <a:close/>
                  <a:moveTo>
                    <a:pt x="946052" y="705714"/>
                  </a:moveTo>
                  <a:lnTo>
                    <a:pt x="946052" y="705714"/>
                  </a:lnTo>
                  <a:lnTo>
                    <a:pt x="946052" y="705714"/>
                  </a:lnTo>
                  <a:lnTo>
                    <a:pt x="946052" y="705714"/>
                  </a:lnTo>
                  <a:close/>
                  <a:moveTo>
                    <a:pt x="891864" y="707626"/>
                  </a:moveTo>
                  <a:lnTo>
                    <a:pt x="891864" y="706351"/>
                  </a:lnTo>
                  <a:lnTo>
                    <a:pt x="891864" y="707626"/>
                  </a:lnTo>
                  <a:lnTo>
                    <a:pt x="891864" y="707626"/>
                  </a:lnTo>
                  <a:close/>
                  <a:moveTo>
                    <a:pt x="897602" y="705714"/>
                  </a:moveTo>
                  <a:lnTo>
                    <a:pt x="895689" y="705714"/>
                  </a:lnTo>
                  <a:lnTo>
                    <a:pt x="897602" y="709539"/>
                  </a:lnTo>
                  <a:lnTo>
                    <a:pt x="897602" y="705714"/>
                  </a:lnTo>
                  <a:close/>
                  <a:moveTo>
                    <a:pt x="882302" y="706351"/>
                  </a:moveTo>
                  <a:lnTo>
                    <a:pt x="882302" y="702526"/>
                  </a:lnTo>
                  <a:lnTo>
                    <a:pt x="879114" y="703164"/>
                  </a:lnTo>
                  <a:lnTo>
                    <a:pt x="882302" y="706351"/>
                  </a:lnTo>
                  <a:close/>
                  <a:moveTo>
                    <a:pt x="873377" y="700614"/>
                  </a:moveTo>
                  <a:lnTo>
                    <a:pt x="876564" y="703801"/>
                  </a:lnTo>
                  <a:lnTo>
                    <a:pt x="876564" y="702526"/>
                  </a:lnTo>
                  <a:lnTo>
                    <a:pt x="873377" y="700614"/>
                  </a:lnTo>
                  <a:lnTo>
                    <a:pt x="873377" y="700614"/>
                  </a:lnTo>
                  <a:close/>
                  <a:moveTo>
                    <a:pt x="967727" y="704439"/>
                  </a:moveTo>
                  <a:lnTo>
                    <a:pt x="956252" y="709539"/>
                  </a:lnTo>
                  <a:lnTo>
                    <a:pt x="960077" y="710176"/>
                  </a:lnTo>
                  <a:lnTo>
                    <a:pt x="967727" y="704439"/>
                  </a:lnTo>
                  <a:close/>
                  <a:moveTo>
                    <a:pt x="877839" y="698701"/>
                  </a:moveTo>
                  <a:lnTo>
                    <a:pt x="874014" y="698701"/>
                  </a:lnTo>
                  <a:lnTo>
                    <a:pt x="874014" y="699976"/>
                  </a:lnTo>
                  <a:lnTo>
                    <a:pt x="877839" y="698701"/>
                  </a:lnTo>
                  <a:close/>
                  <a:moveTo>
                    <a:pt x="979202" y="666189"/>
                  </a:moveTo>
                  <a:lnTo>
                    <a:pt x="979840" y="663001"/>
                  </a:lnTo>
                  <a:lnTo>
                    <a:pt x="980477" y="654714"/>
                  </a:lnTo>
                  <a:lnTo>
                    <a:pt x="979202" y="666189"/>
                  </a:lnTo>
                  <a:lnTo>
                    <a:pt x="979202" y="666189"/>
                  </a:lnTo>
                  <a:close/>
                  <a:moveTo>
                    <a:pt x="979840" y="630489"/>
                  </a:moveTo>
                  <a:lnTo>
                    <a:pt x="977289" y="624114"/>
                  </a:lnTo>
                  <a:lnTo>
                    <a:pt x="976014" y="626664"/>
                  </a:lnTo>
                  <a:lnTo>
                    <a:pt x="979840" y="630489"/>
                  </a:lnTo>
                  <a:close/>
                  <a:moveTo>
                    <a:pt x="831302" y="646426"/>
                  </a:moveTo>
                  <a:lnTo>
                    <a:pt x="830027" y="648339"/>
                  </a:lnTo>
                  <a:lnTo>
                    <a:pt x="833214" y="648976"/>
                  </a:lnTo>
                  <a:lnTo>
                    <a:pt x="831302" y="646426"/>
                  </a:lnTo>
                  <a:lnTo>
                    <a:pt x="831302" y="646426"/>
                  </a:lnTo>
                  <a:close/>
                  <a:moveTo>
                    <a:pt x="819827" y="640051"/>
                  </a:moveTo>
                  <a:lnTo>
                    <a:pt x="814089" y="641964"/>
                  </a:lnTo>
                  <a:lnTo>
                    <a:pt x="818552" y="642601"/>
                  </a:lnTo>
                  <a:lnTo>
                    <a:pt x="819827" y="640051"/>
                  </a:lnTo>
                  <a:lnTo>
                    <a:pt x="819827" y="640051"/>
                  </a:lnTo>
                  <a:close/>
                  <a:moveTo>
                    <a:pt x="806439" y="641326"/>
                  </a:moveTo>
                  <a:lnTo>
                    <a:pt x="806439" y="639414"/>
                  </a:lnTo>
                  <a:lnTo>
                    <a:pt x="805802" y="640051"/>
                  </a:lnTo>
                  <a:lnTo>
                    <a:pt x="806439" y="641326"/>
                  </a:lnTo>
                  <a:lnTo>
                    <a:pt x="806439" y="641326"/>
                  </a:lnTo>
                  <a:close/>
                  <a:moveTo>
                    <a:pt x="793052" y="640689"/>
                  </a:moveTo>
                  <a:lnTo>
                    <a:pt x="789227" y="643239"/>
                  </a:lnTo>
                  <a:lnTo>
                    <a:pt x="794326" y="645789"/>
                  </a:lnTo>
                  <a:lnTo>
                    <a:pt x="793052" y="640689"/>
                  </a:lnTo>
                  <a:lnTo>
                    <a:pt x="793052" y="640689"/>
                  </a:lnTo>
                  <a:close/>
                  <a:moveTo>
                    <a:pt x="810902" y="641326"/>
                  </a:moveTo>
                  <a:lnTo>
                    <a:pt x="810264" y="639414"/>
                  </a:lnTo>
                  <a:lnTo>
                    <a:pt x="807076" y="638776"/>
                  </a:lnTo>
                  <a:lnTo>
                    <a:pt x="810902" y="641326"/>
                  </a:lnTo>
                  <a:lnTo>
                    <a:pt x="810902" y="641326"/>
                  </a:lnTo>
                  <a:close/>
                  <a:moveTo>
                    <a:pt x="726751" y="578851"/>
                  </a:moveTo>
                  <a:lnTo>
                    <a:pt x="722927" y="580764"/>
                  </a:lnTo>
                  <a:lnTo>
                    <a:pt x="730576" y="583314"/>
                  </a:lnTo>
                  <a:lnTo>
                    <a:pt x="726751" y="578851"/>
                  </a:lnTo>
                  <a:lnTo>
                    <a:pt x="726751" y="578851"/>
                  </a:lnTo>
                  <a:close/>
                  <a:moveTo>
                    <a:pt x="711451" y="558451"/>
                  </a:moveTo>
                  <a:lnTo>
                    <a:pt x="706351" y="550801"/>
                  </a:lnTo>
                  <a:lnTo>
                    <a:pt x="708264" y="556539"/>
                  </a:lnTo>
                  <a:lnTo>
                    <a:pt x="711451" y="558451"/>
                  </a:lnTo>
                  <a:lnTo>
                    <a:pt x="711451" y="558451"/>
                  </a:lnTo>
                  <a:close/>
                  <a:moveTo>
                    <a:pt x="731214" y="571201"/>
                  </a:moveTo>
                  <a:lnTo>
                    <a:pt x="721652" y="550801"/>
                  </a:lnTo>
                  <a:lnTo>
                    <a:pt x="715277" y="548888"/>
                  </a:lnTo>
                  <a:lnTo>
                    <a:pt x="731214" y="571201"/>
                  </a:lnTo>
                  <a:close/>
                  <a:moveTo>
                    <a:pt x="705714" y="545701"/>
                  </a:moveTo>
                  <a:lnTo>
                    <a:pt x="703802" y="540601"/>
                  </a:lnTo>
                  <a:lnTo>
                    <a:pt x="702527" y="537414"/>
                  </a:lnTo>
                  <a:lnTo>
                    <a:pt x="705714" y="545701"/>
                  </a:lnTo>
                  <a:lnTo>
                    <a:pt x="705714" y="545701"/>
                  </a:lnTo>
                  <a:close/>
                  <a:moveTo>
                    <a:pt x="652164" y="474301"/>
                  </a:moveTo>
                  <a:lnTo>
                    <a:pt x="640689" y="466013"/>
                  </a:lnTo>
                  <a:lnTo>
                    <a:pt x="645151" y="470476"/>
                  </a:lnTo>
                  <a:lnTo>
                    <a:pt x="652164" y="474301"/>
                  </a:lnTo>
                  <a:close/>
                  <a:moveTo>
                    <a:pt x="941589" y="430951"/>
                  </a:moveTo>
                  <a:lnTo>
                    <a:pt x="894414" y="353175"/>
                  </a:lnTo>
                  <a:lnTo>
                    <a:pt x="891864" y="353175"/>
                  </a:lnTo>
                  <a:lnTo>
                    <a:pt x="941589" y="430951"/>
                  </a:lnTo>
                  <a:lnTo>
                    <a:pt x="941589" y="430951"/>
                  </a:lnTo>
                  <a:close/>
                  <a:moveTo>
                    <a:pt x="617101" y="306001"/>
                  </a:moveTo>
                  <a:lnTo>
                    <a:pt x="615189" y="305363"/>
                  </a:lnTo>
                  <a:lnTo>
                    <a:pt x="617101" y="306001"/>
                  </a:lnTo>
                  <a:lnTo>
                    <a:pt x="617101" y="306001"/>
                  </a:lnTo>
                  <a:lnTo>
                    <a:pt x="617101" y="306001"/>
                  </a:lnTo>
                  <a:close/>
                  <a:moveTo>
                    <a:pt x="613276" y="301538"/>
                  </a:moveTo>
                  <a:lnTo>
                    <a:pt x="613276" y="301538"/>
                  </a:lnTo>
                  <a:lnTo>
                    <a:pt x="613276" y="302813"/>
                  </a:lnTo>
                  <a:lnTo>
                    <a:pt x="613276" y="301538"/>
                  </a:lnTo>
                  <a:lnTo>
                    <a:pt x="613276" y="301538"/>
                  </a:lnTo>
                  <a:close/>
                  <a:moveTo>
                    <a:pt x="608176" y="294525"/>
                  </a:moveTo>
                  <a:lnTo>
                    <a:pt x="608176" y="294525"/>
                  </a:lnTo>
                  <a:lnTo>
                    <a:pt x="608176" y="294525"/>
                  </a:lnTo>
                  <a:lnTo>
                    <a:pt x="608176" y="294525"/>
                  </a:lnTo>
                  <a:close/>
                  <a:moveTo>
                    <a:pt x="611364" y="291976"/>
                  </a:moveTo>
                  <a:lnTo>
                    <a:pt x="613276" y="293251"/>
                  </a:lnTo>
                  <a:lnTo>
                    <a:pt x="613276" y="291976"/>
                  </a:lnTo>
                  <a:lnTo>
                    <a:pt x="611364" y="291976"/>
                  </a:lnTo>
                  <a:close/>
                  <a:moveTo>
                    <a:pt x="615189" y="290063"/>
                  </a:moveTo>
                  <a:lnTo>
                    <a:pt x="612639" y="290700"/>
                  </a:lnTo>
                  <a:lnTo>
                    <a:pt x="613276" y="290700"/>
                  </a:lnTo>
                  <a:lnTo>
                    <a:pt x="615189" y="290063"/>
                  </a:lnTo>
                  <a:lnTo>
                    <a:pt x="615189" y="290063"/>
                  </a:lnTo>
                  <a:close/>
                  <a:moveTo>
                    <a:pt x="610726" y="289425"/>
                  </a:moveTo>
                  <a:lnTo>
                    <a:pt x="608814" y="287513"/>
                  </a:lnTo>
                  <a:lnTo>
                    <a:pt x="609451" y="288150"/>
                  </a:lnTo>
                  <a:lnTo>
                    <a:pt x="610726" y="289425"/>
                  </a:lnTo>
                  <a:lnTo>
                    <a:pt x="610726" y="289425"/>
                  </a:lnTo>
                  <a:close/>
                  <a:moveTo>
                    <a:pt x="605626" y="282413"/>
                  </a:moveTo>
                  <a:lnTo>
                    <a:pt x="604351" y="282413"/>
                  </a:lnTo>
                  <a:lnTo>
                    <a:pt x="605626" y="282413"/>
                  </a:lnTo>
                  <a:lnTo>
                    <a:pt x="605626" y="282413"/>
                  </a:lnTo>
                  <a:lnTo>
                    <a:pt x="605626" y="282413"/>
                  </a:lnTo>
                  <a:close/>
                  <a:moveTo>
                    <a:pt x="610726" y="274126"/>
                  </a:moveTo>
                  <a:lnTo>
                    <a:pt x="608176" y="274126"/>
                  </a:lnTo>
                  <a:lnTo>
                    <a:pt x="607539" y="274763"/>
                  </a:lnTo>
                  <a:lnTo>
                    <a:pt x="610726" y="274126"/>
                  </a:lnTo>
                  <a:lnTo>
                    <a:pt x="610726" y="274126"/>
                  </a:lnTo>
                  <a:close/>
                  <a:moveTo>
                    <a:pt x="613276" y="275400"/>
                  </a:moveTo>
                  <a:lnTo>
                    <a:pt x="610089" y="272213"/>
                  </a:lnTo>
                  <a:lnTo>
                    <a:pt x="611364" y="272850"/>
                  </a:lnTo>
                  <a:lnTo>
                    <a:pt x="613276" y="275400"/>
                  </a:lnTo>
                  <a:lnTo>
                    <a:pt x="613276" y="275400"/>
                  </a:lnTo>
                  <a:close/>
                  <a:moveTo>
                    <a:pt x="588414" y="247988"/>
                  </a:moveTo>
                  <a:lnTo>
                    <a:pt x="587139" y="247350"/>
                  </a:lnTo>
                  <a:lnTo>
                    <a:pt x="587139" y="247988"/>
                  </a:lnTo>
                  <a:lnTo>
                    <a:pt x="588414" y="247988"/>
                  </a:lnTo>
                  <a:close/>
                  <a:moveTo>
                    <a:pt x="561001" y="247988"/>
                  </a:moveTo>
                  <a:lnTo>
                    <a:pt x="559089" y="245438"/>
                  </a:lnTo>
                  <a:lnTo>
                    <a:pt x="559726" y="248626"/>
                  </a:lnTo>
                  <a:lnTo>
                    <a:pt x="561001" y="247988"/>
                  </a:lnTo>
                  <a:lnTo>
                    <a:pt x="561001" y="247988"/>
                  </a:lnTo>
                  <a:close/>
                  <a:moveTo>
                    <a:pt x="327038" y="226950"/>
                  </a:moveTo>
                  <a:lnTo>
                    <a:pt x="346163" y="212288"/>
                  </a:lnTo>
                  <a:lnTo>
                    <a:pt x="325126" y="226313"/>
                  </a:lnTo>
                  <a:lnTo>
                    <a:pt x="327038" y="226950"/>
                  </a:lnTo>
                  <a:lnTo>
                    <a:pt x="327038" y="226950"/>
                  </a:lnTo>
                  <a:close/>
                  <a:moveTo>
                    <a:pt x="365288" y="196350"/>
                  </a:moveTo>
                  <a:lnTo>
                    <a:pt x="367201" y="194438"/>
                  </a:lnTo>
                  <a:lnTo>
                    <a:pt x="359551" y="197625"/>
                  </a:lnTo>
                  <a:lnTo>
                    <a:pt x="365288" y="196350"/>
                  </a:lnTo>
                  <a:lnTo>
                    <a:pt x="365288" y="196350"/>
                  </a:lnTo>
                  <a:close/>
                  <a:moveTo>
                    <a:pt x="121125" y="153000"/>
                  </a:moveTo>
                  <a:lnTo>
                    <a:pt x="51000" y="175313"/>
                  </a:lnTo>
                  <a:lnTo>
                    <a:pt x="89250" y="163838"/>
                  </a:lnTo>
                  <a:lnTo>
                    <a:pt x="121125" y="153000"/>
                  </a:lnTo>
                  <a:close/>
                  <a:moveTo>
                    <a:pt x="295801" y="43987"/>
                  </a:moveTo>
                  <a:lnTo>
                    <a:pt x="277313" y="47175"/>
                  </a:lnTo>
                  <a:lnTo>
                    <a:pt x="0" y="92438"/>
                  </a:lnTo>
                  <a:lnTo>
                    <a:pt x="29325" y="158738"/>
                  </a:lnTo>
                  <a:lnTo>
                    <a:pt x="31238" y="159375"/>
                  </a:lnTo>
                  <a:lnTo>
                    <a:pt x="24225" y="186150"/>
                  </a:lnTo>
                  <a:lnTo>
                    <a:pt x="44625" y="176588"/>
                  </a:lnTo>
                  <a:lnTo>
                    <a:pt x="66938" y="156825"/>
                  </a:lnTo>
                  <a:lnTo>
                    <a:pt x="105188" y="155550"/>
                  </a:lnTo>
                  <a:lnTo>
                    <a:pt x="149813" y="139613"/>
                  </a:lnTo>
                  <a:lnTo>
                    <a:pt x="180413" y="144075"/>
                  </a:lnTo>
                  <a:lnTo>
                    <a:pt x="173400" y="155550"/>
                  </a:lnTo>
                  <a:lnTo>
                    <a:pt x="228225" y="174038"/>
                  </a:lnTo>
                  <a:lnTo>
                    <a:pt x="276038" y="196988"/>
                  </a:lnTo>
                  <a:lnTo>
                    <a:pt x="287513" y="222488"/>
                  </a:lnTo>
                  <a:lnTo>
                    <a:pt x="322576" y="214838"/>
                  </a:lnTo>
                  <a:lnTo>
                    <a:pt x="406088" y="146625"/>
                  </a:lnTo>
                  <a:lnTo>
                    <a:pt x="437326" y="147900"/>
                  </a:lnTo>
                  <a:lnTo>
                    <a:pt x="562914" y="242888"/>
                  </a:lnTo>
                  <a:lnTo>
                    <a:pt x="588414" y="237788"/>
                  </a:lnTo>
                  <a:lnTo>
                    <a:pt x="615826" y="273488"/>
                  </a:lnTo>
                  <a:lnTo>
                    <a:pt x="620926" y="330226"/>
                  </a:lnTo>
                  <a:lnTo>
                    <a:pt x="612639" y="365926"/>
                  </a:lnTo>
                  <a:lnTo>
                    <a:pt x="616464" y="383775"/>
                  </a:lnTo>
                  <a:lnTo>
                    <a:pt x="638776" y="429038"/>
                  </a:lnTo>
                  <a:lnTo>
                    <a:pt x="627939" y="393976"/>
                  </a:lnTo>
                  <a:lnTo>
                    <a:pt x="657264" y="393338"/>
                  </a:lnTo>
                  <a:lnTo>
                    <a:pt x="659814" y="418838"/>
                  </a:lnTo>
                  <a:lnTo>
                    <a:pt x="644514" y="458363"/>
                  </a:lnTo>
                  <a:lnTo>
                    <a:pt x="698064" y="531676"/>
                  </a:lnTo>
                  <a:lnTo>
                    <a:pt x="717826" y="532314"/>
                  </a:lnTo>
                  <a:lnTo>
                    <a:pt x="701251" y="510001"/>
                  </a:lnTo>
                  <a:lnTo>
                    <a:pt x="721652" y="512551"/>
                  </a:lnTo>
                  <a:lnTo>
                    <a:pt x="733764" y="504901"/>
                  </a:lnTo>
                  <a:lnTo>
                    <a:pt x="728664" y="545701"/>
                  </a:lnTo>
                  <a:lnTo>
                    <a:pt x="756714" y="567376"/>
                  </a:lnTo>
                  <a:lnTo>
                    <a:pt x="775201" y="617739"/>
                  </a:lnTo>
                  <a:lnTo>
                    <a:pt x="800064" y="633039"/>
                  </a:lnTo>
                  <a:lnTo>
                    <a:pt x="832577" y="641326"/>
                  </a:lnTo>
                  <a:lnTo>
                    <a:pt x="877202" y="697426"/>
                  </a:lnTo>
                  <a:lnTo>
                    <a:pt x="900152" y="709539"/>
                  </a:lnTo>
                  <a:lnTo>
                    <a:pt x="868914" y="711451"/>
                  </a:lnTo>
                  <a:lnTo>
                    <a:pt x="882939" y="727389"/>
                  </a:lnTo>
                  <a:lnTo>
                    <a:pt x="933939" y="710814"/>
                  </a:lnTo>
                  <a:lnTo>
                    <a:pt x="958802" y="696789"/>
                  </a:lnTo>
                  <a:lnTo>
                    <a:pt x="981752" y="615826"/>
                  </a:lnTo>
                  <a:lnTo>
                    <a:pt x="970277" y="490238"/>
                  </a:lnTo>
                  <a:lnTo>
                    <a:pt x="967727" y="477488"/>
                  </a:lnTo>
                  <a:lnTo>
                    <a:pt x="905889" y="374851"/>
                  </a:lnTo>
                  <a:lnTo>
                    <a:pt x="852977" y="300263"/>
                  </a:lnTo>
                  <a:lnTo>
                    <a:pt x="823014" y="239700"/>
                  </a:lnTo>
                  <a:lnTo>
                    <a:pt x="847877" y="260738"/>
                  </a:lnTo>
                  <a:lnTo>
                    <a:pt x="852977" y="256913"/>
                  </a:lnTo>
                  <a:lnTo>
                    <a:pt x="864452" y="310463"/>
                  </a:lnTo>
                  <a:lnTo>
                    <a:pt x="893139" y="350626"/>
                  </a:lnTo>
                  <a:lnTo>
                    <a:pt x="865089" y="296438"/>
                  </a:lnTo>
                  <a:lnTo>
                    <a:pt x="866364" y="270938"/>
                  </a:lnTo>
                  <a:lnTo>
                    <a:pt x="783489" y="170213"/>
                  </a:lnTo>
                  <a:lnTo>
                    <a:pt x="763726" y="138337"/>
                  </a:lnTo>
                  <a:lnTo>
                    <a:pt x="736951" y="84788"/>
                  </a:lnTo>
                  <a:lnTo>
                    <a:pt x="719101" y="39525"/>
                  </a:lnTo>
                  <a:lnTo>
                    <a:pt x="705076" y="23587"/>
                  </a:lnTo>
                  <a:lnTo>
                    <a:pt x="701889" y="3188"/>
                  </a:lnTo>
                  <a:lnTo>
                    <a:pt x="701251" y="2550"/>
                  </a:lnTo>
                  <a:lnTo>
                    <a:pt x="656626" y="0"/>
                  </a:lnTo>
                  <a:lnTo>
                    <a:pt x="639414" y="13387"/>
                  </a:lnTo>
                  <a:lnTo>
                    <a:pt x="629214" y="63112"/>
                  </a:lnTo>
                  <a:lnTo>
                    <a:pt x="619651" y="40163"/>
                  </a:lnTo>
                  <a:lnTo>
                    <a:pt x="316838" y="77775"/>
                  </a:lnTo>
                  <a:lnTo>
                    <a:pt x="295801" y="43987"/>
                  </a:lnTo>
                  <a:lnTo>
                    <a:pt x="295801" y="43987"/>
                  </a:lnTo>
                  <a:lnTo>
                    <a:pt x="295801" y="43987"/>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67" name="Freeform 49">
              <a:extLst>
                <a:ext uri="{FF2B5EF4-FFF2-40B4-BE49-F238E27FC236}">
                  <a16:creationId xmlns:a16="http://schemas.microsoft.com/office/drawing/2014/main" id="{CF27169A-86FD-9744-E129-B479181A501D}"/>
                </a:ext>
              </a:extLst>
            </p:cNvPr>
            <p:cNvSpPr/>
            <p:nvPr/>
          </p:nvSpPr>
          <p:spPr>
            <a:xfrm>
              <a:off x="5325878" y="3142225"/>
              <a:ext cx="386325" cy="659176"/>
            </a:xfrm>
            <a:custGeom>
              <a:avLst/>
              <a:gdLst>
                <a:gd name="connsiteX0" fmla="*/ 325126 w 386325"/>
                <a:gd name="connsiteY0" fmla="*/ 648976 h 659176"/>
                <a:gd name="connsiteX1" fmla="*/ 321938 w 386325"/>
                <a:gd name="connsiteY1" fmla="*/ 649614 h 659176"/>
                <a:gd name="connsiteX2" fmla="*/ 321938 w 386325"/>
                <a:gd name="connsiteY2" fmla="*/ 650251 h 659176"/>
                <a:gd name="connsiteX3" fmla="*/ 325126 w 386325"/>
                <a:gd name="connsiteY3" fmla="*/ 648976 h 659176"/>
                <a:gd name="connsiteX4" fmla="*/ 325126 w 386325"/>
                <a:gd name="connsiteY4" fmla="*/ 648976 h 659176"/>
                <a:gd name="connsiteX5" fmla="*/ 385051 w 386325"/>
                <a:gd name="connsiteY5" fmla="*/ 641326 h 659176"/>
                <a:gd name="connsiteX6" fmla="*/ 375488 w 386325"/>
                <a:gd name="connsiteY6" fmla="*/ 641326 h 659176"/>
                <a:gd name="connsiteX7" fmla="*/ 385051 w 386325"/>
                <a:gd name="connsiteY7" fmla="*/ 641326 h 659176"/>
                <a:gd name="connsiteX8" fmla="*/ 385051 w 386325"/>
                <a:gd name="connsiteY8" fmla="*/ 641326 h 659176"/>
                <a:gd name="connsiteX9" fmla="*/ 385051 w 386325"/>
                <a:gd name="connsiteY9" fmla="*/ 641326 h 659176"/>
                <a:gd name="connsiteX10" fmla="*/ 309825 w 386325"/>
                <a:gd name="connsiteY10" fmla="*/ 647701 h 659176"/>
                <a:gd name="connsiteX11" fmla="*/ 307276 w 386325"/>
                <a:gd name="connsiteY11" fmla="*/ 650251 h 659176"/>
                <a:gd name="connsiteX12" fmla="*/ 307913 w 386325"/>
                <a:gd name="connsiteY12" fmla="*/ 650889 h 659176"/>
                <a:gd name="connsiteX13" fmla="*/ 309825 w 386325"/>
                <a:gd name="connsiteY13" fmla="*/ 647701 h 659176"/>
                <a:gd name="connsiteX14" fmla="*/ 309825 w 386325"/>
                <a:gd name="connsiteY14" fmla="*/ 647701 h 659176"/>
                <a:gd name="connsiteX15" fmla="*/ 371026 w 386325"/>
                <a:gd name="connsiteY15" fmla="*/ 642601 h 659176"/>
                <a:gd name="connsiteX16" fmla="*/ 346801 w 386325"/>
                <a:gd name="connsiteY16" fmla="*/ 642601 h 659176"/>
                <a:gd name="connsiteX17" fmla="*/ 369751 w 386325"/>
                <a:gd name="connsiteY17" fmla="*/ 643239 h 659176"/>
                <a:gd name="connsiteX18" fmla="*/ 371026 w 386325"/>
                <a:gd name="connsiteY18" fmla="*/ 642601 h 659176"/>
                <a:gd name="connsiteX19" fmla="*/ 102638 w 386325"/>
                <a:gd name="connsiteY19" fmla="*/ 29963 h 659176"/>
                <a:gd name="connsiteX20" fmla="*/ 102638 w 386325"/>
                <a:gd name="connsiteY20" fmla="*/ 29963 h 659176"/>
                <a:gd name="connsiteX21" fmla="*/ 75225 w 386325"/>
                <a:gd name="connsiteY21" fmla="*/ 75862 h 659176"/>
                <a:gd name="connsiteX22" fmla="*/ 77775 w 386325"/>
                <a:gd name="connsiteY22" fmla="*/ 110288 h 659176"/>
                <a:gd name="connsiteX23" fmla="*/ 41438 w 386325"/>
                <a:gd name="connsiteY23" fmla="*/ 150450 h 659176"/>
                <a:gd name="connsiteX24" fmla="*/ 51637 w 386325"/>
                <a:gd name="connsiteY24" fmla="*/ 161925 h 659176"/>
                <a:gd name="connsiteX25" fmla="*/ 27412 w 386325"/>
                <a:gd name="connsiteY25" fmla="*/ 264563 h 659176"/>
                <a:gd name="connsiteX26" fmla="*/ 38887 w 386325"/>
                <a:gd name="connsiteY26" fmla="*/ 286238 h 659176"/>
                <a:gd name="connsiteX27" fmla="*/ 32512 w 386325"/>
                <a:gd name="connsiteY27" fmla="*/ 290700 h 659176"/>
                <a:gd name="connsiteX28" fmla="*/ 33150 w 386325"/>
                <a:gd name="connsiteY28" fmla="*/ 304726 h 659176"/>
                <a:gd name="connsiteX29" fmla="*/ 33150 w 386325"/>
                <a:gd name="connsiteY29" fmla="*/ 309188 h 659176"/>
                <a:gd name="connsiteX30" fmla="*/ 47813 w 386325"/>
                <a:gd name="connsiteY30" fmla="*/ 343613 h 659176"/>
                <a:gd name="connsiteX31" fmla="*/ 46538 w 386325"/>
                <a:gd name="connsiteY31" fmla="*/ 364651 h 659176"/>
                <a:gd name="connsiteX32" fmla="*/ 70125 w 386325"/>
                <a:gd name="connsiteY32" fmla="*/ 393976 h 659176"/>
                <a:gd name="connsiteX33" fmla="*/ 21037 w 386325"/>
                <a:gd name="connsiteY33" fmla="*/ 477488 h 659176"/>
                <a:gd name="connsiteX34" fmla="*/ 13387 w 386325"/>
                <a:gd name="connsiteY34" fmla="*/ 527851 h 659176"/>
                <a:gd name="connsiteX35" fmla="*/ 0 w 386325"/>
                <a:gd name="connsiteY35" fmla="*/ 547613 h 659176"/>
                <a:gd name="connsiteX36" fmla="*/ 9563 w 386325"/>
                <a:gd name="connsiteY36" fmla="*/ 570564 h 659176"/>
                <a:gd name="connsiteX37" fmla="*/ 1275 w 386325"/>
                <a:gd name="connsiteY37" fmla="*/ 578851 h 659176"/>
                <a:gd name="connsiteX38" fmla="*/ 223125 w 386325"/>
                <a:gd name="connsiteY38" fmla="*/ 554626 h 659176"/>
                <a:gd name="connsiteX39" fmla="*/ 215475 w 386325"/>
                <a:gd name="connsiteY39" fmla="*/ 585863 h 659176"/>
                <a:gd name="connsiteX40" fmla="*/ 244163 w 386325"/>
                <a:gd name="connsiteY40" fmla="*/ 640689 h 659176"/>
                <a:gd name="connsiteX41" fmla="*/ 258825 w 386325"/>
                <a:gd name="connsiteY41" fmla="*/ 659176 h 659176"/>
                <a:gd name="connsiteX42" fmla="*/ 258825 w 386325"/>
                <a:gd name="connsiteY42" fmla="*/ 658539 h 659176"/>
                <a:gd name="connsiteX43" fmla="*/ 282413 w 386325"/>
                <a:gd name="connsiteY43" fmla="*/ 631126 h 659176"/>
                <a:gd name="connsiteX44" fmla="*/ 332776 w 386325"/>
                <a:gd name="connsiteY44" fmla="*/ 619651 h 659176"/>
                <a:gd name="connsiteX45" fmla="*/ 379313 w 386325"/>
                <a:gd name="connsiteY45" fmla="*/ 624751 h 659176"/>
                <a:gd name="connsiteX46" fmla="*/ 386326 w 386325"/>
                <a:gd name="connsiteY46" fmla="*/ 615189 h 659176"/>
                <a:gd name="connsiteX47" fmla="*/ 386326 w 386325"/>
                <a:gd name="connsiteY47" fmla="*/ 615826 h 659176"/>
                <a:gd name="connsiteX48" fmla="*/ 353176 w 386325"/>
                <a:gd name="connsiteY48" fmla="*/ 418201 h 659176"/>
                <a:gd name="connsiteX49" fmla="*/ 351901 w 386325"/>
                <a:gd name="connsiteY49" fmla="*/ 274126 h 659176"/>
                <a:gd name="connsiteX50" fmla="*/ 348076 w 386325"/>
                <a:gd name="connsiteY50" fmla="*/ 10838 h 659176"/>
                <a:gd name="connsiteX51" fmla="*/ 338513 w 386325"/>
                <a:gd name="connsiteY51" fmla="*/ 5100 h 659176"/>
                <a:gd name="connsiteX52" fmla="*/ 335963 w 386325"/>
                <a:gd name="connsiteY52" fmla="*/ 0 h 659176"/>
                <a:gd name="connsiteX53" fmla="*/ 334688 w 386325"/>
                <a:gd name="connsiteY53" fmla="*/ 0 h 659176"/>
                <a:gd name="connsiteX54" fmla="*/ 302176 w 386325"/>
                <a:gd name="connsiteY54" fmla="*/ 4463 h 659176"/>
                <a:gd name="connsiteX55" fmla="*/ 246075 w 386325"/>
                <a:gd name="connsiteY55" fmla="*/ 12112 h 659176"/>
                <a:gd name="connsiteX56" fmla="*/ 117938 w 386325"/>
                <a:gd name="connsiteY56" fmla="*/ 28050 h 659176"/>
                <a:gd name="connsiteX57" fmla="*/ 102638 w 386325"/>
                <a:gd name="connsiteY57" fmla="*/ 29963 h 659176"/>
                <a:gd name="connsiteX58" fmla="*/ 102638 w 386325"/>
                <a:gd name="connsiteY58" fmla="*/ 29963 h 65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86325" h="659176">
                  <a:moveTo>
                    <a:pt x="325126" y="648976"/>
                  </a:moveTo>
                  <a:lnTo>
                    <a:pt x="321938" y="649614"/>
                  </a:lnTo>
                  <a:lnTo>
                    <a:pt x="321938" y="650251"/>
                  </a:lnTo>
                  <a:lnTo>
                    <a:pt x="325126" y="648976"/>
                  </a:lnTo>
                  <a:lnTo>
                    <a:pt x="325126" y="648976"/>
                  </a:lnTo>
                  <a:close/>
                  <a:moveTo>
                    <a:pt x="385051" y="641326"/>
                  </a:moveTo>
                  <a:lnTo>
                    <a:pt x="375488" y="641326"/>
                  </a:lnTo>
                  <a:lnTo>
                    <a:pt x="385051" y="641326"/>
                  </a:lnTo>
                  <a:lnTo>
                    <a:pt x="385051" y="641326"/>
                  </a:lnTo>
                  <a:lnTo>
                    <a:pt x="385051" y="641326"/>
                  </a:lnTo>
                  <a:close/>
                  <a:moveTo>
                    <a:pt x="309825" y="647701"/>
                  </a:moveTo>
                  <a:lnTo>
                    <a:pt x="307276" y="650251"/>
                  </a:lnTo>
                  <a:lnTo>
                    <a:pt x="307913" y="650889"/>
                  </a:lnTo>
                  <a:lnTo>
                    <a:pt x="309825" y="647701"/>
                  </a:lnTo>
                  <a:lnTo>
                    <a:pt x="309825" y="647701"/>
                  </a:lnTo>
                  <a:close/>
                  <a:moveTo>
                    <a:pt x="371026" y="642601"/>
                  </a:moveTo>
                  <a:lnTo>
                    <a:pt x="346801" y="642601"/>
                  </a:lnTo>
                  <a:lnTo>
                    <a:pt x="369751" y="643239"/>
                  </a:lnTo>
                  <a:lnTo>
                    <a:pt x="371026" y="642601"/>
                  </a:lnTo>
                  <a:close/>
                  <a:moveTo>
                    <a:pt x="102638" y="29963"/>
                  </a:moveTo>
                  <a:lnTo>
                    <a:pt x="102638" y="29963"/>
                  </a:lnTo>
                  <a:lnTo>
                    <a:pt x="75225" y="75862"/>
                  </a:lnTo>
                  <a:lnTo>
                    <a:pt x="77775" y="110288"/>
                  </a:lnTo>
                  <a:lnTo>
                    <a:pt x="41438" y="150450"/>
                  </a:lnTo>
                  <a:lnTo>
                    <a:pt x="51637" y="161925"/>
                  </a:lnTo>
                  <a:lnTo>
                    <a:pt x="27412" y="264563"/>
                  </a:lnTo>
                  <a:lnTo>
                    <a:pt x="38887" y="286238"/>
                  </a:lnTo>
                  <a:lnTo>
                    <a:pt x="32512" y="290700"/>
                  </a:lnTo>
                  <a:lnTo>
                    <a:pt x="33150" y="304726"/>
                  </a:lnTo>
                  <a:lnTo>
                    <a:pt x="33150" y="309188"/>
                  </a:lnTo>
                  <a:lnTo>
                    <a:pt x="47813" y="343613"/>
                  </a:lnTo>
                  <a:lnTo>
                    <a:pt x="46538" y="364651"/>
                  </a:lnTo>
                  <a:lnTo>
                    <a:pt x="70125" y="393976"/>
                  </a:lnTo>
                  <a:lnTo>
                    <a:pt x="21037" y="477488"/>
                  </a:lnTo>
                  <a:lnTo>
                    <a:pt x="13387" y="527851"/>
                  </a:lnTo>
                  <a:lnTo>
                    <a:pt x="0" y="547613"/>
                  </a:lnTo>
                  <a:lnTo>
                    <a:pt x="9563" y="570564"/>
                  </a:lnTo>
                  <a:lnTo>
                    <a:pt x="1275" y="578851"/>
                  </a:lnTo>
                  <a:lnTo>
                    <a:pt x="223125" y="554626"/>
                  </a:lnTo>
                  <a:lnTo>
                    <a:pt x="215475" y="585863"/>
                  </a:lnTo>
                  <a:lnTo>
                    <a:pt x="244163" y="640689"/>
                  </a:lnTo>
                  <a:lnTo>
                    <a:pt x="258825" y="659176"/>
                  </a:lnTo>
                  <a:lnTo>
                    <a:pt x="258825" y="658539"/>
                  </a:lnTo>
                  <a:lnTo>
                    <a:pt x="282413" y="631126"/>
                  </a:lnTo>
                  <a:lnTo>
                    <a:pt x="332776" y="619651"/>
                  </a:lnTo>
                  <a:lnTo>
                    <a:pt x="379313" y="624751"/>
                  </a:lnTo>
                  <a:lnTo>
                    <a:pt x="386326" y="615189"/>
                  </a:lnTo>
                  <a:lnTo>
                    <a:pt x="386326" y="615826"/>
                  </a:lnTo>
                  <a:lnTo>
                    <a:pt x="353176" y="418201"/>
                  </a:lnTo>
                  <a:lnTo>
                    <a:pt x="351901" y="274126"/>
                  </a:lnTo>
                  <a:lnTo>
                    <a:pt x="348076" y="10838"/>
                  </a:lnTo>
                  <a:lnTo>
                    <a:pt x="338513" y="5100"/>
                  </a:lnTo>
                  <a:lnTo>
                    <a:pt x="335963" y="0"/>
                  </a:lnTo>
                  <a:lnTo>
                    <a:pt x="334688" y="0"/>
                  </a:lnTo>
                  <a:lnTo>
                    <a:pt x="302176" y="4463"/>
                  </a:lnTo>
                  <a:lnTo>
                    <a:pt x="246075" y="12112"/>
                  </a:lnTo>
                  <a:lnTo>
                    <a:pt x="117938" y="28050"/>
                  </a:lnTo>
                  <a:lnTo>
                    <a:pt x="102638" y="29963"/>
                  </a:lnTo>
                  <a:lnTo>
                    <a:pt x="102638" y="299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68" name="Freeform 50">
              <a:extLst>
                <a:ext uri="{FF2B5EF4-FFF2-40B4-BE49-F238E27FC236}">
                  <a16:creationId xmlns:a16="http://schemas.microsoft.com/office/drawing/2014/main" id="{468734D0-29EF-46C4-1744-A031FB8EB66E}"/>
                </a:ext>
              </a:extLst>
            </p:cNvPr>
            <p:cNvSpPr/>
            <p:nvPr/>
          </p:nvSpPr>
          <p:spPr>
            <a:xfrm>
              <a:off x="6193517" y="2978387"/>
              <a:ext cx="538051" cy="408000"/>
            </a:xfrm>
            <a:custGeom>
              <a:avLst/>
              <a:gdLst>
                <a:gd name="connsiteX0" fmla="*/ 17850 w 538051"/>
                <a:gd name="connsiteY0" fmla="*/ 69488 h 408000"/>
                <a:gd name="connsiteX1" fmla="*/ 17850 w 538051"/>
                <a:gd name="connsiteY1" fmla="*/ 69488 h 408000"/>
                <a:gd name="connsiteX2" fmla="*/ 0 w 538051"/>
                <a:gd name="connsiteY2" fmla="*/ 104550 h 408000"/>
                <a:gd name="connsiteX3" fmla="*/ 3188 w 538051"/>
                <a:gd name="connsiteY3" fmla="*/ 117300 h 408000"/>
                <a:gd name="connsiteX4" fmla="*/ 61200 w 538051"/>
                <a:gd name="connsiteY4" fmla="*/ 141525 h 408000"/>
                <a:gd name="connsiteX5" fmla="*/ 91800 w 538051"/>
                <a:gd name="connsiteY5" fmla="*/ 179775 h 408000"/>
                <a:gd name="connsiteX6" fmla="*/ 215476 w 538051"/>
                <a:gd name="connsiteY6" fmla="*/ 283688 h 408000"/>
                <a:gd name="connsiteX7" fmla="*/ 244801 w 538051"/>
                <a:gd name="connsiteY7" fmla="*/ 297075 h 408000"/>
                <a:gd name="connsiteX8" fmla="*/ 297713 w 538051"/>
                <a:gd name="connsiteY8" fmla="*/ 372301 h 408000"/>
                <a:gd name="connsiteX9" fmla="*/ 335963 w 538051"/>
                <a:gd name="connsiteY9" fmla="*/ 408001 h 408000"/>
                <a:gd name="connsiteX10" fmla="*/ 335963 w 538051"/>
                <a:gd name="connsiteY10" fmla="*/ 408001 h 408000"/>
                <a:gd name="connsiteX11" fmla="*/ 342338 w 538051"/>
                <a:gd name="connsiteY11" fmla="*/ 378038 h 408000"/>
                <a:gd name="connsiteX12" fmla="*/ 331501 w 538051"/>
                <a:gd name="connsiteY12" fmla="*/ 349351 h 408000"/>
                <a:gd name="connsiteX13" fmla="*/ 359551 w 538051"/>
                <a:gd name="connsiteY13" fmla="*/ 369751 h 408000"/>
                <a:gd name="connsiteX14" fmla="*/ 374851 w 538051"/>
                <a:gd name="connsiteY14" fmla="*/ 357638 h 408000"/>
                <a:gd name="connsiteX15" fmla="*/ 348076 w 538051"/>
                <a:gd name="connsiteY15" fmla="*/ 335963 h 408000"/>
                <a:gd name="connsiteX16" fmla="*/ 380588 w 538051"/>
                <a:gd name="connsiteY16" fmla="*/ 334051 h 408000"/>
                <a:gd name="connsiteX17" fmla="*/ 430951 w 538051"/>
                <a:gd name="connsiteY17" fmla="*/ 291976 h 408000"/>
                <a:gd name="connsiteX18" fmla="*/ 425213 w 538051"/>
                <a:gd name="connsiteY18" fmla="*/ 280501 h 408000"/>
                <a:gd name="connsiteX19" fmla="*/ 456451 w 538051"/>
                <a:gd name="connsiteY19" fmla="*/ 256913 h 408000"/>
                <a:gd name="connsiteX20" fmla="*/ 453264 w 538051"/>
                <a:gd name="connsiteY20" fmla="*/ 245438 h 408000"/>
                <a:gd name="connsiteX21" fmla="*/ 475576 w 538051"/>
                <a:gd name="connsiteY21" fmla="*/ 231413 h 408000"/>
                <a:gd name="connsiteX22" fmla="*/ 476851 w 538051"/>
                <a:gd name="connsiteY22" fmla="*/ 198263 h 408000"/>
                <a:gd name="connsiteX23" fmla="*/ 511914 w 538051"/>
                <a:gd name="connsiteY23" fmla="*/ 132600 h 408000"/>
                <a:gd name="connsiteX24" fmla="*/ 535501 w 538051"/>
                <a:gd name="connsiteY24" fmla="*/ 102000 h 408000"/>
                <a:gd name="connsiteX25" fmla="*/ 538051 w 538051"/>
                <a:gd name="connsiteY25" fmla="*/ 100725 h 408000"/>
                <a:gd name="connsiteX26" fmla="*/ 395251 w 538051"/>
                <a:gd name="connsiteY26" fmla="*/ 10200 h 408000"/>
                <a:gd name="connsiteX27" fmla="*/ 341701 w 538051"/>
                <a:gd name="connsiteY27" fmla="*/ 21037 h 408000"/>
                <a:gd name="connsiteX28" fmla="*/ 269026 w 538051"/>
                <a:gd name="connsiteY28" fmla="*/ 18488 h 408000"/>
                <a:gd name="connsiteX29" fmla="*/ 233326 w 538051"/>
                <a:gd name="connsiteY29" fmla="*/ 0 h 408000"/>
                <a:gd name="connsiteX30" fmla="*/ 20400 w 538051"/>
                <a:gd name="connsiteY30" fmla="*/ 67575 h 408000"/>
                <a:gd name="connsiteX31" fmla="*/ 17850 w 538051"/>
                <a:gd name="connsiteY31" fmla="*/ 69488 h 408000"/>
                <a:gd name="connsiteX32" fmla="*/ 17850 w 538051"/>
                <a:gd name="connsiteY32" fmla="*/ 69488 h 4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8051" h="408000">
                  <a:moveTo>
                    <a:pt x="17850" y="69488"/>
                  </a:moveTo>
                  <a:lnTo>
                    <a:pt x="17850" y="69488"/>
                  </a:lnTo>
                  <a:lnTo>
                    <a:pt x="0" y="104550"/>
                  </a:lnTo>
                  <a:lnTo>
                    <a:pt x="3188" y="117300"/>
                  </a:lnTo>
                  <a:lnTo>
                    <a:pt x="61200" y="141525"/>
                  </a:lnTo>
                  <a:lnTo>
                    <a:pt x="91800" y="179775"/>
                  </a:lnTo>
                  <a:lnTo>
                    <a:pt x="215476" y="283688"/>
                  </a:lnTo>
                  <a:lnTo>
                    <a:pt x="244801" y="297075"/>
                  </a:lnTo>
                  <a:lnTo>
                    <a:pt x="297713" y="372301"/>
                  </a:lnTo>
                  <a:lnTo>
                    <a:pt x="335963" y="408001"/>
                  </a:lnTo>
                  <a:lnTo>
                    <a:pt x="335963" y="408001"/>
                  </a:lnTo>
                  <a:lnTo>
                    <a:pt x="342338" y="378038"/>
                  </a:lnTo>
                  <a:lnTo>
                    <a:pt x="331501" y="349351"/>
                  </a:lnTo>
                  <a:lnTo>
                    <a:pt x="359551" y="369751"/>
                  </a:lnTo>
                  <a:lnTo>
                    <a:pt x="374851" y="357638"/>
                  </a:lnTo>
                  <a:lnTo>
                    <a:pt x="348076" y="335963"/>
                  </a:lnTo>
                  <a:lnTo>
                    <a:pt x="380588" y="334051"/>
                  </a:lnTo>
                  <a:lnTo>
                    <a:pt x="430951" y="291976"/>
                  </a:lnTo>
                  <a:lnTo>
                    <a:pt x="425213" y="280501"/>
                  </a:lnTo>
                  <a:lnTo>
                    <a:pt x="456451" y="256913"/>
                  </a:lnTo>
                  <a:lnTo>
                    <a:pt x="453264" y="245438"/>
                  </a:lnTo>
                  <a:lnTo>
                    <a:pt x="475576" y="231413"/>
                  </a:lnTo>
                  <a:lnTo>
                    <a:pt x="476851" y="198263"/>
                  </a:lnTo>
                  <a:lnTo>
                    <a:pt x="511914" y="132600"/>
                  </a:lnTo>
                  <a:lnTo>
                    <a:pt x="535501" y="102000"/>
                  </a:lnTo>
                  <a:lnTo>
                    <a:pt x="538051" y="100725"/>
                  </a:lnTo>
                  <a:lnTo>
                    <a:pt x="395251" y="10200"/>
                  </a:lnTo>
                  <a:lnTo>
                    <a:pt x="341701" y="21037"/>
                  </a:lnTo>
                  <a:lnTo>
                    <a:pt x="269026" y="18488"/>
                  </a:lnTo>
                  <a:lnTo>
                    <a:pt x="233326" y="0"/>
                  </a:lnTo>
                  <a:lnTo>
                    <a:pt x="20400" y="67575"/>
                  </a:lnTo>
                  <a:lnTo>
                    <a:pt x="17850" y="69488"/>
                  </a:lnTo>
                  <a:lnTo>
                    <a:pt x="17850" y="69488"/>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70" name="Freeform 52">
              <a:extLst>
                <a:ext uri="{FF2B5EF4-FFF2-40B4-BE49-F238E27FC236}">
                  <a16:creationId xmlns:a16="http://schemas.microsoft.com/office/drawing/2014/main" id="{3BD5F57C-7FC2-42BB-8D8B-492636AC8142}"/>
                </a:ext>
              </a:extLst>
            </p:cNvPr>
            <p:cNvSpPr/>
            <p:nvPr/>
          </p:nvSpPr>
          <p:spPr>
            <a:xfrm>
              <a:off x="5605104" y="2185973"/>
              <a:ext cx="335963" cy="580126"/>
            </a:xfrm>
            <a:custGeom>
              <a:avLst/>
              <a:gdLst>
                <a:gd name="connsiteX0" fmla="*/ 267751 w 335963"/>
                <a:gd name="connsiteY0" fmla="*/ 0 h 580126"/>
                <a:gd name="connsiteX1" fmla="*/ 168938 w 335963"/>
                <a:gd name="connsiteY1" fmla="*/ 17212 h 580126"/>
                <a:gd name="connsiteX2" fmla="*/ 146625 w 335963"/>
                <a:gd name="connsiteY2" fmla="*/ 21675 h 580126"/>
                <a:gd name="connsiteX3" fmla="*/ 66938 w 335963"/>
                <a:gd name="connsiteY3" fmla="*/ 34425 h 580126"/>
                <a:gd name="connsiteX4" fmla="*/ 50363 w 335963"/>
                <a:gd name="connsiteY4" fmla="*/ 47813 h 580126"/>
                <a:gd name="connsiteX5" fmla="*/ 25500 w 335963"/>
                <a:gd name="connsiteY5" fmla="*/ 59288 h 580126"/>
                <a:gd name="connsiteX6" fmla="*/ 15300 w 335963"/>
                <a:gd name="connsiteY6" fmla="*/ 58650 h 580126"/>
                <a:gd name="connsiteX7" fmla="*/ 3825 w 335963"/>
                <a:gd name="connsiteY7" fmla="*/ 52913 h 580126"/>
                <a:gd name="connsiteX8" fmla="*/ 0 w 335963"/>
                <a:gd name="connsiteY8" fmla="*/ 49087 h 580126"/>
                <a:gd name="connsiteX9" fmla="*/ 45263 w 335963"/>
                <a:gd name="connsiteY9" fmla="*/ 365926 h 580126"/>
                <a:gd name="connsiteX10" fmla="*/ 35700 w 335963"/>
                <a:gd name="connsiteY10" fmla="*/ 399713 h 580126"/>
                <a:gd name="connsiteX11" fmla="*/ 51638 w 335963"/>
                <a:gd name="connsiteY11" fmla="*/ 430313 h 580126"/>
                <a:gd name="connsiteX12" fmla="*/ 56738 w 335963"/>
                <a:gd name="connsiteY12" fmla="*/ 455176 h 580126"/>
                <a:gd name="connsiteX13" fmla="*/ 32513 w 335963"/>
                <a:gd name="connsiteY13" fmla="*/ 511913 h 580126"/>
                <a:gd name="connsiteX14" fmla="*/ 18488 w 335963"/>
                <a:gd name="connsiteY14" fmla="*/ 522751 h 580126"/>
                <a:gd name="connsiteX15" fmla="*/ 17850 w 335963"/>
                <a:gd name="connsiteY15" fmla="*/ 579489 h 580126"/>
                <a:gd name="connsiteX16" fmla="*/ 20400 w 335963"/>
                <a:gd name="connsiteY16" fmla="*/ 580126 h 580126"/>
                <a:gd name="connsiteX17" fmla="*/ 22950 w 335963"/>
                <a:gd name="connsiteY17" fmla="*/ 579489 h 580126"/>
                <a:gd name="connsiteX18" fmla="*/ 33150 w 335963"/>
                <a:gd name="connsiteY18" fmla="*/ 561638 h 580126"/>
                <a:gd name="connsiteX19" fmla="*/ 56738 w 335963"/>
                <a:gd name="connsiteY19" fmla="*/ 561638 h 580126"/>
                <a:gd name="connsiteX20" fmla="*/ 86063 w 335963"/>
                <a:gd name="connsiteY20" fmla="*/ 551439 h 580126"/>
                <a:gd name="connsiteX21" fmla="*/ 121763 w 335963"/>
                <a:gd name="connsiteY21" fmla="*/ 564826 h 580126"/>
                <a:gd name="connsiteX22" fmla="*/ 125588 w 335963"/>
                <a:gd name="connsiteY22" fmla="*/ 550164 h 580126"/>
                <a:gd name="connsiteX23" fmla="*/ 145988 w 335963"/>
                <a:gd name="connsiteY23" fmla="*/ 534864 h 580126"/>
                <a:gd name="connsiteX24" fmla="*/ 177225 w 335963"/>
                <a:gd name="connsiteY24" fmla="*/ 539326 h 580126"/>
                <a:gd name="connsiteX25" fmla="*/ 193801 w 335963"/>
                <a:gd name="connsiteY25" fmla="*/ 506176 h 580126"/>
                <a:gd name="connsiteX26" fmla="*/ 239701 w 335963"/>
                <a:gd name="connsiteY26" fmla="*/ 510001 h 580126"/>
                <a:gd name="connsiteX27" fmla="*/ 239063 w 335963"/>
                <a:gd name="connsiteY27" fmla="*/ 491513 h 580126"/>
                <a:gd name="connsiteX28" fmla="*/ 279225 w 335963"/>
                <a:gd name="connsiteY28" fmla="*/ 437963 h 580126"/>
                <a:gd name="connsiteX29" fmla="*/ 272850 w 335963"/>
                <a:gd name="connsiteY29" fmla="*/ 413738 h 580126"/>
                <a:gd name="connsiteX30" fmla="*/ 301538 w 335963"/>
                <a:gd name="connsiteY30" fmla="*/ 413101 h 580126"/>
                <a:gd name="connsiteX31" fmla="*/ 335963 w 335963"/>
                <a:gd name="connsiteY31" fmla="*/ 385051 h 580126"/>
                <a:gd name="connsiteX32" fmla="*/ 327676 w 335963"/>
                <a:gd name="connsiteY32" fmla="*/ 353176 h 580126"/>
                <a:gd name="connsiteX33" fmla="*/ 328951 w 335963"/>
                <a:gd name="connsiteY33" fmla="*/ 351901 h 580126"/>
                <a:gd name="connsiteX34" fmla="*/ 327676 w 335963"/>
                <a:gd name="connsiteY34" fmla="*/ 340426 h 580126"/>
                <a:gd name="connsiteX35" fmla="*/ 289426 w 335963"/>
                <a:gd name="connsiteY35" fmla="*/ 112838 h 580126"/>
                <a:gd name="connsiteX36" fmla="*/ 272213 w 335963"/>
                <a:gd name="connsiteY36" fmla="*/ 15300 h 580126"/>
                <a:gd name="connsiteX37" fmla="*/ 270301 w 335963"/>
                <a:gd name="connsiteY37" fmla="*/ 4462 h 580126"/>
                <a:gd name="connsiteX38" fmla="*/ 267751 w 335963"/>
                <a:gd name="connsiteY38" fmla="*/ 0 h 580126"/>
                <a:gd name="connsiteX39" fmla="*/ 267751 w 335963"/>
                <a:gd name="connsiteY39" fmla="*/ 0 h 5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5963" h="580126">
                  <a:moveTo>
                    <a:pt x="267751" y="0"/>
                  </a:moveTo>
                  <a:lnTo>
                    <a:pt x="168938" y="17212"/>
                  </a:lnTo>
                  <a:lnTo>
                    <a:pt x="146625" y="21675"/>
                  </a:lnTo>
                  <a:lnTo>
                    <a:pt x="66938" y="34425"/>
                  </a:lnTo>
                  <a:lnTo>
                    <a:pt x="50363" y="47813"/>
                  </a:lnTo>
                  <a:lnTo>
                    <a:pt x="25500" y="59288"/>
                  </a:lnTo>
                  <a:lnTo>
                    <a:pt x="15300" y="58650"/>
                  </a:lnTo>
                  <a:lnTo>
                    <a:pt x="3825" y="52913"/>
                  </a:lnTo>
                  <a:lnTo>
                    <a:pt x="0" y="49087"/>
                  </a:lnTo>
                  <a:lnTo>
                    <a:pt x="45263" y="365926"/>
                  </a:lnTo>
                  <a:lnTo>
                    <a:pt x="35700" y="399713"/>
                  </a:lnTo>
                  <a:lnTo>
                    <a:pt x="51638" y="430313"/>
                  </a:lnTo>
                  <a:lnTo>
                    <a:pt x="56738" y="455176"/>
                  </a:lnTo>
                  <a:lnTo>
                    <a:pt x="32513" y="511913"/>
                  </a:lnTo>
                  <a:lnTo>
                    <a:pt x="18488" y="522751"/>
                  </a:lnTo>
                  <a:lnTo>
                    <a:pt x="17850" y="579489"/>
                  </a:lnTo>
                  <a:lnTo>
                    <a:pt x="20400" y="580126"/>
                  </a:lnTo>
                  <a:lnTo>
                    <a:pt x="22950" y="579489"/>
                  </a:lnTo>
                  <a:lnTo>
                    <a:pt x="33150" y="561638"/>
                  </a:lnTo>
                  <a:lnTo>
                    <a:pt x="56738" y="561638"/>
                  </a:lnTo>
                  <a:lnTo>
                    <a:pt x="86063" y="551439"/>
                  </a:lnTo>
                  <a:lnTo>
                    <a:pt x="121763" y="564826"/>
                  </a:lnTo>
                  <a:lnTo>
                    <a:pt x="125588" y="550164"/>
                  </a:lnTo>
                  <a:lnTo>
                    <a:pt x="145988" y="534864"/>
                  </a:lnTo>
                  <a:lnTo>
                    <a:pt x="177225" y="539326"/>
                  </a:lnTo>
                  <a:lnTo>
                    <a:pt x="193801" y="506176"/>
                  </a:lnTo>
                  <a:lnTo>
                    <a:pt x="239701" y="510001"/>
                  </a:lnTo>
                  <a:lnTo>
                    <a:pt x="239063" y="491513"/>
                  </a:lnTo>
                  <a:lnTo>
                    <a:pt x="279225" y="437963"/>
                  </a:lnTo>
                  <a:lnTo>
                    <a:pt x="272850" y="413738"/>
                  </a:lnTo>
                  <a:lnTo>
                    <a:pt x="301538" y="413101"/>
                  </a:lnTo>
                  <a:lnTo>
                    <a:pt x="335963" y="385051"/>
                  </a:lnTo>
                  <a:lnTo>
                    <a:pt x="327676" y="353176"/>
                  </a:lnTo>
                  <a:lnTo>
                    <a:pt x="328951" y="351901"/>
                  </a:lnTo>
                  <a:lnTo>
                    <a:pt x="327676" y="340426"/>
                  </a:lnTo>
                  <a:lnTo>
                    <a:pt x="289426" y="112838"/>
                  </a:lnTo>
                  <a:lnTo>
                    <a:pt x="272213" y="15300"/>
                  </a:lnTo>
                  <a:lnTo>
                    <a:pt x="270301" y="4462"/>
                  </a:lnTo>
                  <a:lnTo>
                    <a:pt x="267751" y="0"/>
                  </a:lnTo>
                  <a:lnTo>
                    <a:pt x="267751"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71" name="Freeform 53">
              <a:extLst>
                <a:ext uri="{FF2B5EF4-FFF2-40B4-BE49-F238E27FC236}">
                  <a16:creationId xmlns:a16="http://schemas.microsoft.com/office/drawing/2014/main" id="{8A99FA12-EBC3-D624-6DCF-ACDDAA4E8A9F}"/>
                </a:ext>
              </a:extLst>
            </p:cNvPr>
            <p:cNvSpPr/>
            <p:nvPr/>
          </p:nvSpPr>
          <p:spPr>
            <a:xfrm>
              <a:off x="5486529" y="2533411"/>
              <a:ext cx="781576" cy="430313"/>
            </a:xfrm>
            <a:custGeom>
              <a:avLst/>
              <a:gdLst>
                <a:gd name="connsiteX0" fmla="*/ 8287 w 781576"/>
                <a:gd name="connsiteY0" fmla="*/ 426488 h 430313"/>
                <a:gd name="connsiteX1" fmla="*/ 6375 w 781576"/>
                <a:gd name="connsiteY1" fmla="*/ 421388 h 430313"/>
                <a:gd name="connsiteX2" fmla="*/ 2550 w 781576"/>
                <a:gd name="connsiteY2" fmla="*/ 420113 h 430313"/>
                <a:gd name="connsiteX3" fmla="*/ 0 w 781576"/>
                <a:gd name="connsiteY3" fmla="*/ 428401 h 430313"/>
                <a:gd name="connsiteX4" fmla="*/ 637 w 781576"/>
                <a:gd name="connsiteY4" fmla="*/ 429038 h 430313"/>
                <a:gd name="connsiteX5" fmla="*/ 7650 w 781576"/>
                <a:gd name="connsiteY5" fmla="*/ 428401 h 430313"/>
                <a:gd name="connsiteX6" fmla="*/ 8287 w 781576"/>
                <a:gd name="connsiteY6" fmla="*/ 426488 h 430313"/>
                <a:gd name="connsiteX7" fmla="*/ 8287 w 781576"/>
                <a:gd name="connsiteY7" fmla="*/ 426488 h 430313"/>
                <a:gd name="connsiteX8" fmla="*/ 447526 w 781576"/>
                <a:gd name="connsiteY8" fmla="*/ 6375 h 430313"/>
                <a:gd name="connsiteX9" fmla="*/ 446251 w 781576"/>
                <a:gd name="connsiteY9" fmla="*/ 7650 h 430313"/>
                <a:gd name="connsiteX10" fmla="*/ 454538 w 781576"/>
                <a:gd name="connsiteY10" fmla="*/ 39525 h 430313"/>
                <a:gd name="connsiteX11" fmla="*/ 420113 w 781576"/>
                <a:gd name="connsiteY11" fmla="*/ 67575 h 430313"/>
                <a:gd name="connsiteX12" fmla="*/ 391426 w 781576"/>
                <a:gd name="connsiteY12" fmla="*/ 68213 h 430313"/>
                <a:gd name="connsiteX13" fmla="*/ 397801 w 781576"/>
                <a:gd name="connsiteY13" fmla="*/ 92438 h 430313"/>
                <a:gd name="connsiteX14" fmla="*/ 357638 w 781576"/>
                <a:gd name="connsiteY14" fmla="*/ 145988 h 430313"/>
                <a:gd name="connsiteX15" fmla="*/ 358276 w 781576"/>
                <a:gd name="connsiteY15" fmla="*/ 164475 h 430313"/>
                <a:gd name="connsiteX16" fmla="*/ 312376 w 781576"/>
                <a:gd name="connsiteY16" fmla="*/ 160650 h 430313"/>
                <a:gd name="connsiteX17" fmla="*/ 295800 w 781576"/>
                <a:gd name="connsiteY17" fmla="*/ 193800 h 430313"/>
                <a:gd name="connsiteX18" fmla="*/ 264563 w 781576"/>
                <a:gd name="connsiteY18" fmla="*/ 189338 h 430313"/>
                <a:gd name="connsiteX19" fmla="*/ 244163 w 781576"/>
                <a:gd name="connsiteY19" fmla="*/ 204638 h 430313"/>
                <a:gd name="connsiteX20" fmla="*/ 240338 w 781576"/>
                <a:gd name="connsiteY20" fmla="*/ 219300 h 430313"/>
                <a:gd name="connsiteX21" fmla="*/ 204638 w 781576"/>
                <a:gd name="connsiteY21" fmla="*/ 205913 h 430313"/>
                <a:gd name="connsiteX22" fmla="*/ 175313 w 781576"/>
                <a:gd name="connsiteY22" fmla="*/ 216113 h 430313"/>
                <a:gd name="connsiteX23" fmla="*/ 151725 w 781576"/>
                <a:gd name="connsiteY23" fmla="*/ 216113 h 430313"/>
                <a:gd name="connsiteX24" fmla="*/ 141525 w 781576"/>
                <a:gd name="connsiteY24" fmla="*/ 233963 h 430313"/>
                <a:gd name="connsiteX25" fmla="*/ 138975 w 781576"/>
                <a:gd name="connsiteY25" fmla="*/ 234600 h 430313"/>
                <a:gd name="connsiteX26" fmla="*/ 138975 w 781576"/>
                <a:gd name="connsiteY26" fmla="*/ 236513 h 430313"/>
                <a:gd name="connsiteX27" fmla="*/ 128775 w 781576"/>
                <a:gd name="connsiteY27" fmla="*/ 258188 h 430313"/>
                <a:gd name="connsiteX28" fmla="*/ 140250 w 781576"/>
                <a:gd name="connsiteY28" fmla="*/ 273488 h 430313"/>
                <a:gd name="connsiteX29" fmla="*/ 100088 w 781576"/>
                <a:gd name="connsiteY29" fmla="*/ 297075 h 430313"/>
                <a:gd name="connsiteX30" fmla="*/ 110288 w 781576"/>
                <a:gd name="connsiteY30" fmla="*/ 325763 h 430313"/>
                <a:gd name="connsiteX31" fmla="*/ 98175 w 781576"/>
                <a:gd name="connsiteY31" fmla="*/ 339788 h 430313"/>
                <a:gd name="connsiteX32" fmla="*/ 48450 w 781576"/>
                <a:gd name="connsiteY32" fmla="*/ 326401 h 430313"/>
                <a:gd name="connsiteX33" fmla="*/ 35700 w 781576"/>
                <a:gd name="connsiteY33" fmla="*/ 357001 h 430313"/>
                <a:gd name="connsiteX34" fmla="*/ 39525 w 781576"/>
                <a:gd name="connsiteY34" fmla="*/ 360826 h 430313"/>
                <a:gd name="connsiteX35" fmla="*/ 40800 w 781576"/>
                <a:gd name="connsiteY35" fmla="*/ 363376 h 430313"/>
                <a:gd name="connsiteX36" fmla="*/ 35063 w 781576"/>
                <a:gd name="connsiteY36" fmla="*/ 416288 h 430313"/>
                <a:gd name="connsiteX37" fmla="*/ 32512 w 781576"/>
                <a:gd name="connsiteY37" fmla="*/ 417563 h 430313"/>
                <a:gd name="connsiteX38" fmla="*/ 15938 w 781576"/>
                <a:gd name="connsiteY38" fmla="*/ 428401 h 430313"/>
                <a:gd name="connsiteX39" fmla="*/ 15300 w 781576"/>
                <a:gd name="connsiteY39" fmla="*/ 430313 h 430313"/>
                <a:gd name="connsiteX40" fmla="*/ 33787 w 781576"/>
                <a:gd name="connsiteY40" fmla="*/ 427763 h 430313"/>
                <a:gd name="connsiteX41" fmla="*/ 163200 w 781576"/>
                <a:gd name="connsiteY41" fmla="*/ 410551 h 430313"/>
                <a:gd name="connsiteX42" fmla="*/ 156825 w 781576"/>
                <a:gd name="connsiteY42" fmla="*/ 385051 h 430313"/>
                <a:gd name="connsiteX43" fmla="*/ 178500 w 781576"/>
                <a:gd name="connsiteY43" fmla="*/ 384413 h 430313"/>
                <a:gd name="connsiteX44" fmla="*/ 439876 w 781576"/>
                <a:gd name="connsiteY44" fmla="*/ 349988 h 430313"/>
                <a:gd name="connsiteX45" fmla="*/ 624114 w 781576"/>
                <a:gd name="connsiteY45" fmla="*/ 318751 h 430313"/>
                <a:gd name="connsiteX46" fmla="*/ 626664 w 781576"/>
                <a:gd name="connsiteY46" fmla="*/ 316838 h 430313"/>
                <a:gd name="connsiteX47" fmla="*/ 631126 w 781576"/>
                <a:gd name="connsiteY47" fmla="*/ 311738 h 430313"/>
                <a:gd name="connsiteX48" fmla="*/ 679576 w 781576"/>
                <a:gd name="connsiteY48" fmla="*/ 286238 h 430313"/>
                <a:gd name="connsiteX49" fmla="*/ 716551 w 781576"/>
                <a:gd name="connsiteY49" fmla="*/ 237150 h 430313"/>
                <a:gd name="connsiteX50" fmla="*/ 721652 w 781576"/>
                <a:gd name="connsiteY50" fmla="*/ 220575 h 430313"/>
                <a:gd name="connsiteX51" fmla="*/ 745877 w 781576"/>
                <a:gd name="connsiteY51" fmla="*/ 201450 h 430313"/>
                <a:gd name="connsiteX52" fmla="*/ 777114 w 781576"/>
                <a:gd name="connsiteY52" fmla="*/ 162563 h 430313"/>
                <a:gd name="connsiteX53" fmla="*/ 781576 w 781576"/>
                <a:gd name="connsiteY53" fmla="*/ 156188 h 430313"/>
                <a:gd name="connsiteX54" fmla="*/ 779664 w 781576"/>
                <a:gd name="connsiteY54" fmla="*/ 155550 h 430313"/>
                <a:gd name="connsiteX55" fmla="*/ 763726 w 781576"/>
                <a:gd name="connsiteY55" fmla="*/ 155550 h 430313"/>
                <a:gd name="connsiteX56" fmla="*/ 743326 w 781576"/>
                <a:gd name="connsiteY56" fmla="*/ 144075 h 430313"/>
                <a:gd name="connsiteX57" fmla="*/ 706989 w 781576"/>
                <a:gd name="connsiteY57" fmla="*/ 99450 h 430313"/>
                <a:gd name="connsiteX58" fmla="*/ 694239 w 781576"/>
                <a:gd name="connsiteY58" fmla="*/ 54188 h 430313"/>
                <a:gd name="connsiteX59" fmla="*/ 694239 w 781576"/>
                <a:gd name="connsiteY59" fmla="*/ 52913 h 430313"/>
                <a:gd name="connsiteX60" fmla="*/ 692964 w 781576"/>
                <a:gd name="connsiteY60" fmla="*/ 51637 h 430313"/>
                <a:gd name="connsiteX61" fmla="*/ 665551 w 781576"/>
                <a:gd name="connsiteY61" fmla="*/ 36337 h 430313"/>
                <a:gd name="connsiteX62" fmla="*/ 653439 w 781576"/>
                <a:gd name="connsiteY62" fmla="*/ 15938 h 430313"/>
                <a:gd name="connsiteX63" fmla="*/ 629214 w 781576"/>
                <a:gd name="connsiteY63" fmla="*/ 39525 h 430313"/>
                <a:gd name="connsiteX64" fmla="*/ 613914 w 781576"/>
                <a:gd name="connsiteY64" fmla="*/ 43350 h 430313"/>
                <a:gd name="connsiteX65" fmla="*/ 594789 w 781576"/>
                <a:gd name="connsiteY65" fmla="*/ 35700 h 430313"/>
                <a:gd name="connsiteX66" fmla="*/ 578214 w 781576"/>
                <a:gd name="connsiteY66" fmla="*/ 48450 h 430313"/>
                <a:gd name="connsiteX67" fmla="*/ 543789 w 781576"/>
                <a:gd name="connsiteY67" fmla="*/ 33150 h 430313"/>
                <a:gd name="connsiteX68" fmla="*/ 534226 w 781576"/>
                <a:gd name="connsiteY68" fmla="*/ 36975 h 430313"/>
                <a:gd name="connsiteX69" fmla="*/ 501076 w 781576"/>
                <a:gd name="connsiteY69" fmla="*/ 8287 h 430313"/>
                <a:gd name="connsiteX70" fmla="*/ 484501 w 781576"/>
                <a:gd name="connsiteY70" fmla="*/ 0 h 430313"/>
                <a:gd name="connsiteX71" fmla="*/ 452626 w 781576"/>
                <a:gd name="connsiteY71" fmla="*/ 3825 h 430313"/>
                <a:gd name="connsiteX72" fmla="*/ 447526 w 781576"/>
                <a:gd name="connsiteY72" fmla="*/ 6375 h 430313"/>
                <a:gd name="connsiteX73" fmla="*/ 447526 w 781576"/>
                <a:gd name="connsiteY73" fmla="*/ 6375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81576" h="430313">
                  <a:moveTo>
                    <a:pt x="8287" y="426488"/>
                  </a:moveTo>
                  <a:lnTo>
                    <a:pt x="6375" y="421388"/>
                  </a:lnTo>
                  <a:lnTo>
                    <a:pt x="2550" y="420113"/>
                  </a:lnTo>
                  <a:lnTo>
                    <a:pt x="0" y="428401"/>
                  </a:lnTo>
                  <a:lnTo>
                    <a:pt x="637" y="429038"/>
                  </a:lnTo>
                  <a:lnTo>
                    <a:pt x="7650" y="428401"/>
                  </a:lnTo>
                  <a:lnTo>
                    <a:pt x="8287" y="426488"/>
                  </a:lnTo>
                  <a:lnTo>
                    <a:pt x="8287" y="426488"/>
                  </a:lnTo>
                  <a:close/>
                  <a:moveTo>
                    <a:pt x="447526" y="6375"/>
                  </a:moveTo>
                  <a:lnTo>
                    <a:pt x="446251" y="7650"/>
                  </a:lnTo>
                  <a:lnTo>
                    <a:pt x="454538" y="39525"/>
                  </a:lnTo>
                  <a:lnTo>
                    <a:pt x="420113" y="67575"/>
                  </a:lnTo>
                  <a:lnTo>
                    <a:pt x="391426" y="68213"/>
                  </a:lnTo>
                  <a:lnTo>
                    <a:pt x="397801" y="92438"/>
                  </a:lnTo>
                  <a:lnTo>
                    <a:pt x="357638" y="145988"/>
                  </a:lnTo>
                  <a:lnTo>
                    <a:pt x="358276" y="164475"/>
                  </a:lnTo>
                  <a:lnTo>
                    <a:pt x="312376" y="160650"/>
                  </a:lnTo>
                  <a:lnTo>
                    <a:pt x="295800" y="193800"/>
                  </a:lnTo>
                  <a:lnTo>
                    <a:pt x="264563" y="189338"/>
                  </a:lnTo>
                  <a:lnTo>
                    <a:pt x="244163" y="204638"/>
                  </a:lnTo>
                  <a:lnTo>
                    <a:pt x="240338" y="219300"/>
                  </a:lnTo>
                  <a:lnTo>
                    <a:pt x="204638" y="205913"/>
                  </a:lnTo>
                  <a:lnTo>
                    <a:pt x="175313" y="216113"/>
                  </a:lnTo>
                  <a:lnTo>
                    <a:pt x="151725" y="216113"/>
                  </a:lnTo>
                  <a:lnTo>
                    <a:pt x="141525" y="233963"/>
                  </a:lnTo>
                  <a:lnTo>
                    <a:pt x="138975" y="234600"/>
                  </a:lnTo>
                  <a:lnTo>
                    <a:pt x="138975" y="236513"/>
                  </a:lnTo>
                  <a:lnTo>
                    <a:pt x="128775" y="258188"/>
                  </a:lnTo>
                  <a:lnTo>
                    <a:pt x="140250" y="273488"/>
                  </a:lnTo>
                  <a:lnTo>
                    <a:pt x="100088" y="297075"/>
                  </a:lnTo>
                  <a:lnTo>
                    <a:pt x="110288" y="325763"/>
                  </a:lnTo>
                  <a:lnTo>
                    <a:pt x="98175" y="339788"/>
                  </a:lnTo>
                  <a:lnTo>
                    <a:pt x="48450" y="326401"/>
                  </a:lnTo>
                  <a:lnTo>
                    <a:pt x="35700" y="357001"/>
                  </a:lnTo>
                  <a:lnTo>
                    <a:pt x="39525" y="360826"/>
                  </a:lnTo>
                  <a:lnTo>
                    <a:pt x="40800" y="363376"/>
                  </a:lnTo>
                  <a:lnTo>
                    <a:pt x="35063" y="416288"/>
                  </a:lnTo>
                  <a:lnTo>
                    <a:pt x="32512" y="417563"/>
                  </a:lnTo>
                  <a:lnTo>
                    <a:pt x="15938" y="428401"/>
                  </a:lnTo>
                  <a:lnTo>
                    <a:pt x="15300" y="430313"/>
                  </a:lnTo>
                  <a:lnTo>
                    <a:pt x="33787" y="427763"/>
                  </a:lnTo>
                  <a:lnTo>
                    <a:pt x="163200" y="410551"/>
                  </a:lnTo>
                  <a:lnTo>
                    <a:pt x="156825" y="385051"/>
                  </a:lnTo>
                  <a:lnTo>
                    <a:pt x="178500" y="384413"/>
                  </a:lnTo>
                  <a:lnTo>
                    <a:pt x="439876" y="349988"/>
                  </a:lnTo>
                  <a:lnTo>
                    <a:pt x="624114" y="318751"/>
                  </a:lnTo>
                  <a:lnTo>
                    <a:pt x="626664" y="316838"/>
                  </a:lnTo>
                  <a:lnTo>
                    <a:pt x="631126" y="311738"/>
                  </a:lnTo>
                  <a:lnTo>
                    <a:pt x="679576" y="286238"/>
                  </a:lnTo>
                  <a:lnTo>
                    <a:pt x="716551" y="237150"/>
                  </a:lnTo>
                  <a:lnTo>
                    <a:pt x="721652" y="220575"/>
                  </a:lnTo>
                  <a:lnTo>
                    <a:pt x="745877" y="201450"/>
                  </a:lnTo>
                  <a:lnTo>
                    <a:pt x="777114" y="162563"/>
                  </a:lnTo>
                  <a:lnTo>
                    <a:pt x="781576" y="156188"/>
                  </a:lnTo>
                  <a:lnTo>
                    <a:pt x="779664" y="155550"/>
                  </a:lnTo>
                  <a:lnTo>
                    <a:pt x="763726" y="155550"/>
                  </a:lnTo>
                  <a:lnTo>
                    <a:pt x="743326" y="144075"/>
                  </a:lnTo>
                  <a:lnTo>
                    <a:pt x="706989" y="99450"/>
                  </a:lnTo>
                  <a:lnTo>
                    <a:pt x="694239" y="54188"/>
                  </a:lnTo>
                  <a:lnTo>
                    <a:pt x="694239" y="52913"/>
                  </a:lnTo>
                  <a:lnTo>
                    <a:pt x="692964" y="51637"/>
                  </a:lnTo>
                  <a:lnTo>
                    <a:pt x="665551" y="36337"/>
                  </a:lnTo>
                  <a:lnTo>
                    <a:pt x="653439" y="15938"/>
                  </a:lnTo>
                  <a:lnTo>
                    <a:pt x="629214" y="39525"/>
                  </a:lnTo>
                  <a:lnTo>
                    <a:pt x="613914" y="43350"/>
                  </a:lnTo>
                  <a:lnTo>
                    <a:pt x="594789" y="35700"/>
                  </a:lnTo>
                  <a:lnTo>
                    <a:pt x="578214" y="48450"/>
                  </a:lnTo>
                  <a:lnTo>
                    <a:pt x="543789" y="33150"/>
                  </a:lnTo>
                  <a:lnTo>
                    <a:pt x="534226" y="36975"/>
                  </a:lnTo>
                  <a:lnTo>
                    <a:pt x="501076" y="8287"/>
                  </a:lnTo>
                  <a:lnTo>
                    <a:pt x="484501" y="0"/>
                  </a:lnTo>
                  <a:lnTo>
                    <a:pt x="452626" y="3825"/>
                  </a:lnTo>
                  <a:lnTo>
                    <a:pt x="447526" y="6375"/>
                  </a:lnTo>
                  <a:lnTo>
                    <a:pt x="447526" y="6375"/>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72" name="Freeform 54">
              <a:extLst>
                <a:ext uri="{FF2B5EF4-FFF2-40B4-BE49-F238E27FC236}">
                  <a16:creationId xmlns:a16="http://schemas.microsoft.com/office/drawing/2014/main" id="{DBD9647C-CBF9-E297-EDF0-14FADBCE2205}"/>
                </a:ext>
              </a:extLst>
            </p:cNvPr>
            <p:cNvSpPr/>
            <p:nvPr/>
          </p:nvSpPr>
          <p:spPr>
            <a:xfrm>
              <a:off x="6080680" y="2651987"/>
              <a:ext cx="928201" cy="430313"/>
            </a:xfrm>
            <a:custGeom>
              <a:avLst/>
              <a:gdLst>
                <a:gd name="connsiteX0" fmla="*/ 717826 w 928201"/>
                <a:gd name="connsiteY0" fmla="*/ 407363 h 430313"/>
                <a:gd name="connsiteX1" fmla="*/ 710814 w 928201"/>
                <a:gd name="connsiteY1" fmla="*/ 414376 h 430313"/>
                <a:gd name="connsiteX2" fmla="*/ 712089 w 928201"/>
                <a:gd name="connsiteY2" fmla="*/ 415651 h 430313"/>
                <a:gd name="connsiteX3" fmla="*/ 717826 w 928201"/>
                <a:gd name="connsiteY3" fmla="*/ 407363 h 430313"/>
                <a:gd name="connsiteX4" fmla="*/ 717826 w 928201"/>
                <a:gd name="connsiteY4" fmla="*/ 407363 h 430313"/>
                <a:gd name="connsiteX5" fmla="*/ 722926 w 928201"/>
                <a:gd name="connsiteY5" fmla="*/ 370388 h 430313"/>
                <a:gd name="connsiteX6" fmla="*/ 719739 w 928201"/>
                <a:gd name="connsiteY6" fmla="*/ 375488 h 430313"/>
                <a:gd name="connsiteX7" fmla="*/ 721014 w 928201"/>
                <a:gd name="connsiteY7" fmla="*/ 380588 h 430313"/>
                <a:gd name="connsiteX8" fmla="*/ 722926 w 928201"/>
                <a:gd name="connsiteY8" fmla="*/ 370388 h 430313"/>
                <a:gd name="connsiteX9" fmla="*/ 722926 w 928201"/>
                <a:gd name="connsiteY9" fmla="*/ 370388 h 430313"/>
                <a:gd name="connsiteX10" fmla="*/ 761814 w 928201"/>
                <a:gd name="connsiteY10" fmla="*/ 310463 h 430313"/>
                <a:gd name="connsiteX11" fmla="*/ 751614 w 928201"/>
                <a:gd name="connsiteY11" fmla="*/ 316838 h 430313"/>
                <a:gd name="connsiteX12" fmla="*/ 746514 w 928201"/>
                <a:gd name="connsiteY12" fmla="*/ 324488 h 430313"/>
                <a:gd name="connsiteX13" fmla="*/ 761814 w 928201"/>
                <a:gd name="connsiteY13" fmla="*/ 310463 h 430313"/>
                <a:gd name="connsiteX14" fmla="*/ 761814 w 928201"/>
                <a:gd name="connsiteY14" fmla="*/ 310463 h 430313"/>
                <a:gd name="connsiteX15" fmla="*/ 844051 w 928201"/>
                <a:gd name="connsiteY15" fmla="*/ 270301 h 430313"/>
                <a:gd name="connsiteX16" fmla="*/ 840227 w 928201"/>
                <a:gd name="connsiteY16" fmla="*/ 267751 h 430313"/>
                <a:gd name="connsiteX17" fmla="*/ 831939 w 928201"/>
                <a:gd name="connsiteY17" fmla="*/ 267113 h 430313"/>
                <a:gd name="connsiteX18" fmla="*/ 844051 w 928201"/>
                <a:gd name="connsiteY18" fmla="*/ 270301 h 430313"/>
                <a:gd name="connsiteX19" fmla="*/ 844051 w 928201"/>
                <a:gd name="connsiteY19" fmla="*/ 270301 h 430313"/>
                <a:gd name="connsiteX20" fmla="*/ 826839 w 928201"/>
                <a:gd name="connsiteY20" fmla="*/ 266475 h 430313"/>
                <a:gd name="connsiteX21" fmla="*/ 821102 w 928201"/>
                <a:gd name="connsiteY21" fmla="*/ 266475 h 430313"/>
                <a:gd name="connsiteX22" fmla="*/ 810901 w 928201"/>
                <a:gd name="connsiteY22" fmla="*/ 271576 h 430313"/>
                <a:gd name="connsiteX23" fmla="*/ 826839 w 928201"/>
                <a:gd name="connsiteY23" fmla="*/ 266475 h 430313"/>
                <a:gd name="connsiteX24" fmla="*/ 847239 w 928201"/>
                <a:gd name="connsiteY24" fmla="*/ 272850 h 430313"/>
                <a:gd name="connsiteX25" fmla="*/ 865727 w 928201"/>
                <a:gd name="connsiteY25" fmla="*/ 226313 h 430313"/>
                <a:gd name="connsiteX26" fmla="*/ 852977 w 928201"/>
                <a:gd name="connsiteY26" fmla="*/ 245438 h 430313"/>
                <a:gd name="connsiteX27" fmla="*/ 847239 w 928201"/>
                <a:gd name="connsiteY27" fmla="*/ 272850 h 430313"/>
                <a:gd name="connsiteX28" fmla="*/ 847239 w 928201"/>
                <a:gd name="connsiteY28" fmla="*/ 272850 h 430313"/>
                <a:gd name="connsiteX29" fmla="*/ 874651 w 928201"/>
                <a:gd name="connsiteY29" fmla="*/ 212288 h 430313"/>
                <a:gd name="connsiteX30" fmla="*/ 882939 w 928201"/>
                <a:gd name="connsiteY30" fmla="*/ 200176 h 430313"/>
                <a:gd name="connsiteX31" fmla="*/ 878477 w 928201"/>
                <a:gd name="connsiteY31" fmla="*/ 200176 h 430313"/>
                <a:gd name="connsiteX32" fmla="*/ 874651 w 928201"/>
                <a:gd name="connsiteY32" fmla="*/ 212288 h 430313"/>
                <a:gd name="connsiteX33" fmla="*/ 928202 w 928201"/>
                <a:gd name="connsiteY33" fmla="*/ 162563 h 430313"/>
                <a:gd name="connsiteX34" fmla="*/ 914177 w 928201"/>
                <a:gd name="connsiteY34" fmla="*/ 91163 h 430313"/>
                <a:gd name="connsiteX35" fmla="*/ 926289 w 928201"/>
                <a:gd name="connsiteY35" fmla="*/ 128138 h 430313"/>
                <a:gd name="connsiteX36" fmla="*/ 928202 w 928201"/>
                <a:gd name="connsiteY36" fmla="*/ 162563 h 430313"/>
                <a:gd name="connsiteX37" fmla="*/ 928202 w 928201"/>
                <a:gd name="connsiteY37" fmla="*/ 162563 h 430313"/>
                <a:gd name="connsiteX38" fmla="*/ 850426 w 928201"/>
                <a:gd name="connsiteY38" fmla="*/ 0 h 430313"/>
                <a:gd name="connsiteX39" fmla="*/ 849151 w 928201"/>
                <a:gd name="connsiteY39" fmla="*/ 638 h 430313"/>
                <a:gd name="connsiteX40" fmla="*/ 847239 w 928201"/>
                <a:gd name="connsiteY40" fmla="*/ 1275 h 430313"/>
                <a:gd name="connsiteX41" fmla="*/ 847239 w 928201"/>
                <a:gd name="connsiteY41" fmla="*/ 1275 h 430313"/>
                <a:gd name="connsiteX42" fmla="*/ 847877 w 928201"/>
                <a:gd name="connsiteY42" fmla="*/ 1275 h 430313"/>
                <a:gd name="connsiteX43" fmla="*/ 882939 w 928201"/>
                <a:gd name="connsiteY43" fmla="*/ 60563 h 430313"/>
                <a:gd name="connsiteX44" fmla="*/ 910989 w 928201"/>
                <a:gd name="connsiteY44" fmla="*/ 88613 h 430313"/>
                <a:gd name="connsiteX45" fmla="*/ 850426 w 928201"/>
                <a:gd name="connsiteY45" fmla="*/ 0 h 430313"/>
                <a:gd name="connsiteX46" fmla="*/ 850426 w 928201"/>
                <a:gd name="connsiteY46" fmla="*/ 0 h 430313"/>
                <a:gd name="connsiteX47" fmla="*/ 850426 w 928201"/>
                <a:gd name="connsiteY47" fmla="*/ 0 h 430313"/>
                <a:gd name="connsiteX48" fmla="*/ 838952 w 928201"/>
                <a:gd name="connsiteY48" fmla="*/ 3825 h 430313"/>
                <a:gd name="connsiteX49" fmla="*/ 833852 w 928201"/>
                <a:gd name="connsiteY49" fmla="*/ 5100 h 430313"/>
                <a:gd name="connsiteX50" fmla="*/ 833852 w 928201"/>
                <a:gd name="connsiteY50" fmla="*/ 5100 h 430313"/>
                <a:gd name="connsiteX51" fmla="*/ 835127 w 928201"/>
                <a:gd name="connsiteY51" fmla="*/ 5738 h 430313"/>
                <a:gd name="connsiteX52" fmla="*/ 846602 w 928201"/>
                <a:gd name="connsiteY52" fmla="*/ 5738 h 430313"/>
                <a:gd name="connsiteX53" fmla="*/ 845327 w 928201"/>
                <a:gd name="connsiteY53" fmla="*/ 1913 h 430313"/>
                <a:gd name="connsiteX54" fmla="*/ 845327 w 928201"/>
                <a:gd name="connsiteY54" fmla="*/ 1913 h 430313"/>
                <a:gd name="connsiteX55" fmla="*/ 842776 w 928201"/>
                <a:gd name="connsiteY55" fmla="*/ 2550 h 430313"/>
                <a:gd name="connsiteX56" fmla="*/ 840864 w 928201"/>
                <a:gd name="connsiteY56" fmla="*/ 2550 h 430313"/>
                <a:gd name="connsiteX57" fmla="*/ 840864 w 928201"/>
                <a:gd name="connsiteY57" fmla="*/ 2550 h 430313"/>
                <a:gd name="connsiteX58" fmla="*/ 840864 w 928201"/>
                <a:gd name="connsiteY58" fmla="*/ 3825 h 430313"/>
                <a:gd name="connsiteX59" fmla="*/ 838952 w 928201"/>
                <a:gd name="connsiteY59" fmla="*/ 3825 h 430313"/>
                <a:gd name="connsiteX60" fmla="*/ 838952 w 928201"/>
                <a:gd name="connsiteY60" fmla="*/ 3825 h 430313"/>
                <a:gd name="connsiteX61" fmla="*/ 838952 w 928201"/>
                <a:gd name="connsiteY61" fmla="*/ 3825 h 430313"/>
                <a:gd name="connsiteX62" fmla="*/ 838952 w 928201"/>
                <a:gd name="connsiteY62" fmla="*/ 3825 h 430313"/>
                <a:gd name="connsiteX63" fmla="*/ 244800 w 928201"/>
                <a:gd name="connsiteY63" fmla="*/ 149813 h 430313"/>
                <a:gd name="connsiteX64" fmla="*/ 241613 w 928201"/>
                <a:gd name="connsiteY64" fmla="*/ 160013 h 430313"/>
                <a:gd name="connsiteX65" fmla="*/ 242250 w 928201"/>
                <a:gd name="connsiteY65" fmla="*/ 188063 h 430313"/>
                <a:gd name="connsiteX66" fmla="*/ 235238 w 928201"/>
                <a:gd name="connsiteY66" fmla="*/ 187426 h 430313"/>
                <a:gd name="connsiteX67" fmla="*/ 218663 w 928201"/>
                <a:gd name="connsiteY67" fmla="*/ 221213 h 430313"/>
                <a:gd name="connsiteX68" fmla="*/ 200175 w 928201"/>
                <a:gd name="connsiteY68" fmla="*/ 223125 h 430313"/>
                <a:gd name="connsiteX69" fmla="*/ 165750 w 928201"/>
                <a:gd name="connsiteY69" fmla="*/ 256913 h 430313"/>
                <a:gd name="connsiteX70" fmla="*/ 150450 w 928201"/>
                <a:gd name="connsiteY70" fmla="*/ 251176 h 430313"/>
                <a:gd name="connsiteX71" fmla="*/ 130688 w 928201"/>
                <a:gd name="connsiteY71" fmla="*/ 281138 h 430313"/>
                <a:gd name="connsiteX72" fmla="*/ 77775 w 928201"/>
                <a:gd name="connsiteY72" fmla="*/ 328951 h 430313"/>
                <a:gd name="connsiteX73" fmla="*/ 52275 w 928201"/>
                <a:gd name="connsiteY73" fmla="*/ 335326 h 430313"/>
                <a:gd name="connsiteX74" fmla="*/ 24862 w 928201"/>
                <a:gd name="connsiteY74" fmla="*/ 360188 h 430313"/>
                <a:gd name="connsiteX75" fmla="*/ 23587 w 928201"/>
                <a:gd name="connsiteY75" fmla="*/ 376764 h 430313"/>
                <a:gd name="connsiteX76" fmla="*/ 0 w 928201"/>
                <a:gd name="connsiteY76" fmla="*/ 389514 h 430313"/>
                <a:gd name="connsiteX77" fmla="*/ 637 w 928201"/>
                <a:gd name="connsiteY77" fmla="*/ 418201 h 430313"/>
                <a:gd name="connsiteX78" fmla="*/ 637 w 928201"/>
                <a:gd name="connsiteY78" fmla="*/ 424576 h 430313"/>
                <a:gd name="connsiteX79" fmla="*/ 8925 w 928201"/>
                <a:gd name="connsiteY79" fmla="*/ 422663 h 430313"/>
                <a:gd name="connsiteX80" fmla="*/ 98813 w 928201"/>
                <a:gd name="connsiteY80" fmla="*/ 404176 h 430313"/>
                <a:gd name="connsiteX81" fmla="*/ 123038 w 928201"/>
                <a:gd name="connsiteY81" fmla="*/ 399076 h 430313"/>
                <a:gd name="connsiteX82" fmla="*/ 131325 w 928201"/>
                <a:gd name="connsiteY82" fmla="*/ 397163 h 430313"/>
                <a:gd name="connsiteX83" fmla="*/ 133238 w 928201"/>
                <a:gd name="connsiteY83" fmla="*/ 397163 h 430313"/>
                <a:gd name="connsiteX84" fmla="*/ 346163 w 928201"/>
                <a:gd name="connsiteY84" fmla="*/ 329588 h 430313"/>
                <a:gd name="connsiteX85" fmla="*/ 381863 w 928201"/>
                <a:gd name="connsiteY85" fmla="*/ 348076 h 430313"/>
                <a:gd name="connsiteX86" fmla="*/ 454538 w 928201"/>
                <a:gd name="connsiteY86" fmla="*/ 350626 h 430313"/>
                <a:gd name="connsiteX87" fmla="*/ 508088 w 928201"/>
                <a:gd name="connsiteY87" fmla="*/ 339788 h 430313"/>
                <a:gd name="connsiteX88" fmla="*/ 650889 w 928201"/>
                <a:gd name="connsiteY88" fmla="*/ 430313 h 430313"/>
                <a:gd name="connsiteX89" fmla="*/ 653439 w 928201"/>
                <a:gd name="connsiteY89" fmla="*/ 428401 h 430313"/>
                <a:gd name="connsiteX90" fmla="*/ 719739 w 928201"/>
                <a:gd name="connsiteY90" fmla="*/ 400988 h 430313"/>
                <a:gd name="connsiteX91" fmla="*/ 720376 w 928201"/>
                <a:gd name="connsiteY91" fmla="*/ 365926 h 430313"/>
                <a:gd name="connsiteX92" fmla="*/ 743964 w 928201"/>
                <a:gd name="connsiteY92" fmla="*/ 323213 h 430313"/>
                <a:gd name="connsiteX93" fmla="*/ 769464 w 928201"/>
                <a:gd name="connsiteY93" fmla="*/ 298988 h 430313"/>
                <a:gd name="connsiteX94" fmla="*/ 823014 w 928201"/>
                <a:gd name="connsiteY94" fmla="*/ 263926 h 430313"/>
                <a:gd name="connsiteX95" fmla="*/ 830026 w 928201"/>
                <a:gd name="connsiteY95" fmla="*/ 251176 h 430313"/>
                <a:gd name="connsiteX96" fmla="*/ 844051 w 928201"/>
                <a:gd name="connsiteY96" fmla="*/ 257551 h 430313"/>
                <a:gd name="connsiteX97" fmla="*/ 850426 w 928201"/>
                <a:gd name="connsiteY97" fmla="*/ 215475 h 430313"/>
                <a:gd name="connsiteX98" fmla="*/ 842776 w 928201"/>
                <a:gd name="connsiteY98" fmla="*/ 230138 h 430313"/>
                <a:gd name="connsiteX99" fmla="*/ 815364 w 928201"/>
                <a:gd name="connsiteY99" fmla="*/ 239701 h 430313"/>
                <a:gd name="connsiteX100" fmla="*/ 789864 w 928201"/>
                <a:gd name="connsiteY100" fmla="*/ 240338 h 430313"/>
                <a:gd name="connsiteX101" fmla="*/ 821739 w 928201"/>
                <a:gd name="connsiteY101" fmla="*/ 217388 h 430313"/>
                <a:gd name="connsiteX102" fmla="*/ 813452 w 928201"/>
                <a:gd name="connsiteY102" fmla="*/ 205275 h 430313"/>
                <a:gd name="connsiteX103" fmla="*/ 824926 w 928201"/>
                <a:gd name="connsiteY103" fmla="*/ 182325 h 430313"/>
                <a:gd name="connsiteX104" fmla="*/ 765002 w 928201"/>
                <a:gd name="connsiteY104" fmla="*/ 172125 h 430313"/>
                <a:gd name="connsiteX105" fmla="*/ 762451 w 928201"/>
                <a:gd name="connsiteY105" fmla="*/ 168938 h 430313"/>
                <a:gd name="connsiteX106" fmla="*/ 814089 w 928201"/>
                <a:gd name="connsiteY106" fmla="*/ 158738 h 430313"/>
                <a:gd name="connsiteX107" fmla="*/ 830664 w 928201"/>
                <a:gd name="connsiteY107" fmla="*/ 167025 h 430313"/>
                <a:gd name="connsiteX108" fmla="*/ 851702 w 928201"/>
                <a:gd name="connsiteY108" fmla="*/ 165113 h 430313"/>
                <a:gd name="connsiteX109" fmla="*/ 868914 w 928201"/>
                <a:gd name="connsiteY109" fmla="*/ 152363 h 430313"/>
                <a:gd name="connsiteX110" fmla="*/ 881664 w 928201"/>
                <a:gd name="connsiteY110" fmla="*/ 127500 h 430313"/>
                <a:gd name="connsiteX111" fmla="*/ 893139 w 928201"/>
                <a:gd name="connsiteY111" fmla="*/ 124313 h 430313"/>
                <a:gd name="connsiteX112" fmla="*/ 891227 w 928201"/>
                <a:gd name="connsiteY112" fmla="*/ 89250 h 430313"/>
                <a:gd name="connsiteX113" fmla="*/ 876564 w 928201"/>
                <a:gd name="connsiteY113" fmla="*/ 75225 h 430313"/>
                <a:gd name="connsiteX114" fmla="*/ 861901 w 928201"/>
                <a:gd name="connsiteY114" fmla="*/ 88613 h 430313"/>
                <a:gd name="connsiteX115" fmla="*/ 865089 w 928201"/>
                <a:gd name="connsiteY115" fmla="*/ 122400 h 430313"/>
                <a:gd name="connsiteX116" fmla="*/ 853614 w 928201"/>
                <a:gd name="connsiteY116" fmla="*/ 80963 h 430313"/>
                <a:gd name="connsiteX117" fmla="*/ 845327 w 928201"/>
                <a:gd name="connsiteY117" fmla="*/ 79050 h 430313"/>
                <a:gd name="connsiteX118" fmla="*/ 781576 w 928201"/>
                <a:gd name="connsiteY118" fmla="*/ 105825 h 430313"/>
                <a:gd name="connsiteX119" fmla="*/ 810264 w 928201"/>
                <a:gd name="connsiteY119" fmla="*/ 77775 h 430313"/>
                <a:gd name="connsiteX120" fmla="*/ 811539 w 928201"/>
                <a:gd name="connsiteY120" fmla="*/ 66300 h 430313"/>
                <a:gd name="connsiteX121" fmla="*/ 841502 w 928201"/>
                <a:gd name="connsiteY121" fmla="*/ 59288 h 430313"/>
                <a:gd name="connsiteX122" fmla="*/ 849789 w 928201"/>
                <a:gd name="connsiteY122" fmla="*/ 37613 h 430313"/>
                <a:gd name="connsiteX123" fmla="*/ 869552 w 928201"/>
                <a:gd name="connsiteY123" fmla="*/ 49088 h 430313"/>
                <a:gd name="connsiteX124" fmla="*/ 848514 w 928201"/>
                <a:gd name="connsiteY124" fmla="*/ 17213 h 430313"/>
                <a:gd name="connsiteX125" fmla="*/ 833852 w 928201"/>
                <a:gd name="connsiteY125" fmla="*/ 4463 h 430313"/>
                <a:gd name="connsiteX126" fmla="*/ 833852 w 928201"/>
                <a:gd name="connsiteY126" fmla="*/ 4463 h 430313"/>
                <a:gd name="connsiteX127" fmla="*/ 576301 w 928201"/>
                <a:gd name="connsiteY127" fmla="*/ 77775 h 430313"/>
                <a:gd name="connsiteX128" fmla="*/ 412463 w 928201"/>
                <a:gd name="connsiteY128" fmla="*/ 119213 h 430313"/>
                <a:gd name="connsiteX129" fmla="*/ 246713 w 928201"/>
                <a:gd name="connsiteY129" fmla="*/ 150450 h 430313"/>
                <a:gd name="connsiteX130" fmla="*/ 244800 w 928201"/>
                <a:gd name="connsiteY130" fmla="*/ 149813 h 430313"/>
                <a:gd name="connsiteX131" fmla="*/ 244800 w 928201"/>
                <a:gd name="connsiteY131" fmla="*/ 149813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28201" h="430313">
                  <a:moveTo>
                    <a:pt x="717826" y="407363"/>
                  </a:moveTo>
                  <a:lnTo>
                    <a:pt x="710814" y="414376"/>
                  </a:lnTo>
                  <a:lnTo>
                    <a:pt x="712089" y="415651"/>
                  </a:lnTo>
                  <a:lnTo>
                    <a:pt x="717826" y="407363"/>
                  </a:lnTo>
                  <a:lnTo>
                    <a:pt x="717826" y="407363"/>
                  </a:lnTo>
                  <a:close/>
                  <a:moveTo>
                    <a:pt x="722926" y="370388"/>
                  </a:moveTo>
                  <a:lnTo>
                    <a:pt x="719739" y="375488"/>
                  </a:lnTo>
                  <a:lnTo>
                    <a:pt x="721014" y="380588"/>
                  </a:lnTo>
                  <a:lnTo>
                    <a:pt x="722926" y="370388"/>
                  </a:lnTo>
                  <a:lnTo>
                    <a:pt x="722926" y="370388"/>
                  </a:lnTo>
                  <a:close/>
                  <a:moveTo>
                    <a:pt x="761814" y="310463"/>
                  </a:moveTo>
                  <a:lnTo>
                    <a:pt x="751614" y="316838"/>
                  </a:lnTo>
                  <a:lnTo>
                    <a:pt x="746514" y="324488"/>
                  </a:lnTo>
                  <a:lnTo>
                    <a:pt x="761814" y="310463"/>
                  </a:lnTo>
                  <a:lnTo>
                    <a:pt x="761814" y="310463"/>
                  </a:lnTo>
                  <a:close/>
                  <a:moveTo>
                    <a:pt x="844051" y="270301"/>
                  </a:moveTo>
                  <a:lnTo>
                    <a:pt x="840227" y="267751"/>
                  </a:lnTo>
                  <a:lnTo>
                    <a:pt x="831939" y="267113"/>
                  </a:lnTo>
                  <a:lnTo>
                    <a:pt x="844051" y="270301"/>
                  </a:lnTo>
                  <a:lnTo>
                    <a:pt x="844051" y="270301"/>
                  </a:lnTo>
                  <a:close/>
                  <a:moveTo>
                    <a:pt x="826839" y="266475"/>
                  </a:moveTo>
                  <a:lnTo>
                    <a:pt x="821102" y="266475"/>
                  </a:lnTo>
                  <a:lnTo>
                    <a:pt x="810901" y="271576"/>
                  </a:lnTo>
                  <a:lnTo>
                    <a:pt x="826839" y="266475"/>
                  </a:lnTo>
                  <a:close/>
                  <a:moveTo>
                    <a:pt x="847239" y="272850"/>
                  </a:moveTo>
                  <a:lnTo>
                    <a:pt x="865727" y="226313"/>
                  </a:lnTo>
                  <a:lnTo>
                    <a:pt x="852977" y="245438"/>
                  </a:lnTo>
                  <a:lnTo>
                    <a:pt x="847239" y="272850"/>
                  </a:lnTo>
                  <a:lnTo>
                    <a:pt x="847239" y="272850"/>
                  </a:lnTo>
                  <a:close/>
                  <a:moveTo>
                    <a:pt x="874651" y="212288"/>
                  </a:moveTo>
                  <a:lnTo>
                    <a:pt x="882939" y="200176"/>
                  </a:lnTo>
                  <a:lnTo>
                    <a:pt x="878477" y="200176"/>
                  </a:lnTo>
                  <a:lnTo>
                    <a:pt x="874651" y="212288"/>
                  </a:lnTo>
                  <a:close/>
                  <a:moveTo>
                    <a:pt x="928202" y="162563"/>
                  </a:moveTo>
                  <a:lnTo>
                    <a:pt x="914177" y="91163"/>
                  </a:lnTo>
                  <a:lnTo>
                    <a:pt x="926289" y="128138"/>
                  </a:lnTo>
                  <a:lnTo>
                    <a:pt x="928202" y="162563"/>
                  </a:lnTo>
                  <a:lnTo>
                    <a:pt x="928202" y="162563"/>
                  </a:lnTo>
                  <a:close/>
                  <a:moveTo>
                    <a:pt x="850426" y="0"/>
                  </a:moveTo>
                  <a:lnTo>
                    <a:pt x="849151" y="638"/>
                  </a:lnTo>
                  <a:lnTo>
                    <a:pt x="847239" y="1275"/>
                  </a:lnTo>
                  <a:lnTo>
                    <a:pt x="847239" y="1275"/>
                  </a:lnTo>
                  <a:lnTo>
                    <a:pt x="847877" y="1275"/>
                  </a:lnTo>
                  <a:lnTo>
                    <a:pt x="882939" y="60563"/>
                  </a:lnTo>
                  <a:lnTo>
                    <a:pt x="910989" y="88613"/>
                  </a:lnTo>
                  <a:lnTo>
                    <a:pt x="850426" y="0"/>
                  </a:lnTo>
                  <a:lnTo>
                    <a:pt x="850426" y="0"/>
                  </a:lnTo>
                  <a:lnTo>
                    <a:pt x="850426" y="0"/>
                  </a:lnTo>
                  <a:close/>
                  <a:moveTo>
                    <a:pt x="838952" y="3825"/>
                  </a:moveTo>
                  <a:lnTo>
                    <a:pt x="833852" y="5100"/>
                  </a:lnTo>
                  <a:lnTo>
                    <a:pt x="833852" y="5100"/>
                  </a:lnTo>
                  <a:lnTo>
                    <a:pt x="835127" y="5738"/>
                  </a:lnTo>
                  <a:lnTo>
                    <a:pt x="846602" y="5738"/>
                  </a:lnTo>
                  <a:lnTo>
                    <a:pt x="845327" y="1913"/>
                  </a:lnTo>
                  <a:lnTo>
                    <a:pt x="845327" y="1913"/>
                  </a:lnTo>
                  <a:lnTo>
                    <a:pt x="842776" y="2550"/>
                  </a:lnTo>
                  <a:lnTo>
                    <a:pt x="840864" y="2550"/>
                  </a:lnTo>
                  <a:lnTo>
                    <a:pt x="840864" y="2550"/>
                  </a:lnTo>
                  <a:lnTo>
                    <a:pt x="840864" y="3825"/>
                  </a:lnTo>
                  <a:lnTo>
                    <a:pt x="838952" y="3825"/>
                  </a:lnTo>
                  <a:lnTo>
                    <a:pt x="838952" y="3825"/>
                  </a:lnTo>
                  <a:lnTo>
                    <a:pt x="838952" y="3825"/>
                  </a:lnTo>
                  <a:lnTo>
                    <a:pt x="838952" y="3825"/>
                  </a:lnTo>
                  <a:close/>
                  <a:moveTo>
                    <a:pt x="244800" y="149813"/>
                  </a:moveTo>
                  <a:lnTo>
                    <a:pt x="241613" y="160013"/>
                  </a:lnTo>
                  <a:lnTo>
                    <a:pt x="242250" y="188063"/>
                  </a:lnTo>
                  <a:lnTo>
                    <a:pt x="235238" y="187426"/>
                  </a:lnTo>
                  <a:lnTo>
                    <a:pt x="218663" y="221213"/>
                  </a:lnTo>
                  <a:lnTo>
                    <a:pt x="200175" y="223125"/>
                  </a:lnTo>
                  <a:lnTo>
                    <a:pt x="165750" y="256913"/>
                  </a:lnTo>
                  <a:lnTo>
                    <a:pt x="150450" y="251176"/>
                  </a:lnTo>
                  <a:lnTo>
                    <a:pt x="130688" y="281138"/>
                  </a:lnTo>
                  <a:lnTo>
                    <a:pt x="77775" y="328951"/>
                  </a:lnTo>
                  <a:lnTo>
                    <a:pt x="52275" y="335326"/>
                  </a:lnTo>
                  <a:lnTo>
                    <a:pt x="24862" y="360188"/>
                  </a:lnTo>
                  <a:lnTo>
                    <a:pt x="23587" y="376764"/>
                  </a:lnTo>
                  <a:lnTo>
                    <a:pt x="0" y="389514"/>
                  </a:lnTo>
                  <a:lnTo>
                    <a:pt x="637" y="418201"/>
                  </a:lnTo>
                  <a:lnTo>
                    <a:pt x="637" y="424576"/>
                  </a:lnTo>
                  <a:lnTo>
                    <a:pt x="8925" y="422663"/>
                  </a:lnTo>
                  <a:lnTo>
                    <a:pt x="98813" y="404176"/>
                  </a:lnTo>
                  <a:lnTo>
                    <a:pt x="123038" y="399076"/>
                  </a:lnTo>
                  <a:lnTo>
                    <a:pt x="131325" y="397163"/>
                  </a:lnTo>
                  <a:lnTo>
                    <a:pt x="133238" y="397163"/>
                  </a:lnTo>
                  <a:lnTo>
                    <a:pt x="346163" y="329588"/>
                  </a:lnTo>
                  <a:lnTo>
                    <a:pt x="381863" y="348076"/>
                  </a:lnTo>
                  <a:lnTo>
                    <a:pt x="454538" y="350626"/>
                  </a:lnTo>
                  <a:lnTo>
                    <a:pt x="508088" y="339788"/>
                  </a:lnTo>
                  <a:lnTo>
                    <a:pt x="650889" y="430313"/>
                  </a:lnTo>
                  <a:lnTo>
                    <a:pt x="653439" y="428401"/>
                  </a:lnTo>
                  <a:lnTo>
                    <a:pt x="719739" y="400988"/>
                  </a:lnTo>
                  <a:lnTo>
                    <a:pt x="720376" y="365926"/>
                  </a:lnTo>
                  <a:lnTo>
                    <a:pt x="743964" y="323213"/>
                  </a:lnTo>
                  <a:lnTo>
                    <a:pt x="769464" y="298988"/>
                  </a:lnTo>
                  <a:lnTo>
                    <a:pt x="823014" y="263926"/>
                  </a:lnTo>
                  <a:lnTo>
                    <a:pt x="830026" y="251176"/>
                  </a:lnTo>
                  <a:lnTo>
                    <a:pt x="844051" y="257551"/>
                  </a:lnTo>
                  <a:lnTo>
                    <a:pt x="850426" y="215475"/>
                  </a:lnTo>
                  <a:lnTo>
                    <a:pt x="842776" y="230138"/>
                  </a:lnTo>
                  <a:lnTo>
                    <a:pt x="815364" y="239701"/>
                  </a:lnTo>
                  <a:lnTo>
                    <a:pt x="789864" y="240338"/>
                  </a:lnTo>
                  <a:lnTo>
                    <a:pt x="821739" y="217388"/>
                  </a:lnTo>
                  <a:lnTo>
                    <a:pt x="813452" y="205275"/>
                  </a:lnTo>
                  <a:lnTo>
                    <a:pt x="824926" y="182325"/>
                  </a:lnTo>
                  <a:lnTo>
                    <a:pt x="765002" y="172125"/>
                  </a:lnTo>
                  <a:lnTo>
                    <a:pt x="762451" y="168938"/>
                  </a:lnTo>
                  <a:lnTo>
                    <a:pt x="814089" y="158738"/>
                  </a:lnTo>
                  <a:lnTo>
                    <a:pt x="830664" y="167025"/>
                  </a:lnTo>
                  <a:lnTo>
                    <a:pt x="851702" y="165113"/>
                  </a:lnTo>
                  <a:lnTo>
                    <a:pt x="868914" y="152363"/>
                  </a:lnTo>
                  <a:lnTo>
                    <a:pt x="881664" y="127500"/>
                  </a:lnTo>
                  <a:lnTo>
                    <a:pt x="893139" y="124313"/>
                  </a:lnTo>
                  <a:lnTo>
                    <a:pt x="891227" y="89250"/>
                  </a:lnTo>
                  <a:lnTo>
                    <a:pt x="876564" y="75225"/>
                  </a:lnTo>
                  <a:lnTo>
                    <a:pt x="861901" y="88613"/>
                  </a:lnTo>
                  <a:lnTo>
                    <a:pt x="865089" y="122400"/>
                  </a:lnTo>
                  <a:lnTo>
                    <a:pt x="853614" y="80963"/>
                  </a:lnTo>
                  <a:lnTo>
                    <a:pt x="845327" y="79050"/>
                  </a:lnTo>
                  <a:lnTo>
                    <a:pt x="781576" y="105825"/>
                  </a:lnTo>
                  <a:lnTo>
                    <a:pt x="810264" y="77775"/>
                  </a:lnTo>
                  <a:lnTo>
                    <a:pt x="811539" y="66300"/>
                  </a:lnTo>
                  <a:lnTo>
                    <a:pt x="841502" y="59288"/>
                  </a:lnTo>
                  <a:lnTo>
                    <a:pt x="849789" y="37613"/>
                  </a:lnTo>
                  <a:lnTo>
                    <a:pt x="869552" y="49088"/>
                  </a:lnTo>
                  <a:lnTo>
                    <a:pt x="848514" y="17213"/>
                  </a:lnTo>
                  <a:lnTo>
                    <a:pt x="833852" y="4463"/>
                  </a:lnTo>
                  <a:lnTo>
                    <a:pt x="833852" y="4463"/>
                  </a:lnTo>
                  <a:lnTo>
                    <a:pt x="576301" y="77775"/>
                  </a:lnTo>
                  <a:lnTo>
                    <a:pt x="412463" y="119213"/>
                  </a:lnTo>
                  <a:lnTo>
                    <a:pt x="246713" y="150450"/>
                  </a:lnTo>
                  <a:lnTo>
                    <a:pt x="244800" y="149813"/>
                  </a:lnTo>
                  <a:lnTo>
                    <a:pt x="244800" y="1498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73" name="Freeform 55">
              <a:extLst>
                <a:ext uri="{FF2B5EF4-FFF2-40B4-BE49-F238E27FC236}">
                  <a16:creationId xmlns:a16="http://schemas.microsoft.com/office/drawing/2014/main" id="{CC0A56A2-3A92-C4FA-1A9F-950F60E8AA3D}"/>
                </a:ext>
              </a:extLst>
            </p:cNvPr>
            <p:cNvSpPr/>
            <p:nvPr/>
          </p:nvSpPr>
          <p:spPr>
            <a:xfrm>
              <a:off x="5876680" y="2065485"/>
              <a:ext cx="451350" cy="520838"/>
            </a:xfrm>
            <a:custGeom>
              <a:avLst/>
              <a:gdLst>
                <a:gd name="connsiteX0" fmla="*/ 445613 w 451350"/>
                <a:gd name="connsiteY0" fmla="*/ 162563 h 520838"/>
                <a:gd name="connsiteX1" fmla="*/ 429676 w 451350"/>
                <a:gd name="connsiteY1" fmla="*/ 93075 h 520838"/>
                <a:gd name="connsiteX2" fmla="*/ 426488 w 451350"/>
                <a:gd name="connsiteY2" fmla="*/ 79050 h 520838"/>
                <a:gd name="connsiteX3" fmla="*/ 408638 w 451350"/>
                <a:gd name="connsiteY3" fmla="*/ 0 h 520838"/>
                <a:gd name="connsiteX4" fmla="*/ 385688 w 451350"/>
                <a:gd name="connsiteY4" fmla="*/ 14663 h 520838"/>
                <a:gd name="connsiteX5" fmla="*/ 335963 w 451350"/>
                <a:gd name="connsiteY5" fmla="*/ 52275 h 520838"/>
                <a:gd name="connsiteX6" fmla="*/ 303450 w 451350"/>
                <a:gd name="connsiteY6" fmla="*/ 91163 h 520838"/>
                <a:gd name="connsiteX7" fmla="*/ 278588 w 451350"/>
                <a:gd name="connsiteY7" fmla="*/ 94988 h 520838"/>
                <a:gd name="connsiteX8" fmla="*/ 232050 w 451350"/>
                <a:gd name="connsiteY8" fmla="*/ 121763 h 520838"/>
                <a:gd name="connsiteX9" fmla="*/ 206550 w 451350"/>
                <a:gd name="connsiteY9" fmla="*/ 106463 h 520838"/>
                <a:gd name="connsiteX10" fmla="*/ 129413 w 451350"/>
                <a:gd name="connsiteY10" fmla="*/ 96900 h 520838"/>
                <a:gd name="connsiteX11" fmla="*/ 129413 w 451350"/>
                <a:gd name="connsiteY11" fmla="*/ 96900 h 520838"/>
                <a:gd name="connsiteX12" fmla="*/ 88612 w 451350"/>
                <a:gd name="connsiteY12" fmla="*/ 107738 h 520838"/>
                <a:gd name="connsiteX13" fmla="*/ 48450 w 451350"/>
                <a:gd name="connsiteY13" fmla="*/ 117938 h 520838"/>
                <a:gd name="connsiteX14" fmla="*/ 6375 w 451350"/>
                <a:gd name="connsiteY14" fmla="*/ 127500 h 520838"/>
                <a:gd name="connsiteX15" fmla="*/ 0 w 451350"/>
                <a:gd name="connsiteY15" fmla="*/ 129413 h 520838"/>
                <a:gd name="connsiteX16" fmla="*/ 1912 w 451350"/>
                <a:gd name="connsiteY16" fmla="*/ 140250 h 520838"/>
                <a:gd name="connsiteX17" fmla="*/ 19125 w 451350"/>
                <a:gd name="connsiteY17" fmla="*/ 237788 h 520838"/>
                <a:gd name="connsiteX18" fmla="*/ 57375 w 451350"/>
                <a:gd name="connsiteY18" fmla="*/ 465376 h 520838"/>
                <a:gd name="connsiteX19" fmla="*/ 58650 w 451350"/>
                <a:gd name="connsiteY19" fmla="*/ 476851 h 520838"/>
                <a:gd name="connsiteX20" fmla="*/ 63750 w 451350"/>
                <a:gd name="connsiteY20" fmla="*/ 471751 h 520838"/>
                <a:gd name="connsiteX21" fmla="*/ 95625 w 451350"/>
                <a:gd name="connsiteY21" fmla="*/ 467926 h 520838"/>
                <a:gd name="connsiteX22" fmla="*/ 112200 w 451350"/>
                <a:gd name="connsiteY22" fmla="*/ 476214 h 520838"/>
                <a:gd name="connsiteX23" fmla="*/ 145350 w 451350"/>
                <a:gd name="connsiteY23" fmla="*/ 504901 h 520838"/>
                <a:gd name="connsiteX24" fmla="*/ 154913 w 451350"/>
                <a:gd name="connsiteY24" fmla="*/ 501076 h 520838"/>
                <a:gd name="connsiteX25" fmla="*/ 189338 w 451350"/>
                <a:gd name="connsiteY25" fmla="*/ 516376 h 520838"/>
                <a:gd name="connsiteX26" fmla="*/ 205913 w 451350"/>
                <a:gd name="connsiteY26" fmla="*/ 503626 h 520838"/>
                <a:gd name="connsiteX27" fmla="*/ 225038 w 451350"/>
                <a:gd name="connsiteY27" fmla="*/ 511276 h 520838"/>
                <a:gd name="connsiteX28" fmla="*/ 240338 w 451350"/>
                <a:gd name="connsiteY28" fmla="*/ 507451 h 520838"/>
                <a:gd name="connsiteX29" fmla="*/ 264563 w 451350"/>
                <a:gd name="connsiteY29" fmla="*/ 483864 h 520838"/>
                <a:gd name="connsiteX30" fmla="*/ 276675 w 451350"/>
                <a:gd name="connsiteY30" fmla="*/ 504264 h 520838"/>
                <a:gd name="connsiteX31" fmla="*/ 304088 w 451350"/>
                <a:gd name="connsiteY31" fmla="*/ 519564 h 520838"/>
                <a:gd name="connsiteX32" fmla="*/ 305363 w 451350"/>
                <a:gd name="connsiteY32" fmla="*/ 520839 h 520838"/>
                <a:gd name="connsiteX33" fmla="*/ 305363 w 451350"/>
                <a:gd name="connsiteY33" fmla="*/ 520839 h 520838"/>
                <a:gd name="connsiteX34" fmla="*/ 333413 w 451350"/>
                <a:gd name="connsiteY34" fmla="*/ 507451 h 520838"/>
                <a:gd name="connsiteX35" fmla="*/ 343613 w 451350"/>
                <a:gd name="connsiteY35" fmla="*/ 486414 h 520838"/>
                <a:gd name="connsiteX36" fmla="*/ 335963 w 451350"/>
                <a:gd name="connsiteY36" fmla="*/ 464739 h 520838"/>
                <a:gd name="connsiteX37" fmla="*/ 357638 w 451350"/>
                <a:gd name="connsiteY37" fmla="*/ 431588 h 520838"/>
                <a:gd name="connsiteX38" fmla="*/ 373576 w 451350"/>
                <a:gd name="connsiteY38" fmla="*/ 429038 h 520838"/>
                <a:gd name="connsiteX39" fmla="*/ 371663 w 451350"/>
                <a:gd name="connsiteY39" fmla="*/ 400351 h 520838"/>
                <a:gd name="connsiteX40" fmla="*/ 398438 w 451350"/>
                <a:gd name="connsiteY40" fmla="*/ 364651 h 520838"/>
                <a:gd name="connsiteX41" fmla="*/ 402901 w 451350"/>
                <a:gd name="connsiteY41" fmla="*/ 369751 h 520838"/>
                <a:gd name="connsiteX42" fmla="*/ 426488 w 451350"/>
                <a:gd name="connsiteY42" fmla="*/ 351901 h 520838"/>
                <a:gd name="connsiteX43" fmla="*/ 446888 w 451350"/>
                <a:gd name="connsiteY43" fmla="*/ 320663 h 520838"/>
                <a:gd name="connsiteX44" fmla="*/ 450076 w 451350"/>
                <a:gd name="connsiteY44" fmla="*/ 179775 h 520838"/>
                <a:gd name="connsiteX45" fmla="*/ 451351 w 451350"/>
                <a:gd name="connsiteY45" fmla="*/ 179138 h 520838"/>
                <a:gd name="connsiteX46" fmla="*/ 445613 w 451350"/>
                <a:gd name="connsiteY46" fmla="*/ 162563 h 520838"/>
                <a:gd name="connsiteX47" fmla="*/ 445613 w 451350"/>
                <a:gd name="connsiteY47" fmla="*/ 162563 h 52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1350" h="520838">
                  <a:moveTo>
                    <a:pt x="445613" y="162563"/>
                  </a:moveTo>
                  <a:lnTo>
                    <a:pt x="429676" y="93075"/>
                  </a:lnTo>
                  <a:lnTo>
                    <a:pt x="426488" y="79050"/>
                  </a:lnTo>
                  <a:lnTo>
                    <a:pt x="408638" y="0"/>
                  </a:lnTo>
                  <a:lnTo>
                    <a:pt x="385688" y="14663"/>
                  </a:lnTo>
                  <a:lnTo>
                    <a:pt x="335963" y="52275"/>
                  </a:lnTo>
                  <a:lnTo>
                    <a:pt x="303450" y="91163"/>
                  </a:lnTo>
                  <a:lnTo>
                    <a:pt x="278588" y="94988"/>
                  </a:lnTo>
                  <a:lnTo>
                    <a:pt x="232050" y="121763"/>
                  </a:lnTo>
                  <a:lnTo>
                    <a:pt x="206550" y="106463"/>
                  </a:lnTo>
                  <a:lnTo>
                    <a:pt x="129413" y="96900"/>
                  </a:lnTo>
                  <a:lnTo>
                    <a:pt x="129413" y="96900"/>
                  </a:lnTo>
                  <a:lnTo>
                    <a:pt x="88612" y="107738"/>
                  </a:lnTo>
                  <a:lnTo>
                    <a:pt x="48450" y="117938"/>
                  </a:lnTo>
                  <a:lnTo>
                    <a:pt x="6375" y="127500"/>
                  </a:lnTo>
                  <a:lnTo>
                    <a:pt x="0" y="129413"/>
                  </a:lnTo>
                  <a:lnTo>
                    <a:pt x="1912" y="140250"/>
                  </a:lnTo>
                  <a:lnTo>
                    <a:pt x="19125" y="237788"/>
                  </a:lnTo>
                  <a:lnTo>
                    <a:pt x="57375" y="465376"/>
                  </a:lnTo>
                  <a:lnTo>
                    <a:pt x="58650" y="476851"/>
                  </a:lnTo>
                  <a:lnTo>
                    <a:pt x="63750" y="471751"/>
                  </a:lnTo>
                  <a:lnTo>
                    <a:pt x="95625" y="467926"/>
                  </a:lnTo>
                  <a:lnTo>
                    <a:pt x="112200" y="476214"/>
                  </a:lnTo>
                  <a:lnTo>
                    <a:pt x="145350" y="504901"/>
                  </a:lnTo>
                  <a:lnTo>
                    <a:pt x="154913" y="501076"/>
                  </a:lnTo>
                  <a:lnTo>
                    <a:pt x="189338" y="516376"/>
                  </a:lnTo>
                  <a:lnTo>
                    <a:pt x="205913" y="503626"/>
                  </a:lnTo>
                  <a:lnTo>
                    <a:pt x="225038" y="511276"/>
                  </a:lnTo>
                  <a:lnTo>
                    <a:pt x="240338" y="507451"/>
                  </a:lnTo>
                  <a:lnTo>
                    <a:pt x="264563" y="483864"/>
                  </a:lnTo>
                  <a:lnTo>
                    <a:pt x="276675" y="504264"/>
                  </a:lnTo>
                  <a:lnTo>
                    <a:pt x="304088" y="519564"/>
                  </a:lnTo>
                  <a:lnTo>
                    <a:pt x="305363" y="520839"/>
                  </a:lnTo>
                  <a:lnTo>
                    <a:pt x="305363" y="520839"/>
                  </a:lnTo>
                  <a:lnTo>
                    <a:pt x="333413" y="507451"/>
                  </a:lnTo>
                  <a:lnTo>
                    <a:pt x="343613" y="486414"/>
                  </a:lnTo>
                  <a:lnTo>
                    <a:pt x="335963" y="464739"/>
                  </a:lnTo>
                  <a:lnTo>
                    <a:pt x="357638" y="431588"/>
                  </a:lnTo>
                  <a:lnTo>
                    <a:pt x="373576" y="429038"/>
                  </a:lnTo>
                  <a:lnTo>
                    <a:pt x="371663" y="400351"/>
                  </a:lnTo>
                  <a:lnTo>
                    <a:pt x="398438" y="364651"/>
                  </a:lnTo>
                  <a:lnTo>
                    <a:pt x="402901" y="369751"/>
                  </a:lnTo>
                  <a:lnTo>
                    <a:pt x="426488" y="351901"/>
                  </a:lnTo>
                  <a:lnTo>
                    <a:pt x="446888" y="320663"/>
                  </a:lnTo>
                  <a:lnTo>
                    <a:pt x="450076" y="179775"/>
                  </a:lnTo>
                  <a:lnTo>
                    <a:pt x="451351" y="179138"/>
                  </a:lnTo>
                  <a:lnTo>
                    <a:pt x="445613" y="162563"/>
                  </a:lnTo>
                  <a:lnTo>
                    <a:pt x="445613" y="1625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74" name="Freeform 56">
              <a:extLst>
                <a:ext uri="{FF2B5EF4-FFF2-40B4-BE49-F238E27FC236}">
                  <a16:creationId xmlns:a16="http://schemas.microsoft.com/office/drawing/2014/main" id="{0175BC8F-A1BC-C08B-3D5C-D8B9F77314D1}"/>
                </a:ext>
              </a:extLst>
            </p:cNvPr>
            <p:cNvSpPr/>
            <p:nvPr/>
          </p:nvSpPr>
          <p:spPr>
            <a:xfrm>
              <a:off x="5428516" y="2800524"/>
              <a:ext cx="897602" cy="372300"/>
            </a:xfrm>
            <a:custGeom>
              <a:avLst/>
              <a:gdLst>
                <a:gd name="connsiteX0" fmla="*/ 682764 w 897602"/>
                <a:gd name="connsiteY0" fmla="*/ 49087 h 372300"/>
                <a:gd name="connsiteX1" fmla="*/ 498526 w 897602"/>
                <a:gd name="connsiteY1" fmla="*/ 80325 h 372300"/>
                <a:gd name="connsiteX2" fmla="*/ 237151 w 897602"/>
                <a:gd name="connsiteY2" fmla="*/ 114750 h 372300"/>
                <a:gd name="connsiteX3" fmla="*/ 215476 w 897602"/>
                <a:gd name="connsiteY3" fmla="*/ 115388 h 372300"/>
                <a:gd name="connsiteX4" fmla="*/ 221851 w 897602"/>
                <a:gd name="connsiteY4" fmla="*/ 140888 h 372300"/>
                <a:gd name="connsiteX5" fmla="*/ 92438 w 897602"/>
                <a:gd name="connsiteY5" fmla="*/ 158100 h 372300"/>
                <a:gd name="connsiteX6" fmla="*/ 73950 w 897602"/>
                <a:gd name="connsiteY6" fmla="*/ 160650 h 372300"/>
                <a:gd name="connsiteX7" fmla="*/ 73950 w 897602"/>
                <a:gd name="connsiteY7" fmla="*/ 161288 h 372300"/>
                <a:gd name="connsiteX8" fmla="*/ 68850 w 897602"/>
                <a:gd name="connsiteY8" fmla="*/ 167663 h 372300"/>
                <a:gd name="connsiteX9" fmla="*/ 66300 w 897602"/>
                <a:gd name="connsiteY9" fmla="*/ 167025 h 372300"/>
                <a:gd name="connsiteX10" fmla="*/ 66300 w 897602"/>
                <a:gd name="connsiteY10" fmla="*/ 161925 h 372300"/>
                <a:gd name="connsiteX11" fmla="*/ 66300 w 897602"/>
                <a:gd name="connsiteY11" fmla="*/ 161288 h 372300"/>
                <a:gd name="connsiteX12" fmla="*/ 59288 w 897602"/>
                <a:gd name="connsiteY12" fmla="*/ 161925 h 372300"/>
                <a:gd name="connsiteX13" fmla="*/ 59925 w 897602"/>
                <a:gd name="connsiteY13" fmla="*/ 162563 h 372300"/>
                <a:gd name="connsiteX14" fmla="*/ 63750 w 897602"/>
                <a:gd name="connsiteY14" fmla="*/ 180413 h 372300"/>
                <a:gd name="connsiteX15" fmla="*/ 51000 w 897602"/>
                <a:gd name="connsiteY15" fmla="*/ 196351 h 372300"/>
                <a:gd name="connsiteX16" fmla="*/ 49725 w 897602"/>
                <a:gd name="connsiteY16" fmla="*/ 226313 h 372300"/>
                <a:gd name="connsiteX17" fmla="*/ 49725 w 897602"/>
                <a:gd name="connsiteY17" fmla="*/ 231413 h 372300"/>
                <a:gd name="connsiteX18" fmla="*/ 49725 w 897602"/>
                <a:gd name="connsiteY18" fmla="*/ 232050 h 372300"/>
                <a:gd name="connsiteX19" fmla="*/ 30600 w 897602"/>
                <a:gd name="connsiteY19" fmla="*/ 269025 h 372300"/>
                <a:gd name="connsiteX20" fmla="*/ 34425 w 897602"/>
                <a:gd name="connsiteY20" fmla="*/ 295801 h 372300"/>
                <a:gd name="connsiteX21" fmla="*/ 16575 w 897602"/>
                <a:gd name="connsiteY21" fmla="*/ 324488 h 372300"/>
                <a:gd name="connsiteX22" fmla="*/ 22950 w 897602"/>
                <a:gd name="connsiteY22" fmla="*/ 349988 h 372300"/>
                <a:gd name="connsiteX23" fmla="*/ 0 w 897602"/>
                <a:gd name="connsiteY23" fmla="*/ 371026 h 372300"/>
                <a:gd name="connsiteX24" fmla="*/ 1275 w 897602"/>
                <a:gd name="connsiteY24" fmla="*/ 372301 h 372300"/>
                <a:gd name="connsiteX25" fmla="*/ 15300 w 897602"/>
                <a:gd name="connsiteY25" fmla="*/ 371026 h 372300"/>
                <a:gd name="connsiteX26" fmla="*/ 143438 w 897602"/>
                <a:gd name="connsiteY26" fmla="*/ 355088 h 372300"/>
                <a:gd name="connsiteX27" fmla="*/ 199538 w 897602"/>
                <a:gd name="connsiteY27" fmla="*/ 347438 h 372300"/>
                <a:gd name="connsiteX28" fmla="*/ 232051 w 897602"/>
                <a:gd name="connsiteY28" fmla="*/ 342976 h 372300"/>
                <a:gd name="connsiteX29" fmla="*/ 233326 w 897602"/>
                <a:gd name="connsiteY29" fmla="*/ 342976 h 372300"/>
                <a:gd name="connsiteX30" fmla="*/ 232688 w 897602"/>
                <a:gd name="connsiteY30" fmla="*/ 341701 h 372300"/>
                <a:gd name="connsiteX31" fmla="*/ 340426 w 897602"/>
                <a:gd name="connsiteY31" fmla="*/ 327038 h 372300"/>
                <a:gd name="connsiteX32" fmla="*/ 392063 w 897602"/>
                <a:gd name="connsiteY32" fmla="*/ 320663 h 372300"/>
                <a:gd name="connsiteX33" fmla="*/ 494701 w 897602"/>
                <a:gd name="connsiteY33" fmla="*/ 304088 h 372300"/>
                <a:gd name="connsiteX34" fmla="*/ 513826 w 897602"/>
                <a:gd name="connsiteY34" fmla="*/ 300900 h 372300"/>
                <a:gd name="connsiteX35" fmla="*/ 525301 w 897602"/>
                <a:gd name="connsiteY35" fmla="*/ 299625 h 372300"/>
                <a:gd name="connsiteX36" fmla="*/ 580126 w 897602"/>
                <a:gd name="connsiteY36" fmla="*/ 288788 h 372300"/>
                <a:gd name="connsiteX37" fmla="*/ 593514 w 897602"/>
                <a:gd name="connsiteY37" fmla="*/ 286238 h 372300"/>
                <a:gd name="connsiteX38" fmla="*/ 643876 w 897602"/>
                <a:gd name="connsiteY38" fmla="*/ 276038 h 372300"/>
                <a:gd name="connsiteX39" fmla="*/ 653439 w 897602"/>
                <a:gd name="connsiteY39" fmla="*/ 274763 h 372300"/>
                <a:gd name="connsiteX40" fmla="*/ 653439 w 897602"/>
                <a:gd name="connsiteY40" fmla="*/ 268388 h 372300"/>
                <a:gd name="connsiteX41" fmla="*/ 652801 w 897602"/>
                <a:gd name="connsiteY41" fmla="*/ 239701 h 372300"/>
                <a:gd name="connsiteX42" fmla="*/ 676389 w 897602"/>
                <a:gd name="connsiteY42" fmla="*/ 226951 h 372300"/>
                <a:gd name="connsiteX43" fmla="*/ 677664 w 897602"/>
                <a:gd name="connsiteY43" fmla="*/ 210375 h 372300"/>
                <a:gd name="connsiteX44" fmla="*/ 705077 w 897602"/>
                <a:gd name="connsiteY44" fmla="*/ 185513 h 372300"/>
                <a:gd name="connsiteX45" fmla="*/ 730577 w 897602"/>
                <a:gd name="connsiteY45" fmla="*/ 179138 h 372300"/>
                <a:gd name="connsiteX46" fmla="*/ 783489 w 897602"/>
                <a:gd name="connsiteY46" fmla="*/ 131325 h 372300"/>
                <a:gd name="connsiteX47" fmla="*/ 803252 w 897602"/>
                <a:gd name="connsiteY47" fmla="*/ 101363 h 372300"/>
                <a:gd name="connsiteX48" fmla="*/ 818552 w 897602"/>
                <a:gd name="connsiteY48" fmla="*/ 107100 h 372300"/>
                <a:gd name="connsiteX49" fmla="*/ 852977 w 897602"/>
                <a:gd name="connsiteY49" fmla="*/ 73312 h 372300"/>
                <a:gd name="connsiteX50" fmla="*/ 871464 w 897602"/>
                <a:gd name="connsiteY50" fmla="*/ 71400 h 372300"/>
                <a:gd name="connsiteX51" fmla="*/ 888040 w 897602"/>
                <a:gd name="connsiteY51" fmla="*/ 37613 h 372300"/>
                <a:gd name="connsiteX52" fmla="*/ 895052 w 897602"/>
                <a:gd name="connsiteY52" fmla="*/ 38250 h 372300"/>
                <a:gd name="connsiteX53" fmla="*/ 894415 w 897602"/>
                <a:gd name="connsiteY53" fmla="*/ 10200 h 372300"/>
                <a:gd name="connsiteX54" fmla="*/ 897602 w 897602"/>
                <a:gd name="connsiteY54" fmla="*/ 0 h 372300"/>
                <a:gd name="connsiteX55" fmla="*/ 886765 w 897602"/>
                <a:gd name="connsiteY55" fmla="*/ 1912 h 372300"/>
                <a:gd name="connsiteX56" fmla="*/ 850427 w 897602"/>
                <a:gd name="connsiteY56" fmla="*/ 12750 h 372300"/>
                <a:gd name="connsiteX57" fmla="*/ 806439 w 897602"/>
                <a:gd name="connsiteY57" fmla="*/ 22313 h 372300"/>
                <a:gd name="connsiteX58" fmla="*/ 696789 w 897602"/>
                <a:gd name="connsiteY58" fmla="*/ 44625 h 372300"/>
                <a:gd name="connsiteX59" fmla="*/ 685314 w 897602"/>
                <a:gd name="connsiteY59" fmla="*/ 46538 h 372300"/>
                <a:gd name="connsiteX60" fmla="*/ 682764 w 897602"/>
                <a:gd name="connsiteY60" fmla="*/ 49087 h 372300"/>
                <a:gd name="connsiteX61" fmla="*/ 682764 w 897602"/>
                <a:gd name="connsiteY61" fmla="*/ 49087 h 37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7602" h="372300">
                  <a:moveTo>
                    <a:pt x="682764" y="49087"/>
                  </a:moveTo>
                  <a:lnTo>
                    <a:pt x="498526" y="80325"/>
                  </a:lnTo>
                  <a:lnTo>
                    <a:pt x="237151" y="114750"/>
                  </a:lnTo>
                  <a:lnTo>
                    <a:pt x="215476" y="115388"/>
                  </a:lnTo>
                  <a:lnTo>
                    <a:pt x="221851" y="140888"/>
                  </a:lnTo>
                  <a:lnTo>
                    <a:pt x="92438" y="158100"/>
                  </a:lnTo>
                  <a:lnTo>
                    <a:pt x="73950" y="160650"/>
                  </a:lnTo>
                  <a:lnTo>
                    <a:pt x="73950" y="161288"/>
                  </a:lnTo>
                  <a:lnTo>
                    <a:pt x="68850" y="167663"/>
                  </a:lnTo>
                  <a:lnTo>
                    <a:pt x="66300" y="167025"/>
                  </a:lnTo>
                  <a:lnTo>
                    <a:pt x="66300" y="161925"/>
                  </a:lnTo>
                  <a:lnTo>
                    <a:pt x="66300" y="161288"/>
                  </a:lnTo>
                  <a:lnTo>
                    <a:pt x="59288" y="161925"/>
                  </a:lnTo>
                  <a:lnTo>
                    <a:pt x="59925" y="162563"/>
                  </a:lnTo>
                  <a:lnTo>
                    <a:pt x="63750" y="180413"/>
                  </a:lnTo>
                  <a:lnTo>
                    <a:pt x="51000" y="196351"/>
                  </a:lnTo>
                  <a:lnTo>
                    <a:pt x="49725" y="226313"/>
                  </a:lnTo>
                  <a:lnTo>
                    <a:pt x="49725" y="231413"/>
                  </a:lnTo>
                  <a:lnTo>
                    <a:pt x="49725" y="232050"/>
                  </a:lnTo>
                  <a:lnTo>
                    <a:pt x="30600" y="269025"/>
                  </a:lnTo>
                  <a:lnTo>
                    <a:pt x="34425" y="295801"/>
                  </a:lnTo>
                  <a:lnTo>
                    <a:pt x="16575" y="324488"/>
                  </a:lnTo>
                  <a:lnTo>
                    <a:pt x="22950" y="349988"/>
                  </a:lnTo>
                  <a:lnTo>
                    <a:pt x="0" y="371026"/>
                  </a:lnTo>
                  <a:lnTo>
                    <a:pt x="1275" y="372301"/>
                  </a:lnTo>
                  <a:lnTo>
                    <a:pt x="15300" y="371026"/>
                  </a:lnTo>
                  <a:lnTo>
                    <a:pt x="143438" y="355088"/>
                  </a:lnTo>
                  <a:lnTo>
                    <a:pt x="199538" y="347438"/>
                  </a:lnTo>
                  <a:lnTo>
                    <a:pt x="232051" y="342976"/>
                  </a:lnTo>
                  <a:lnTo>
                    <a:pt x="233326" y="342976"/>
                  </a:lnTo>
                  <a:lnTo>
                    <a:pt x="232688" y="341701"/>
                  </a:lnTo>
                  <a:lnTo>
                    <a:pt x="340426" y="327038"/>
                  </a:lnTo>
                  <a:lnTo>
                    <a:pt x="392063" y="320663"/>
                  </a:lnTo>
                  <a:lnTo>
                    <a:pt x="494701" y="304088"/>
                  </a:lnTo>
                  <a:lnTo>
                    <a:pt x="513826" y="300900"/>
                  </a:lnTo>
                  <a:lnTo>
                    <a:pt x="525301" y="299625"/>
                  </a:lnTo>
                  <a:lnTo>
                    <a:pt x="580126" y="288788"/>
                  </a:lnTo>
                  <a:lnTo>
                    <a:pt x="593514" y="286238"/>
                  </a:lnTo>
                  <a:lnTo>
                    <a:pt x="643876" y="276038"/>
                  </a:lnTo>
                  <a:lnTo>
                    <a:pt x="653439" y="274763"/>
                  </a:lnTo>
                  <a:lnTo>
                    <a:pt x="653439" y="268388"/>
                  </a:lnTo>
                  <a:lnTo>
                    <a:pt x="652801" y="239701"/>
                  </a:lnTo>
                  <a:lnTo>
                    <a:pt x="676389" y="226951"/>
                  </a:lnTo>
                  <a:lnTo>
                    <a:pt x="677664" y="210375"/>
                  </a:lnTo>
                  <a:lnTo>
                    <a:pt x="705077" y="185513"/>
                  </a:lnTo>
                  <a:lnTo>
                    <a:pt x="730577" y="179138"/>
                  </a:lnTo>
                  <a:lnTo>
                    <a:pt x="783489" y="131325"/>
                  </a:lnTo>
                  <a:lnTo>
                    <a:pt x="803252" y="101363"/>
                  </a:lnTo>
                  <a:lnTo>
                    <a:pt x="818552" y="107100"/>
                  </a:lnTo>
                  <a:lnTo>
                    <a:pt x="852977" y="73312"/>
                  </a:lnTo>
                  <a:lnTo>
                    <a:pt x="871464" y="71400"/>
                  </a:lnTo>
                  <a:lnTo>
                    <a:pt x="888040" y="37613"/>
                  </a:lnTo>
                  <a:lnTo>
                    <a:pt x="895052" y="38250"/>
                  </a:lnTo>
                  <a:lnTo>
                    <a:pt x="894415" y="10200"/>
                  </a:lnTo>
                  <a:lnTo>
                    <a:pt x="897602" y="0"/>
                  </a:lnTo>
                  <a:lnTo>
                    <a:pt x="886765" y="1912"/>
                  </a:lnTo>
                  <a:lnTo>
                    <a:pt x="850427" y="12750"/>
                  </a:lnTo>
                  <a:lnTo>
                    <a:pt x="806439" y="22313"/>
                  </a:lnTo>
                  <a:lnTo>
                    <a:pt x="696789" y="44625"/>
                  </a:lnTo>
                  <a:lnTo>
                    <a:pt x="685314" y="46538"/>
                  </a:lnTo>
                  <a:lnTo>
                    <a:pt x="682764" y="49087"/>
                  </a:lnTo>
                  <a:lnTo>
                    <a:pt x="682764" y="49087"/>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75" name="Freeform 57">
              <a:extLst>
                <a:ext uri="{FF2B5EF4-FFF2-40B4-BE49-F238E27FC236}">
                  <a16:creationId xmlns:a16="http://schemas.microsoft.com/office/drawing/2014/main" id="{5B7036E6-427A-EBEF-B077-F367CB445F02}"/>
                </a:ext>
              </a:extLst>
            </p:cNvPr>
            <p:cNvSpPr/>
            <p:nvPr/>
          </p:nvSpPr>
          <p:spPr>
            <a:xfrm>
              <a:off x="6113192" y="2341524"/>
              <a:ext cx="826201" cy="505538"/>
            </a:xfrm>
            <a:custGeom>
              <a:avLst/>
              <a:gdLst>
                <a:gd name="connsiteX0" fmla="*/ 808352 w 826201"/>
                <a:gd name="connsiteY0" fmla="*/ 313013 h 505538"/>
                <a:gd name="connsiteX1" fmla="*/ 810264 w 826201"/>
                <a:gd name="connsiteY1" fmla="*/ 313013 h 505538"/>
                <a:gd name="connsiteX2" fmla="*/ 812177 w 826201"/>
                <a:gd name="connsiteY2" fmla="*/ 312376 h 505538"/>
                <a:gd name="connsiteX3" fmla="*/ 812177 w 826201"/>
                <a:gd name="connsiteY3" fmla="*/ 312376 h 505538"/>
                <a:gd name="connsiteX4" fmla="*/ 810902 w 826201"/>
                <a:gd name="connsiteY4" fmla="*/ 309188 h 505538"/>
                <a:gd name="connsiteX5" fmla="*/ 808352 w 826201"/>
                <a:gd name="connsiteY5" fmla="*/ 313013 h 505538"/>
                <a:gd name="connsiteX6" fmla="*/ 808352 w 826201"/>
                <a:gd name="connsiteY6" fmla="*/ 313013 h 505538"/>
                <a:gd name="connsiteX7" fmla="*/ 808352 w 826201"/>
                <a:gd name="connsiteY7" fmla="*/ 313013 h 505538"/>
                <a:gd name="connsiteX8" fmla="*/ 786677 w 826201"/>
                <a:gd name="connsiteY8" fmla="*/ 240975 h 505538"/>
                <a:gd name="connsiteX9" fmla="*/ 786677 w 826201"/>
                <a:gd name="connsiteY9" fmla="*/ 244163 h 505538"/>
                <a:gd name="connsiteX10" fmla="*/ 789864 w 826201"/>
                <a:gd name="connsiteY10" fmla="*/ 242250 h 505538"/>
                <a:gd name="connsiteX11" fmla="*/ 786677 w 826201"/>
                <a:gd name="connsiteY11" fmla="*/ 240975 h 505538"/>
                <a:gd name="connsiteX12" fmla="*/ 798152 w 826201"/>
                <a:gd name="connsiteY12" fmla="*/ 218025 h 505538"/>
                <a:gd name="connsiteX13" fmla="*/ 797514 w 826201"/>
                <a:gd name="connsiteY13" fmla="*/ 212925 h 505538"/>
                <a:gd name="connsiteX14" fmla="*/ 797514 w 826201"/>
                <a:gd name="connsiteY14" fmla="*/ 212925 h 505538"/>
                <a:gd name="connsiteX15" fmla="*/ 798152 w 826201"/>
                <a:gd name="connsiteY15" fmla="*/ 218025 h 505538"/>
                <a:gd name="connsiteX16" fmla="*/ 793689 w 826201"/>
                <a:gd name="connsiteY16" fmla="*/ 226313 h 505538"/>
                <a:gd name="connsiteX17" fmla="*/ 792414 w 826201"/>
                <a:gd name="connsiteY17" fmla="*/ 234600 h 505538"/>
                <a:gd name="connsiteX18" fmla="*/ 790502 w 826201"/>
                <a:gd name="connsiteY18" fmla="*/ 237788 h 505538"/>
                <a:gd name="connsiteX19" fmla="*/ 793689 w 826201"/>
                <a:gd name="connsiteY19" fmla="*/ 226313 h 505538"/>
                <a:gd name="connsiteX20" fmla="*/ 793689 w 826201"/>
                <a:gd name="connsiteY20" fmla="*/ 226313 h 505538"/>
                <a:gd name="connsiteX21" fmla="*/ 800064 w 826201"/>
                <a:gd name="connsiteY21" fmla="*/ 209738 h 505538"/>
                <a:gd name="connsiteX22" fmla="*/ 800701 w 826201"/>
                <a:gd name="connsiteY22" fmla="*/ 205913 h 505538"/>
                <a:gd name="connsiteX23" fmla="*/ 800064 w 826201"/>
                <a:gd name="connsiteY23" fmla="*/ 209738 h 505538"/>
                <a:gd name="connsiteX24" fmla="*/ 800064 w 826201"/>
                <a:gd name="connsiteY24" fmla="*/ 209738 h 505538"/>
                <a:gd name="connsiteX25" fmla="*/ 800064 w 826201"/>
                <a:gd name="connsiteY25" fmla="*/ 209738 h 505538"/>
                <a:gd name="connsiteX26" fmla="*/ 803889 w 826201"/>
                <a:gd name="connsiteY26" fmla="*/ 191888 h 505538"/>
                <a:gd name="connsiteX27" fmla="*/ 805802 w 826201"/>
                <a:gd name="connsiteY27" fmla="*/ 187425 h 505538"/>
                <a:gd name="connsiteX28" fmla="*/ 802614 w 826201"/>
                <a:gd name="connsiteY28" fmla="*/ 198900 h 505538"/>
                <a:gd name="connsiteX29" fmla="*/ 803889 w 826201"/>
                <a:gd name="connsiteY29" fmla="*/ 191888 h 505538"/>
                <a:gd name="connsiteX30" fmla="*/ 804527 w 826201"/>
                <a:gd name="connsiteY30" fmla="*/ 182325 h 505538"/>
                <a:gd name="connsiteX31" fmla="*/ 807076 w 826201"/>
                <a:gd name="connsiteY31" fmla="*/ 168300 h 505538"/>
                <a:gd name="connsiteX32" fmla="*/ 803889 w 826201"/>
                <a:gd name="connsiteY32" fmla="*/ 171488 h 505538"/>
                <a:gd name="connsiteX33" fmla="*/ 804527 w 826201"/>
                <a:gd name="connsiteY33" fmla="*/ 182325 h 505538"/>
                <a:gd name="connsiteX34" fmla="*/ 804527 w 826201"/>
                <a:gd name="connsiteY34" fmla="*/ 182325 h 505538"/>
                <a:gd name="connsiteX35" fmla="*/ 816002 w 826201"/>
                <a:gd name="connsiteY35" fmla="*/ 119213 h 505538"/>
                <a:gd name="connsiteX36" fmla="*/ 817277 w 826201"/>
                <a:gd name="connsiteY36" fmla="*/ 113475 h 505538"/>
                <a:gd name="connsiteX37" fmla="*/ 816639 w 826201"/>
                <a:gd name="connsiteY37" fmla="*/ 114750 h 505538"/>
                <a:gd name="connsiteX38" fmla="*/ 816002 w 826201"/>
                <a:gd name="connsiteY38" fmla="*/ 119213 h 505538"/>
                <a:gd name="connsiteX39" fmla="*/ 816002 w 826201"/>
                <a:gd name="connsiteY39" fmla="*/ 119213 h 505538"/>
                <a:gd name="connsiteX40" fmla="*/ 813452 w 826201"/>
                <a:gd name="connsiteY40" fmla="*/ 103913 h 505538"/>
                <a:gd name="connsiteX41" fmla="*/ 805164 w 826201"/>
                <a:gd name="connsiteY41" fmla="*/ 107100 h 505538"/>
                <a:gd name="connsiteX42" fmla="*/ 792414 w 826201"/>
                <a:gd name="connsiteY42" fmla="*/ 112838 h 505538"/>
                <a:gd name="connsiteX43" fmla="*/ 787951 w 826201"/>
                <a:gd name="connsiteY43" fmla="*/ 118575 h 505538"/>
                <a:gd name="connsiteX44" fmla="*/ 789864 w 826201"/>
                <a:gd name="connsiteY44" fmla="*/ 119213 h 505538"/>
                <a:gd name="connsiteX45" fmla="*/ 774564 w 826201"/>
                <a:gd name="connsiteY45" fmla="*/ 215475 h 505538"/>
                <a:gd name="connsiteX46" fmla="*/ 780302 w 826201"/>
                <a:gd name="connsiteY46" fmla="*/ 230775 h 505538"/>
                <a:gd name="connsiteX47" fmla="*/ 789864 w 826201"/>
                <a:gd name="connsiteY47" fmla="*/ 191250 h 505538"/>
                <a:gd name="connsiteX48" fmla="*/ 806439 w 826201"/>
                <a:gd name="connsiteY48" fmla="*/ 138975 h 505538"/>
                <a:gd name="connsiteX49" fmla="*/ 813452 w 826201"/>
                <a:gd name="connsiteY49" fmla="*/ 103913 h 505538"/>
                <a:gd name="connsiteX50" fmla="*/ 813452 w 826201"/>
                <a:gd name="connsiteY50" fmla="*/ 103913 h 505538"/>
                <a:gd name="connsiteX51" fmla="*/ 813452 w 826201"/>
                <a:gd name="connsiteY51" fmla="*/ 103913 h 505538"/>
                <a:gd name="connsiteX52" fmla="*/ 826202 w 826201"/>
                <a:gd name="connsiteY52" fmla="*/ 98813 h 505538"/>
                <a:gd name="connsiteX53" fmla="*/ 824289 w 826201"/>
                <a:gd name="connsiteY53" fmla="*/ 99450 h 505538"/>
                <a:gd name="connsiteX54" fmla="*/ 823652 w 826201"/>
                <a:gd name="connsiteY54" fmla="*/ 102000 h 505538"/>
                <a:gd name="connsiteX55" fmla="*/ 820464 w 826201"/>
                <a:gd name="connsiteY55" fmla="*/ 121763 h 505538"/>
                <a:gd name="connsiteX56" fmla="*/ 823014 w 826201"/>
                <a:gd name="connsiteY56" fmla="*/ 114750 h 505538"/>
                <a:gd name="connsiteX57" fmla="*/ 826202 w 826201"/>
                <a:gd name="connsiteY57" fmla="*/ 98813 h 505538"/>
                <a:gd name="connsiteX58" fmla="*/ 826202 w 826201"/>
                <a:gd name="connsiteY58" fmla="*/ 98813 h 505538"/>
                <a:gd name="connsiteX59" fmla="*/ 154913 w 826201"/>
                <a:gd name="connsiteY59" fmla="*/ 344888 h 505538"/>
                <a:gd name="connsiteX60" fmla="*/ 150450 w 826201"/>
                <a:gd name="connsiteY60" fmla="*/ 351263 h 505538"/>
                <a:gd name="connsiteX61" fmla="*/ 119213 w 826201"/>
                <a:gd name="connsiteY61" fmla="*/ 390151 h 505538"/>
                <a:gd name="connsiteX62" fmla="*/ 94988 w 826201"/>
                <a:gd name="connsiteY62" fmla="*/ 409276 h 505538"/>
                <a:gd name="connsiteX63" fmla="*/ 89888 w 826201"/>
                <a:gd name="connsiteY63" fmla="*/ 425851 h 505538"/>
                <a:gd name="connsiteX64" fmla="*/ 52913 w 826201"/>
                <a:gd name="connsiteY64" fmla="*/ 474938 h 505538"/>
                <a:gd name="connsiteX65" fmla="*/ 4463 w 826201"/>
                <a:gd name="connsiteY65" fmla="*/ 500439 h 505538"/>
                <a:gd name="connsiteX66" fmla="*/ 0 w 826201"/>
                <a:gd name="connsiteY66" fmla="*/ 505538 h 505538"/>
                <a:gd name="connsiteX67" fmla="*/ 11475 w 826201"/>
                <a:gd name="connsiteY67" fmla="*/ 503626 h 505538"/>
                <a:gd name="connsiteX68" fmla="*/ 121125 w 826201"/>
                <a:gd name="connsiteY68" fmla="*/ 481313 h 505538"/>
                <a:gd name="connsiteX69" fmla="*/ 165113 w 826201"/>
                <a:gd name="connsiteY69" fmla="*/ 471751 h 505538"/>
                <a:gd name="connsiteX70" fmla="*/ 201450 w 826201"/>
                <a:gd name="connsiteY70" fmla="*/ 460913 h 505538"/>
                <a:gd name="connsiteX71" fmla="*/ 212288 w 826201"/>
                <a:gd name="connsiteY71" fmla="*/ 459001 h 505538"/>
                <a:gd name="connsiteX72" fmla="*/ 212926 w 826201"/>
                <a:gd name="connsiteY72" fmla="*/ 460276 h 505538"/>
                <a:gd name="connsiteX73" fmla="*/ 378676 w 826201"/>
                <a:gd name="connsiteY73" fmla="*/ 429038 h 505538"/>
                <a:gd name="connsiteX74" fmla="*/ 542513 w 826201"/>
                <a:gd name="connsiteY74" fmla="*/ 387601 h 505538"/>
                <a:gd name="connsiteX75" fmla="*/ 799427 w 826201"/>
                <a:gd name="connsiteY75" fmla="*/ 314288 h 505538"/>
                <a:gd name="connsiteX76" fmla="*/ 799427 w 826201"/>
                <a:gd name="connsiteY76" fmla="*/ 314288 h 505538"/>
                <a:gd name="connsiteX77" fmla="*/ 797514 w 826201"/>
                <a:gd name="connsiteY77" fmla="*/ 311101 h 505538"/>
                <a:gd name="connsiteX78" fmla="*/ 796877 w 826201"/>
                <a:gd name="connsiteY78" fmla="*/ 309188 h 505538"/>
                <a:gd name="connsiteX79" fmla="*/ 801339 w 826201"/>
                <a:gd name="connsiteY79" fmla="*/ 313651 h 505538"/>
                <a:gd name="connsiteX80" fmla="*/ 801339 w 826201"/>
                <a:gd name="connsiteY80" fmla="*/ 313651 h 505538"/>
                <a:gd name="connsiteX81" fmla="*/ 801339 w 826201"/>
                <a:gd name="connsiteY81" fmla="*/ 313651 h 505538"/>
                <a:gd name="connsiteX82" fmla="*/ 806439 w 826201"/>
                <a:gd name="connsiteY82" fmla="*/ 312376 h 505538"/>
                <a:gd name="connsiteX83" fmla="*/ 805802 w 826201"/>
                <a:gd name="connsiteY83" fmla="*/ 311738 h 505538"/>
                <a:gd name="connsiteX84" fmla="*/ 801339 w 826201"/>
                <a:gd name="connsiteY84" fmla="*/ 290063 h 505538"/>
                <a:gd name="connsiteX85" fmla="*/ 804527 w 826201"/>
                <a:gd name="connsiteY85" fmla="*/ 290701 h 505538"/>
                <a:gd name="connsiteX86" fmla="*/ 815364 w 826201"/>
                <a:gd name="connsiteY86" fmla="*/ 309826 h 505538"/>
                <a:gd name="connsiteX87" fmla="*/ 815364 w 826201"/>
                <a:gd name="connsiteY87" fmla="*/ 309826 h 505538"/>
                <a:gd name="connsiteX88" fmla="*/ 815364 w 826201"/>
                <a:gd name="connsiteY88" fmla="*/ 309826 h 505538"/>
                <a:gd name="connsiteX89" fmla="*/ 817277 w 826201"/>
                <a:gd name="connsiteY89" fmla="*/ 309188 h 505538"/>
                <a:gd name="connsiteX90" fmla="*/ 818552 w 826201"/>
                <a:gd name="connsiteY90" fmla="*/ 308551 h 505538"/>
                <a:gd name="connsiteX91" fmla="*/ 816002 w 826201"/>
                <a:gd name="connsiteY91" fmla="*/ 303451 h 505538"/>
                <a:gd name="connsiteX92" fmla="*/ 789227 w 826201"/>
                <a:gd name="connsiteY92" fmla="*/ 263288 h 505538"/>
                <a:gd name="connsiteX93" fmla="*/ 756076 w 826201"/>
                <a:gd name="connsiteY93" fmla="*/ 269025 h 505538"/>
                <a:gd name="connsiteX94" fmla="*/ 741414 w 826201"/>
                <a:gd name="connsiteY94" fmla="*/ 281138 h 505538"/>
                <a:gd name="connsiteX95" fmla="*/ 727389 w 826201"/>
                <a:gd name="connsiteY95" fmla="*/ 268388 h 505538"/>
                <a:gd name="connsiteX96" fmla="*/ 678939 w 826201"/>
                <a:gd name="connsiteY96" fmla="*/ 252451 h 505538"/>
                <a:gd name="connsiteX97" fmla="*/ 645789 w 826201"/>
                <a:gd name="connsiteY97" fmla="*/ 251175 h 505538"/>
                <a:gd name="connsiteX98" fmla="*/ 710814 w 826201"/>
                <a:gd name="connsiteY98" fmla="*/ 245438 h 505538"/>
                <a:gd name="connsiteX99" fmla="*/ 746514 w 826201"/>
                <a:gd name="connsiteY99" fmla="*/ 269663 h 505538"/>
                <a:gd name="connsiteX100" fmla="*/ 757351 w 826201"/>
                <a:gd name="connsiteY100" fmla="*/ 253725 h 505538"/>
                <a:gd name="connsiteX101" fmla="*/ 728027 w 826201"/>
                <a:gd name="connsiteY101" fmla="*/ 217388 h 505538"/>
                <a:gd name="connsiteX102" fmla="*/ 748427 w 826201"/>
                <a:gd name="connsiteY102" fmla="*/ 218663 h 505538"/>
                <a:gd name="connsiteX103" fmla="*/ 736951 w 826201"/>
                <a:gd name="connsiteY103" fmla="*/ 188700 h 505538"/>
                <a:gd name="connsiteX104" fmla="*/ 711451 w 826201"/>
                <a:gd name="connsiteY104" fmla="*/ 189975 h 505538"/>
                <a:gd name="connsiteX105" fmla="*/ 650889 w 826201"/>
                <a:gd name="connsiteY105" fmla="*/ 140250 h 505538"/>
                <a:gd name="connsiteX106" fmla="*/ 643239 w 826201"/>
                <a:gd name="connsiteY106" fmla="*/ 140250 h 505538"/>
                <a:gd name="connsiteX107" fmla="*/ 729302 w 826201"/>
                <a:gd name="connsiteY107" fmla="*/ 182325 h 505538"/>
                <a:gd name="connsiteX108" fmla="*/ 723564 w 826201"/>
                <a:gd name="connsiteY108" fmla="*/ 152363 h 505538"/>
                <a:gd name="connsiteX109" fmla="*/ 729302 w 826201"/>
                <a:gd name="connsiteY109" fmla="*/ 142163 h 505538"/>
                <a:gd name="connsiteX110" fmla="*/ 685314 w 826201"/>
                <a:gd name="connsiteY110" fmla="*/ 125588 h 505538"/>
                <a:gd name="connsiteX111" fmla="*/ 647701 w 826201"/>
                <a:gd name="connsiteY111" fmla="*/ 123038 h 505538"/>
                <a:gd name="connsiteX112" fmla="*/ 627939 w 826201"/>
                <a:gd name="connsiteY112" fmla="*/ 107738 h 505538"/>
                <a:gd name="connsiteX113" fmla="*/ 612639 w 826201"/>
                <a:gd name="connsiteY113" fmla="*/ 117938 h 505538"/>
                <a:gd name="connsiteX114" fmla="*/ 606901 w 826201"/>
                <a:gd name="connsiteY114" fmla="*/ 73313 h 505538"/>
                <a:gd name="connsiteX115" fmla="*/ 613276 w 826201"/>
                <a:gd name="connsiteY115" fmla="*/ 74588 h 505538"/>
                <a:gd name="connsiteX116" fmla="*/ 612001 w 826201"/>
                <a:gd name="connsiteY116" fmla="*/ 38888 h 505538"/>
                <a:gd name="connsiteX117" fmla="*/ 610726 w 826201"/>
                <a:gd name="connsiteY117" fmla="*/ 37613 h 505538"/>
                <a:gd name="connsiteX118" fmla="*/ 609451 w 826201"/>
                <a:gd name="connsiteY118" fmla="*/ 38250 h 505538"/>
                <a:gd name="connsiteX119" fmla="*/ 608176 w 826201"/>
                <a:gd name="connsiteY119" fmla="*/ 37613 h 505538"/>
                <a:gd name="connsiteX120" fmla="*/ 604989 w 826201"/>
                <a:gd name="connsiteY120" fmla="*/ 35063 h 505538"/>
                <a:gd name="connsiteX121" fmla="*/ 603076 w 826201"/>
                <a:gd name="connsiteY121" fmla="*/ 33150 h 505538"/>
                <a:gd name="connsiteX122" fmla="*/ 582676 w 826201"/>
                <a:gd name="connsiteY122" fmla="*/ 23587 h 505538"/>
                <a:gd name="connsiteX123" fmla="*/ 561638 w 826201"/>
                <a:gd name="connsiteY123" fmla="*/ 8287 h 505538"/>
                <a:gd name="connsiteX124" fmla="*/ 531676 w 826201"/>
                <a:gd name="connsiteY124" fmla="*/ 638 h 505538"/>
                <a:gd name="connsiteX125" fmla="*/ 529763 w 826201"/>
                <a:gd name="connsiteY125" fmla="*/ 0 h 505538"/>
                <a:gd name="connsiteX126" fmla="*/ 529763 w 826201"/>
                <a:gd name="connsiteY126" fmla="*/ 638 h 505538"/>
                <a:gd name="connsiteX127" fmla="*/ 525939 w 826201"/>
                <a:gd name="connsiteY127" fmla="*/ 28050 h 505538"/>
                <a:gd name="connsiteX128" fmla="*/ 466651 w 826201"/>
                <a:gd name="connsiteY128" fmla="*/ 2550 h 505538"/>
                <a:gd name="connsiteX129" fmla="*/ 467926 w 826201"/>
                <a:gd name="connsiteY129" fmla="*/ 39525 h 505538"/>
                <a:gd name="connsiteX130" fmla="*/ 434776 w 826201"/>
                <a:gd name="connsiteY130" fmla="*/ 102000 h 505538"/>
                <a:gd name="connsiteX131" fmla="*/ 415013 w 826201"/>
                <a:gd name="connsiteY131" fmla="*/ 123675 h 505538"/>
                <a:gd name="connsiteX132" fmla="*/ 402263 w 826201"/>
                <a:gd name="connsiteY132" fmla="*/ 161288 h 505538"/>
                <a:gd name="connsiteX133" fmla="*/ 363376 w 826201"/>
                <a:gd name="connsiteY133" fmla="*/ 147900 h 505538"/>
                <a:gd name="connsiteX134" fmla="*/ 344251 w 826201"/>
                <a:gd name="connsiteY134" fmla="*/ 235238 h 505538"/>
                <a:gd name="connsiteX135" fmla="*/ 328951 w 826201"/>
                <a:gd name="connsiteY135" fmla="*/ 265201 h 505538"/>
                <a:gd name="connsiteX136" fmla="*/ 326401 w 826201"/>
                <a:gd name="connsiteY136" fmla="*/ 303451 h 505538"/>
                <a:gd name="connsiteX137" fmla="*/ 314926 w 826201"/>
                <a:gd name="connsiteY137" fmla="*/ 321938 h 505538"/>
                <a:gd name="connsiteX138" fmla="*/ 272213 w 826201"/>
                <a:gd name="connsiteY138" fmla="*/ 334688 h 505538"/>
                <a:gd name="connsiteX139" fmla="*/ 237151 w 826201"/>
                <a:gd name="connsiteY139" fmla="*/ 362738 h 505538"/>
                <a:gd name="connsiteX140" fmla="*/ 220575 w 826201"/>
                <a:gd name="connsiteY140" fmla="*/ 365288 h 505538"/>
                <a:gd name="connsiteX141" fmla="*/ 204638 w 826201"/>
                <a:gd name="connsiteY141" fmla="*/ 379313 h 505538"/>
                <a:gd name="connsiteX142" fmla="*/ 164475 w 826201"/>
                <a:gd name="connsiteY142" fmla="*/ 364651 h 505538"/>
                <a:gd name="connsiteX143" fmla="*/ 156188 w 826201"/>
                <a:gd name="connsiteY143" fmla="*/ 343613 h 505538"/>
                <a:gd name="connsiteX144" fmla="*/ 154913 w 826201"/>
                <a:gd name="connsiteY144" fmla="*/ 344888 h 505538"/>
                <a:gd name="connsiteX145" fmla="*/ 154913 w 826201"/>
                <a:gd name="connsiteY145" fmla="*/ 344888 h 5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26201" h="505538">
                  <a:moveTo>
                    <a:pt x="808352" y="313013"/>
                  </a:moveTo>
                  <a:lnTo>
                    <a:pt x="810264" y="313013"/>
                  </a:lnTo>
                  <a:lnTo>
                    <a:pt x="812177" y="312376"/>
                  </a:lnTo>
                  <a:lnTo>
                    <a:pt x="812177" y="312376"/>
                  </a:lnTo>
                  <a:lnTo>
                    <a:pt x="810902" y="309188"/>
                  </a:lnTo>
                  <a:lnTo>
                    <a:pt x="808352" y="313013"/>
                  </a:lnTo>
                  <a:lnTo>
                    <a:pt x="808352" y="313013"/>
                  </a:lnTo>
                  <a:lnTo>
                    <a:pt x="808352" y="313013"/>
                  </a:lnTo>
                  <a:close/>
                  <a:moveTo>
                    <a:pt x="786677" y="240975"/>
                  </a:moveTo>
                  <a:lnTo>
                    <a:pt x="786677" y="244163"/>
                  </a:lnTo>
                  <a:lnTo>
                    <a:pt x="789864" y="242250"/>
                  </a:lnTo>
                  <a:lnTo>
                    <a:pt x="786677" y="240975"/>
                  </a:lnTo>
                  <a:close/>
                  <a:moveTo>
                    <a:pt x="798152" y="218025"/>
                  </a:moveTo>
                  <a:lnTo>
                    <a:pt x="797514" y="212925"/>
                  </a:lnTo>
                  <a:lnTo>
                    <a:pt x="797514" y="212925"/>
                  </a:lnTo>
                  <a:lnTo>
                    <a:pt x="798152" y="218025"/>
                  </a:lnTo>
                  <a:close/>
                  <a:moveTo>
                    <a:pt x="793689" y="226313"/>
                  </a:moveTo>
                  <a:lnTo>
                    <a:pt x="792414" y="234600"/>
                  </a:lnTo>
                  <a:lnTo>
                    <a:pt x="790502" y="237788"/>
                  </a:lnTo>
                  <a:lnTo>
                    <a:pt x="793689" y="226313"/>
                  </a:lnTo>
                  <a:lnTo>
                    <a:pt x="793689" y="226313"/>
                  </a:lnTo>
                  <a:close/>
                  <a:moveTo>
                    <a:pt x="800064" y="209738"/>
                  </a:moveTo>
                  <a:lnTo>
                    <a:pt x="800701" y="205913"/>
                  </a:lnTo>
                  <a:lnTo>
                    <a:pt x="800064" y="209738"/>
                  </a:lnTo>
                  <a:lnTo>
                    <a:pt x="800064" y="209738"/>
                  </a:lnTo>
                  <a:lnTo>
                    <a:pt x="800064" y="209738"/>
                  </a:lnTo>
                  <a:close/>
                  <a:moveTo>
                    <a:pt x="803889" y="191888"/>
                  </a:moveTo>
                  <a:lnTo>
                    <a:pt x="805802" y="187425"/>
                  </a:lnTo>
                  <a:lnTo>
                    <a:pt x="802614" y="198900"/>
                  </a:lnTo>
                  <a:lnTo>
                    <a:pt x="803889" y="191888"/>
                  </a:lnTo>
                  <a:close/>
                  <a:moveTo>
                    <a:pt x="804527" y="182325"/>
                  </a:moveTo>
                  <a:lnTo>
                    <a:pt x="807076" y="168300"/>
                  </a:lnTo>
                  <a:lnTo>
                    <a:pt x="803889" y="171488"/>
                  </a:lnTo>
                  <a:lnTo>
                    <a:pt x="804527" y="182325"/>
                  </a:lnTo>
                  <a:lnTo>
                    <a:pt x="804527" y="182325"/>
                  </a:lnTo>
                  <a:close/>
                  <a:moveTo>
                    <a:pt x="816002" y="119213"/>
                  </a:moveTo>
                  <a:lnTo>
                    <a:pt x="817277" y="113475"/>
                  </a:lnTo>
                  <a:lnTo>
                    <a:pt x="816639" y="114750"/>
                  </a:lnTo>
                  <a:lnTo>
                    <a:pt x="816002" y="119213"/>
                  </a:lnTo>
                  <a:lnTo>
                    <a:pt x="816002" y="119213"/>
                  </a:lnTo>
                  <a:close/>
                  <a:moveTo>
                    <a:pt x="813452" y="103913"/>
                  </a:moveTo>
                  <a:lnTo>
                    <a:pt x="805164" y="107100"/>
                  </a:lnTo>
                  <a:lnTo>
                    <a:pt x="792414" y="112838"/>
                  </a:lnTo>
                  <a:lnTo>
                    <a:pt x="787951" y="118575"/>
                  </a:lnTo>
                  <a:lnTo>
                    <a:pt x="789864" y="119213"/>
                  </a:lnTo>
                  <a:lnTo>
                    <a:pt x="774564" y="215475"/>
                  </a:lnTo>
                  <a:lnTo>
                    <a:pt x="780302" y="230775"/>
                  </a:lnTo>
                  <a:lnTo>
                    <a:pt x="789864" y="191250"/>
                  </a:lnTo>
                  <a:lnTo>
                    <a:pt x="806439" y="138975"/>
                  </a:lnTo>
                  <a:lnTo>
                    <a:pt x="813452" y="103913"/>
                  </a:lnTo>
                  <a:lnTo>
                    <a:pt x="813452" y="103913"/>
                  </a:lnTo>
                  <a:lnTo>
                    <a:pt x="813452" y="103913"/>
                  </a:lnTo>
                  <a:close/>
                  <a:moveTo>
                    <a:pt x="826202" y="98813"/>
                  </a:moveTo>
                  <a:lnTo>
                    <a:pt x="824289" y="99450"/>
                  </a:lnTo>
                  <a:lnTo>
                    <a:pt x="823652" y="102000"/>
                  </a:lnTo>
                  <a:lnTo>
                    <a:pt x="820464" y="121763"/>
                  </a:lnTo>
                  <a:lnTo>
                    <a:pt x="823014" y="114750"/>
                  </a:lnTo>
                  <a:lnTo>
                    <a:pt x="826202" y="98813"/>
                  </a:lnTo>
                  <a:lnTo>
                    <a:pt x="826202" y="98813"/>
                  </a:lnTo>
                  <a:close/>
                  <a:moveTo>
                    <a:pt x="154913" y="344888"/>
                  </a:moveTo>
                  <a:lnTo>
                    <a:pt x="150450" y="351263"/>
                  </a:lnTo>
                  <a:lnTo>
                    <a:pt x="119213" y="390151"/>
                  </a:lnTo>
                  <a:lnTo>
                    <a:pt x="94988" y="409276"/>
                  </a:lnTo>
                  <a:lnTo>
                    <a:pt x="89888" y="425851"/>
                  </a:lnTo>
                  <a:lnTo>
                    <a:pt x="52913" y="474938"/>
                  </a:lnTo>
                  <a:lnTo>
                    <a:pt x="4463" y="500439"/>
                  </a:lnTo>
                  <a:lnTo>
                    <a:pt x="0" y="505538"/>
                  </a:lnTo>
                  <a:lnTo>
                    <a:pt x="11475" y="503626"/>
                  </a:lnTo>
                  <a:lnTo>
                    <a:pt x="121125" y="481313"/>
                  </a:lnTo>
                  <a:lnTo>
                    <a:pt x="165113" y="471751"/>
                  </a:lnTo>
                  <a:lnTo>
                    <a:pt x="201450" y="460913"/>
                  </a:lnTo>
                  <a:lnTo>
                    <a:pt x="212288" y="459001"/>
                  </a:lnTo>
                  <a:lnTo>
                    <a:pt x="212926" y="460276"/>
                  </a:lnTo>
                  <a:lnTo>
                    <a:pt x="378676" y="429038"/>
                  </a:lnTo>
                  <a:lnTo>
                    <a:pt x="542513" y="387601"/>
                  </a:lnTo>
                  <a:lnTo>
                    <a:pt x="799427" y="314288"/>
                  </a:lnTo>
                  <a:lnTo>
                    <a:pt x="799427" y="314288"/>
                  </a:lnTo>
                  <a:lnTo>
                    <a:pt x="797514" y="311101"/>
                  </a:lnTo>
                  <a:lnTo>
                    <a:pt x="796877" y="309188"/>
                  </a:lnTo>
                  <a:lnTo>
                    <a:pt x="801339" y="313651"/>
                  </a:lnTo>
                  <a:lnTo>
                    <a:pt x="801339" y="313651"/>
                  </a:lnTo>
                  <a:lnTo>
                    <a:pt x="801339" y="313651"/>
                  </a:lnTo>
                  <a:lnTo>
                    <a:pt x="806439" y="312376"/>
                  </a:lnTo>
                  <a:lnTo>
                    <a:pt x="805802" y="311738"/>
                  </a:lnTo>
                  <a:lnTo>
                    <a:pt x="801339" y="290063"/>
                  </a:lnTo>
                  <a:lnTo>
                    <a:pt x="804527" y="290701"/>
                  </a:lnTo>
                  <a:lnTo>
                    <a:pt x="815364" y="309826"/>
                  </a:lnTo>
                  <a:lnTo>
                    <a:pt x="815364" y="309826"/>
                  </a:lnTo>
                  <a:lnTo>
                    <a:pt x="815364" y="309826"/>
                  </a:lnTo>
                  <a:lnTo>
                    <a:pt x="817277" y="309188"/>
                  </a:lnTo>
                  <a:lnTo>
                    <a:pt x="818552" y="308551"/>
                  </a:lnTo>
                  <a:lnTo>
                    <a:pt x="816002" y="303451"/>
                  </a:lnTo>
                  <a:lnTo>
                    <a:pt x="789227" y="263288"/>
                  </a:lnTo>
                  <a:lnTo>
                    <a:pt x="756076" y="269025"/>
                  </a:lnTo>
                  <a:lnTo>
                    <a:pt x="741414" y="281138"/>
                  </a:lnTo>
                  <a:lnTo>
                    <a:pt x="727389" y="268388"/>
                  </a:lnTo>
                  <a:lnTo>
                    <a:pt x="678939" y="252451"/>
                  </a:lnTo>
                  <a:lnTo>
                    <a:pt x="645789" y="251175"/>
                  </a:lnTo>
                  <a:lnTo>
                    <a:pt x="710814" y="245438"/>
                  </a:lnTo>
                  <a:lnTo>
                    <a:pt x="746514" y="269663"/>
                  </a:lnTo>
                  <a:lnTo>
                    <a:pt x="757351" y="253725"/>
                  </a:lnTo>
                  <a:lnTo>
                    <a:pt x="728027" y="217388"/>
                  </a:lnTo>
                  <a:lnTo>
                    <a:pt x="748427" y="218663"/>
                  </a:lnTo>
                  <a:lnTo>
                    <a:pt x="736951" y="188700"/>
                  </a:lnTo>
                  <a:lnTo>
                    <a:pt x="711451" y="189975"/>
                  </a:lnTo>
                  <a:lnTo>
                    <a:pt x="650889" y="140250"/>
                  </a:lnTo>
                  <a:lnTo>
                    <a:pt x="643239" y="140250"/>
                  </a:lnTo>
                  <a:lnTo>
                    <a:pt x="729302" y="182325"/>
                  </a:lnTo>
                  <a:lnTo>
                    <a:pt x="723564" y="152363"/>
                  </a:lnTo>
                  <a:lnTo>
                    <a:pt x="729302" y="142163"/>
                  </a:lnTo>
                  <a:lnTo>
                    <a:pt x="685314" y="125588"/>
                  </a:lnTo>
                  <a:lnTo>
                    <a:pt x="647701" y="123038"/>
                  </a:lnTo>
                  <a:lnTo>
                    <a:pt x="627939" y="107738"/>
                  </a:lnTo>
                  <a:lnTo>
                    <a:pt x="612639" y="117938"/>
                  </a:lnTo>
                  <a:lnTo>
                    <a:pt x="606901" y="73313"/>
                  </a:lnTo>
                  <a:lnTo>
                    <a:pt x="613276" y="74588"/>
                  </a:lnTo>
                  <a:lnTo>
                    <a:pt x="612001" y="38888"/>
                  </a:lnTo>
                  <a:lnTo>
                    <a:pt x="610726" y="37613"/>
                  </a:lnTo>
                  <a:lnTo>
                    <a:pt x="609451" y="38250"/>
                  </a:lnTo>
                  <a:lnTo>
                    <a:pt x="608176" y="37613"/>
                  </a:lnTo>
                  <a:lnTo>
                    <a:pt x="604989" y="35063"/>
                  </a:lnTo>
                  <a:lnTo>
                    <a:pt x="603076" y="33150"/>
                  </a:lnTo>
                  <a:lnTo>
                    <a:pt x="582676" y="23587"/>
                  </a:lnTo>
                  <a:lnTo>
                    <a:pt x="561638" y="8287"/>
                  </a:lnTo>
                  <a:lnTo>
                    <a:pt x="531676" y="638"/>
                  </a:lnTo>
                  <a:lnTo>
                    <a:pt x="529763" y="0"/>
                  </a:lnTo>
                  <a:lnTo>
                    <a:pt x="529763" y="638"/>
                  </a:lnTo>
                  <a:lnTo>
                    <a:pt x="525939" y="28050"/>
                  </a:lnTo>
                  <a:lnTo>
                    <a:pt x="466651" y="2550"/>
                  </a:lnTo>
                  <a:lnTo>
                    <a:pt x="467926" y="39525"/>
                  </a:lnTo>
                  <a:lnTo>
                    <a:pt x="434776" y="102000"/>
                  </a:lnTo>
                  <a:lnTo>
                    <a:pt x="415013" y="123675"/>
                  </a:lnTo>
                  <a:lnTo>
                    <a:pt x="402263" y="161288"/>
                  </a:lnTo>
                  <a:lnTo>
                    <a:pt x="363376" y="147900"/>
                  </a:lnTo>
                  <a:lnTo>
                    <a:pt x="344251" y="235238"/>
                  </a:lnTo>
                  <a:lnTo>
                    <a:pt x="328951" y="265201"/>
                  </a:lnTo>
                  <a:lnTo>
                    <a:pt x="326401" y="303451"/>
                  </a:lnTo>
                  <a:lnTo>
                    <a:pt x="314926" y="321938"/>
                  </a:lnTo>
                  <a:lnTo>
                    <a:pt x="272213" y="334688"/>
                  </a:lnTo>
                  <a:lnTo>
                    <a:pt x="237151" y="362738"/>
                  </a:lnTo>
                  <a:lnTo>
                    <a:pt x="220575" y="365288"/>
                  </a:lnTo>
                  <a:lnTo>
                    <a:pt x="204638" y="379313"/>
                  </a:lnTo>
                  <a:lnTo>
                    <a:pt x="164475" y="364651"/>
                  </a:lnTo>
                  <a:lnTo>
                    <a:pt x="156188" y="343613"/>
                  </a:lnTo>
                  <a:lnTo>
                    <a:pt x="154913" y="344888"/>
                  </a:lnTo>
                  <a:lnTo>
                    <a:pt x="154913" y="34488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76" name="Freeform 58">
              <a:extLst>
                <a:ext uri="{FF2B5EF4-FFF2-40B4-BE49-F238E27FC236}">
                  <a16:creationId xmlns:a16="http://schemas.microsoft.com/office/drawing/2014/main" id="{D37B3D18-D95B-8983-89FB-C9E79AABC903}"/>
                </a:ext>
              </a:extLst>
            </p:cNvPr>
            <p:cNvSpPr/>
            <p:nvPr/>
          </p:nvSpPr>
          <p:spPr>
            <a:xfrm>
              <a:off x="5028803" y="1558035"/>
              <a:ext cx="549525" cy="613276"/>
            </a:xfrm>
            <a:custGeom>
              <a:avLst/>
              <a:gdLst>
                <a:gd name="connsiteX0" fmla="*/ 549526 w 549525"/>
                <a:gd name="connsiteY0" fmla="*/ 195075 h 613276"/>
                <a:gd name="connsiteX1" fmla="*/ 533588 w 549525"/>
                <a:gd name="connsiteY1" fmla="*/ 214838 h 613276"/>
                <a:gd name="connsiteX2" fmla="*/ 523388 w 549525"/>
                <a:gd name="connsiteY2" fmla="*/ 244163 h 613276"/>
                <a:gd name="connsiteX3" fmla="*/ 527851 w 549525"/>
                <a:gd name="connsiteY3" fmla="*/ 260100 h 613276"/>
                <a:gd name="connsiteX4" fmla="*/ 549526 w 549525"/>
                <a:gd name="connsiteY4" fmla="*/ 195075 h 613276"/>
                <a:gd name="connsiteX5" fmla="*/ 181050 w 549525"/>
                <a:gd name="connsiteY5" fmla="*/ 43988 h 613276"/>
                <a:gd name="connsiteX6" fmla="*/ 191250 w 549525"/>
                <a:gd name="connsiteY6" fmla="*/ 30600 h 613276"/>
                <a:gd name="connsiteX7" fmla="*/ 184238 w 549525"/>
                <a:gd name="connsiteY7" fmla="*/ 36975 h 613276"/>
                <a:gd name="connsiteX8" fmla="*/ 181050 w 549525"/>
                <a:gd name="connsiteY8" fmla="*/ 43988 h 613276"/>
                <a:gd name="connsiteX9" fmla="*/ 195713 w 549525"/>
                <a:gd name="connsiteY9" fmla="*/ 22950 h 613276"/>
                <a:gd name="connsiteX10" fmla="*/ 192525 w 549525"/>
                <a:gd name="connsiteY10" fmla="*/ 19125 h 613276"/>
                <a:gd name="connsiteX11" fmla="*/ 185513 w 549525"/>
                <a:gd name="connsiteY11" fmla="*/ 23587 h 613276"/>
                <a:gd name="connsiteX12" fmla="*/ 195713 w 549525"/>
                <a:gd name="connsiteY12" fmla="*/ 22950 h 613276"/>
                <a:gd name="connsiteX13" fmla="*/ 195713 w 549525"/>
                <a:gd name="connsiteY13" fmla="*/ 22950 h 613276"/>
                <a:gd name="connsiteX14" fmla="*/ 56100 w 549525"/>
                <a:gd name="connsiteY14" fmla="*/ 58650 h 613276"/>
                <a:gd name="connsiteX15" fmla="*/ 41438 w 549525"/>
                <a:gd name="connsiteY15" fmla="*/ 75225 h 613276"/>
                <a:gd name="connsiteX16" fmla="*/ 48450 w 549525"/>
                <a:gd name="connsiteY16" fmla="*/ 151725 h 613276"/>
                <a:gd name="connsiteX17" fmla="*/ 7650 w 549525"/>
                <a:gd name="connsiteY17" fmla="*/ 188700 h 613276"/>
                <a:gd name="connsiteX18" fmla="*/ 0 w 549525"/>
                <a:gd name="connsiteY18" fmla="*/ 224400 h 613276"/>
                <a:gd name="connsiteX19" fmla="*/ 22313 w 549525"/>
                <a:gd name="connsiteY19" fmla="*/ 244800 h 613276"/>
                <a:gd name="connsiteX20" fmla="*/ 15938 w 549525"/>
                <a:gd name="connsiteY20" fmla="*/ 333413 h 613276"/>
                <a:gd name="connsiteX21" fmla="*/ 39525 w 549525"/>
                <a:gd name="connsiteY21" fmla="*/ 351263 h 613276"/>
                <a:gd name="connsiteX22" fmla="*/ 54825 w 549525"/>
                <a:gd name="connsiteY22" fmla="*/ 352538 h 613276"/>
                <a:gd name="connsiteX23" fmla="*/ 103913 w 549525"/>
                <a:gd name="connsiteY23" fmla="*/ 382501 h 613276"/>
                <a:gd name="connsiteX24" fmla="*/ 135150 w 549525"/>
                <a:gd name="connsiteY24" fmla="*/ 415013 h 613276"/>
                <a:gd name="connsiteX25" fmla="*/ 174038 w 549525"/>
                <a:gd name="connsiteY25" fmla="*/ 434776 h 613276"/>
                <a:gd name="connsiteX26" fmla="*/ 183600 w 549525"/>
                <a:gd name="connsiteY26" fmla="*/ 484501 h 613276"/>
                <a:gd name="connsiteX27" fmla="*/ 183600 w 549525"/>
                <a:gd name="connsiteY27" fmla="*/ 487688 h 613276"/>
                <a:gd name="connsiteX28" fmla="*/ 183600 w 549525"/>
                <a:gd name="connsiteY28" fmla="*/ 487688 h 613276"/>
                <a:gd name="connsiteX29" fmla="*/ 202088 w 549525"/>
                <a:gd name="connsiteY29" fmla="*/ 510001 h 613276"/>
                <a:gd name="connsiteX30" fmla="*/ 196988 w 549525"/>
                <a:gd name="connsiteY30" fmla="*/ 527213 h 613276"/>
                <a:gd name="connsiteX31" fmla="*/ 203363 w 549525"/>
                <a:gd name="connsiteY31" fmla="*/ 564826 h 613276"/>
                <a:gd name="connsiteX32" fmla="*/ 222488 w 549525"/>
                <a:gd name="connsiteY32" fmla="*/ 591601 h 613276"/>
                <a:gd name="connsiteX33" fmla="*/ 257550 w 549525"/>
                <a:gd name="connsiteY33" fmla="*/ 610089 h 613276"/>
                <a:gd name="connsiteX34" fmla="*/ 256913 w 549525"/>
                <a:gd name="connsiteY34" fmla="*/ 613276 h 613276"/>
                <a:gd name="connsiteX35" fmla="*/ 256913 w 549525"/>
                <a:gd name="connsiteY35" fmla="*/ 613276 h 613276"/>
                <a:gd name="connsiteX36" fmla="*/ 397163 w 549525"/>
                <a:gd name="connsiteY36" fmla="*/ 597339 h 613276"/>
                <a:gd name="connsiteX37" fmla="*/ 449438 w 549525"/>
                <a:gd name="connsiteY37" fmla="*/ 590964 h 613276"/>
                <a:gd name="connsiteX38" fmla="*/ 536138 w 549525"/>
                <a:gd name="connsiteY38" fmla="*/ 578851 h 613276"/>
                <a:gd name="connsiteX39" fmla="*/ 533588 w 549525"/>
                <a:gd name="connsiteY39" fmla="*/ 568651 h 613276"/>
                <a:gd name="connsiteX40" fmla="*/ 533588 w 549525"/>
                <a:gd name="connsiteY40" fmla="*/ 538051 h 613276"/>
                <a:gd name="connsiteX41" fmla="*/ 516376 w 549525"/>
                <a:gd name="connsiteY41" fmla="*/ 505538 h 613276"/>
                <a:gd name="connsiteX42" fmla="*/ 511913 w 549525"/>
                <a:gd name="connsiteY42" fmla="*/ 465376 h 613276"/>
                <a:gd name="connsiteX43" fmla="*/ 520201 w 549525"/>
                <a:gd name="connsiteY43" fmla="*/ 420113 h 613276"/>
                <a:gd name="connsiteX44" fmla="*/ 515738 w 549525"/>
                <a:gd name="connsiteY44" fmla="*/ 385688 h 613276"/>
                <a:gd name="connsiteX45" fmla="*/ 531039 w 549525"/>
                <a:gd name="connsiteY45" fmla="*/ 342976 h 613276"/>
                <a:gd name="connsiteX46" fmla="*/ 525301 w 549525"/>
                <a:gd name="connsiteY46" fmla="*/ 335963 h 613276"/>
                <a:gd name="connsiteX47" fmla="*/ 526576 w 549525"/>
                <a:gd name="connsiteY47" fmla="*/ 296438 h 613276"/>
                <a:gd name="connsiteX48" fmla="*/ 534863 w 549525"/>
                <a:gd name="connsiteY48" fmla="*/ 265838 h 613276"/>
                <a:gd name="connsiteX49" fmla="*/ 524664 w 549525"/>
                <a:gd name="connsiteY49" fmla="*/ 255001 h 613276"/>
                <a:gd name="connsiteX50" fmla="*/ 506176 w 549525"/>
                <a:gd name="connsiteY50" fmla="*/ 261376 h 613276"/>
                <a:gd name="connsiteX51" fmla="*/ 495338 w 549525"/>
                <a:gd name="connsiteY51" fmla="*/ 288788 h 613276"/>
                <a:gd name="connsiteX52" fmla="*/ 471113 w 549525"/>
                <a:gd name="connsiteY52" fmla="*/ 302813 h 613276"/>
                <a:gd name="connsiteX53" fmla="*/ 478763 w 549525"/>
                <a:gd name="connsiteY53" fmla="*/ 269025 h 613276"/>
                <a:gd name="connsiteX54" fmla="*/ 500439 w 549525"/>
                <a:gd name="connsiteY54" fmla="*/ 239700 h 613276"/>
                <a:gd name="connsiteX55" fmla="*/ 501713 w 549525"/>
                <a:gd name="connsiteY55" fmla="*/ 226950 h 613276"/>
                <a:gd name="connsiteX56" fmla="*/ 502351 w 549525"/>
                <a:gd name="connsiteY56" fmla="*/ 226313 h 613276"/>
                <a:gd name="connsiteX57" fmla="*/ 471113 w 549525"/>
                <a:gd name="connsiteY57" fmla="*/ 195075 h 613276"/>
                <a:gd name="connsiteX58" fmla="*/ 471113 w 549525"/>
                <a:gd name="connsiteY58" fmla="*/ 151088 h 613276"/>
                <a:gd name="connsiteX59" fmla="*/ 436688 w 549525"/>
                <a:gd name="connsiteY59" fmla="*/ 122400 h 613276"/>
                <a:gd name="connsiteX60" fmla="*/ 388876 w 549525"/>
                <a:gd name="connsiteY60" fmla="*/ 119213 h 613276"/>
                <a:gd name="connsiteX61" fmla="*/ 339788 w 549525"/>
                <a:gd name="connsiteY61" fmla="*/ 106463 h 613276"/>
                <a:gd name="connsiteX62" fmla="*/ 234600 w 549525"/>
                <a:gd name="connsiteY62" fmla="*/ 73950 h 613276"/>
                <a:gd name="connsiteX63" fmla="*/ 214200 w 549525"/>
                <a:gd name="connsiteY63" fmla="*/ 62475 h 613276"/>
                <a:gd name="connsiteX64" fmla="*/ 212288 w 549525"/>
                <a:gd name="connsiteY64" fmla="*/ 64387 h 613276"/>
                <a:gd name="connsiteX65" fmla="*/ 179138 w 549525"/>
                <a:gd name="connsiteY65" fmla="*/ 59925 h 613276"/>
                <a:gd name="connsiteX66" fmla="*/ 167663 w 549525"/>
                <a:gd name="connsiteY66" fmla="*/ 66300 h 613276"/>
                <a:gd name="connsiteX67" fmla="*/ 172125 w 549525"/>
                <a:gd name="connsiteY67" fmla="*/ 19125 h 613276"/>
                <a:gd name="connsiteX68" fmla="*/ 119212 w 549525"/>
                <a:gd name="connsiteY68" fmla="*/ 46538 h 613276"/>
                <a:gd name="connsiteX69" fmla="*/ 54825 w 549525"/>
                <a:gd name="connsiteY69" fmla="*/ 57375 h 613276"/>
                <a:gd name="connsiteX70" fmla="*/ 56100 w 549525"/>
                <a:gd name="connsiteY70" fmla="*/ 58650 h 613276"/>
                <a:gd name="connsiteX71" fmla="*/ 56100 w 549525"/>
                <a:gd name="connsiteY71" fmla="*/ 58650 h 613276"/>
                <a:gd name="connsiteX72" fmla="*/ 181688 w 549525"/>
                <a:gd name="connsiteY72" fmla="*/ 24863 h 613276"/>
                <a:gd name="connsiteX73" fmla="*/ 180413 w 549525"/>
                <a:gd name="connsiteY73" fmla="*/ 20400 h 613276"/>
                <a:gd name="connsiteX74" fmla="*/ 175950 w 549525"/>
                <a:gd name="connsiteY74" fmla="*/ 22313 h 613276"/>
                <a:gd name="connsiteX75" fmla="*/ 181688 w 549525"/>
                <a:gd name="connsiteY75" fmla="*/ 24863 h 613276"/>
                <a:gd name="connsiteX76" fmla="*/ 158738 w 549525"/>
                <a:gd name="connsiteY76" fmla="*/ 20400 h 613276"/>
                <a:gd name="connsiteX77" fmla="*/ 160650 w 549525"/>
                <a:gd name="connsiteY77" fmla="*/ 16575 h 613276"/>
                <a:gd name="connsiteX78" fmla="*/ 159375 w 549525"/>
                <a:gd name="connsiteY78" fmla="*/ 15300 h 613276"/>
                <a:gd name="connsiteX79" fmla="*/ 158738 w 549525"/>
                <a:gd name="connsiteY79" fmla="*/ 20400 h 613276"/>
                <a:gd name="connsiteX80" fmla="*/ 158738 w 549525"/>
                <a:gd name="connsiteY80" fmla="*/ 20400 h 613276"/>
                <a:gd name="connsiteX81" fmla="*/ 205275 w 549525"/>
                <a:gd name="connsiteY81" fmla="*/ 9563 h 613276"/>
                <a:gd name="connsiteX82" fmla="*/ 203363 w 549525"/>
                <a:gd name="connsiteY82" fmla="*/ 0 h 613276"/>
                <a:gd name="connsiteX83" fmla="*/ 201450 w 549525"/>
                <a:gd name="connsiteY83" fmla="*/ 11475 h 613276"/>
                <a:gd name="connsiteX84" fmla="*/ 205275 w 549525"/>
                <a:gd name="connsiteY84" fmla="*/ 9563 h 61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9525" h="613276">
                  <a:moveTo>
                    <a:pt x="549526" y="195075"/>
                  </a:moveTo>
                  <a:lnTo>
                    <a:pt x="533588" y="214838"/>
                  </a:lnTo>
                  <a:lnTo>
                    <a:pt x="523388" y="244163"/>
                  </a:lnTo>
                  <a:lnTo>
                    <a:pt x="527851" y="260100"/>
                  </a:lnTo>
                  <a:lnTo>
                    <a:pt x="549526" y="195075"/>
                  </a:lnTo>
                  <a:close/>
                  <a:moveTo>
                    <a:pt x="181050" y="43988"/>
                  </a:moveTo>
                  <a:lnTo>
                    <a:pt x="191250" y="30600"/>
                  </a:lnTo>
                  <a:lnTo>
                    <a:pt x="184238" y="36975"/>
                  </a:lnTo>
                  <a:lnTo>
                    <a:pt x="181050" y="43988"/>
                  </a:lnTo>
                  <a:close/>
                  <a:moveTo>
                    <a:pt x="195713" y="22950"/>
                  </a:moveTo>
                  <a:lnTo>
                    <a:pt x="192525" y="19125"/>
                  </a:lnTo>
                  <a:lnTo>
                    <a:pt x="185513" y="23587"/>
                  </a:lnTo>
                  <a:lnTo>
                    <a:pt x="195713" y="22950"/>
                  </a:lnTo>
                  <a:lnTo>
                    <a:pt x="195713" y="22950"/>
                  </a:lnTo>
                  <a:close/>
                  <a:moveTo>
                    <a:pt x="56100" y="58650"/>
                  </a:moveTo>
                  <a:lnTo>
                    <a:pt x="41438" y="75225"/>
                  </a:lnTo>
                  <a:lnTo>
                    <a:pt x="48450" y="151725"/>
                  </a:lnTo>
                  <a:lnTo>
                    <a:pt x="7650" y="188700"/>
                  </a:lnTo>
                  <a:lnTo>
                    <a:pt x="0" y="224400"/>
                  </a:lnTo>
                  <a:lnTo>
                    <a:pt x="22313" y="244800"/>
                  </a:lnTo>
                  <a:lnTo>
                    <a:pt x="15938" y="333413"/>
                  </a:lnTo>
                  <a:lnTo>
                    <a:pt x="39525" y="351263"/>
                  </a:lnTo>
                  <a:lnTo>
                    <a:pt x="54825" y="352538"/>
                  </a:lnTo>
                  <a:lnTo>
                    <a:pt x="103913" y="382501"/>
                  </a:lnTo>
                  <a:lnTo>
                    <a:pt x="135150" y="415013"/>
                  </a:lnTo>
                  <a:lnTo>
                    <a:pt x="174038" y="434776"/>
                  </a:lnTo>
                  <a:lnTo>
                    <a:pt x="183600" y="484501"/>
                  </a:lnTo>
                  <a:lnTo>
                    <a:pt x="183600" y="487688"/>
                  </a:lnTo>
                  <a:lnTo>
                    <a:pt x="183600" y="487688"/>
                  </a:lnTo>
                  <a:lnTo>
                    <a:pt x="202088" y="510001"/>
                  </a:lnTo>
                  <a:lnTo>
                    <a:pt x="196988" y="527213"/>
                  </a:lnTo>
                  <a:lnTo>
                    <a:pt x="203363" y="564826"/>
                  </a:lnTo>
                  <a:lnTo>
                    <a:pt x="222488" y="591601"/>
                  </a:lnTo>
                  <a:lnTo>
                    <a:pt x="257550" y="610089"/>
                  </a:lnTo>
                  <a:lnTo>
                    <a:pt x="256913" y="613276"/>
                  </a:lnTo>
                  <a:lnTo>
                    <a:pt x="256913" y="613276"/>
                  </a:lnTo>
                  <a:lnTo>
                    <a:pt x="397163" y="597339"/>
                  </a:lnTo>
                  <a:lnTo>
                    <a:pt x="449438" y="590964"/>
                  </a:lnTo>
                  <a:lnTo>
                    <a:pt x="536138" y="578851"/>
                  </a:lnTo>
                  <a:lnTo>
                    <a:pt x="533588" y="568651"/>
                  </a:lnTo>
                  <a:lnTo>
                    <a:pt x="533588" y="538051"/>
                  </a:lnTo>
                  <a:lnTo>
                    <a:pt x="516376" y="505538"/>
                  </a:lnTo>
                  <a:lnTo>
                    <a:pt x="511913" y="465376"/>
                  </a:lnTo>
                  <a:lnTo>
                    <a:pt x="520201" y="420113"/>
                  </a:lnTo>
                  <a:lnTo>
                    <a:pt x="515738" y="385688"/>
                  </a:lnTo>
                  <a:lnTo>
                    <a:pt x="531039" y="342976"/>
                  </a:lnTo>
                  <a:lnTo>
                    <a:pt x="525301" y="335963"/>
                  </a:lnTo>
                  <a:lnTo>
                    <a:pt x="526576" y="296438"/>
                  </a:lnTo>
                  <a:lnTo>
                    <a:pt x="534863" y="265838"/>
                  </a:lnTo>
                  <a:lnTo>
                    <a:pt x="524664" y="255001"/>
                  </a:lnTo>
                  <a:lnTo>
                    <a:pt x="506176" y="261376"/>
                  </a:lnTo>
                  <a:lnTo>
                    <a:pt x="495338" y="288788"/>
                  </a:lnTo>
                  <a:lnTo>
                    <a:pt x="471113" y="302813"/>
                  </a:lnTo>
                  <a:lnTo>
                    <a:pt x="478763" y="269025"/>
                  </a:lnTo>
                  <a:lnTo>
                    <a:pt x="500439" y="239700"/>
                  </a:lnTo>
                  <a:lnTo>
                    <a:pt x="501713" y="226950"/>
                  </a:lnTo>
                  <a:lnTo>
                    <a:pt x="502351" y="226313"/>
                  </a:lnTo>
                  <a:lnTo>
                    <a:pt x="471113" y="195075"/>
                  </a:lnTo>
                  <a:lnTo>
                    <a:pt x="471113" y="151088"/>
                  </a:lnTo>
                  <a:lnTo>
                    <a:pt x="436688" y="122400"/>
                  </a:lnTo>
                  <a:lnTo>
                    <a:pt x="388876" y="119213"/>
                  </a:lnTo>
                  <a:lnTo>
                    <a:pt x="339788" y="106463"/>
                  </a:lnTo>
                  <a:lnTo>
                    <a:pt x="234600" y="73950"/>
                  </a:lnTo>
                  <a:lnTo>
                    <a:pt x="214200" y="62475"/>
                  </a:lnTo>
                  <a:lnTo>
                    <a:pt x="212288" y="64387"/>
                  </a:lnTo>
                  <a:lnTo>
                    <a:pt x="179138" y="59925"/>
                  </a:lnTo>
                  <a:lnTo>
                    <a:pt x="167663" y="66300"/>
                  </a:lnTo>
                  <a:lnTo>
                    <a:pt x="172125" y="19125"/>
                  </a:lnTo>
                  <a:lnTo>
                    <a:pt x="119212" y="46538"/>
                  </a:lnTo>
                  <a:lnTo>
                    <a:pt x="54825" y="57375"/>
                  </a:lnTo>
                  <a:lnTo>
                    <a:pt x="56100" y="58650"/>
                  </a:lnTo>
                  <a:lnTo>
                    <a:pt x="56100" y="58650"/>
                  </a:lnTo>
                  <a:close/>
                  <a:moveTo>
                    <a:pt x="181688" y="24863"/>
                  </a:moveTo>
                  <a:lnTo>
                    <a:pt x="180413" y="20400"/>
                  </a:lnTo>
                  <a:lnTo>
                    <a:pt x="175950" y="22313"/>
                  </a:lnTo>
                  <a:lnTo>
                    <a:pt x="181688" y="24863"/>
                  </a:lnTo>
                  <a:close/>
                  <a:moveTo>
                    <a:pt x="158738" y="20400"/>
                  </a:moveTo>
                  <a:lnTo>
                    <a:pt x="160650" y="16575"/>
                  </a:lnTo>
                  <a:lnTo>
                    <a:pt x="159375" y="15300"/>
                  </a:lnTo>
                  <a:lnTo>
                    <a:pt x="158738" y="20400"/>
                  </a:lnTo>
                  <a:lnTo>
                    <a:pt x="158738" y="20400"/>
                  </a:lnTo>
                  <a:close/>
                  <a:moveTo>
                    <a:pt x="205275" y="9563"/>
                  </a:moveTo>
                  <a:lnTo>
                    <a:pt x="203363" y="0"/>
                  </a:lnTo>
                  <a:lnTo>
                    <a:pt x="201450" y="11475"/>
                  </a:lnTo>
                  <a:lnTo>
                    <a:pt x="205275" y="95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77" name="Freeform 59">
              <a:extLst>
                <a:ext uri="{FF2B5EF4-FFF2-40B4-BE49-F238E27FC236}">
                  <a16:creationId xmlns:a16="http://schemas.microsoft.com/office/drawing/2014/main" id="{DD43A8D0-3913-4DD3-4F6E-92C14E28B168}"/>
                </a:ext>
              </a:extLst>
            </p:cNvPr>
            <p:cNvSpPr/>
            <p:nvPr/>
          </p:nvSpPr>
          <p:spPr>
            <a:xfrm>
              <a:off x="6180130" y="2242073"/>
              <a:ext cx="460913" cy="479401"/>
            </a:xfrm>
            <a:custGeom>
              <a:avLst/>
              <a:gdLst>
                <a:gd name="connsiteX0" fmla="*/ 264563 w 460913"/>
                <a:gd name="connsiteY0" fmla="*/ 99450 h 479401"/>
                <a:gd name="connsiteX1" fmla="*/ 173400 w 460913"/>
                <a:gd name="connsiteY1" fmla="*/ 121763 h 479401"/>
                <a:gd name="connsiteX2" fmla="*/ 144713 w 460913"/>
                <a:gd name="connsiteY2" fmla="*/ 0 h 479401"/>
                <a:gd name="connsiteX3" fmla="*/ 144713 w 460913"/>
                <a:gd name="connsiteY3" fmla="*/ 0 h 479401"/>
                <a:gd name="connsiteX4" fmla="*/ 143438 w 460913"/>
                <a:gd name="connsiteY4" fmla="*/ 638 h 479401"/>
                <a:gd name="connsiteX5" fmla="*/ 140888 w 460913"/>
                <a:gd name="connsiteY5" fmla="*/ 140888 h 479401"/>
                <a:gd name="connsiteX6" fmla="*/ 120488 w 460913"/>
                <a:gd name="connsiteY6" fmla="*/ 172125 h 479401"/>
                <a:gd name="connsiteX7" fmla="*/ 96900 w 460913"/>
                <a:gd name="connsiteY7" fmla="*/ 189975 h 479401"/>
                <a:gd name="connsiteX8" fmla="*/ 92438 w 460913"/>
                <a:gd name="connsiteY8" fmla="*/ 184875 h 479401"/>
                <a:gd name="connsiteX9" fmla="*/ 65663 w 460913"/>
                <a:gd name="connsiteY9" fmla="*/ 220575 h 479401"/>
                <a:gd name="connsiteX10" fmla="*/ 67575 w 460913"/>
                <a:gd name="connsiteY10" fmla="*/ 249263 h 479401"/>
                <a:gd name="connsiteX11" fmla="*/ 51637 w 460913"/>
                <a:gd name="connsiteY11" fmla="*/ 251813 h 479401"/>
                <a:gd name="connsiteX12" fmla="*/ 29963 w 460913"/>
                <a:gd name="connsiteY12" fmla="*/ 284963 h 479401"/>
                <a:gd name="connsiteX13" fmla="*/ 37613 w 460913"/>
                <a:gd name="connsiteY13" fmla="*/ 306638 h 479401"/>
                <a:gd name="connsiteX14" fmla="*/ 27412 w 460913"/>
                <a:gd name="connsiteY14" fmla="*/ 327676 h 479401"/>
                <a:gd name="connsiteX15" fmla="*/ 0 w 460913"/>
                <a:gd name="connsiteY15" fmla="*/ 341063 h 479401"/>
                <a:gd name="connsiteX16" fmla="*/ 0 w 460913"/>
                <a:gd name="connsiteY16" fmla="*/ 341063 h 479401"/>
                <a:gd name="connsiteX17" fmla="*/ 0 w 460913"/>
                <a:gd name="connsiteY17" fmla="*/ 342338 h 479401"/>
                <a:gd name="connsiteX18" fmla="*/ 12750 w 460913"/>
                <a:gd name="connsiteY18" fmla="*/ 387601 h 479401"/>
                <a:gd name="connsiteX19" fmla="*/ 49088 w 460913"/>
                <a:gd name="connsiteY19" fmla="*/ 432226 h 479401"/>
                <a:gd name="connsiteX20" fmla="*/ 69488 w 460913"/>
                <a:gd name="connsiteY20" fmla="*/ 443701 h 479401"/>
                <a:gd name="connsiteX21" fmla="*/ 85425 w 460913"/>
                <a:gd name="connsiteY21" fmla="*/ 443701 h 479401"/>
                <a:gd name="connsiteX22" fmla="*/ 87338 w 460913"/>
                <a:gd name="connsiteY22" fmla="*/ 444338 h 479401"/>
                <a:gd name="connsiteX23" fmla="*/ 88613 w 460913"/>
                <a:gd name="connsiteY23" fmla="*/ 444976 h 479401"/>
                <a:gd name="connsiteX24" fmla="*/ 95625 w 460913"/>
                <a:gd name="connsiteY24" fmla="*/ 464738 h 479401"/>
                <a:gd name="connsiteX25" fmla="*/ 135788 w 460913"/>
                <a:gd name="connsiteY25" fmla="*/ 479401 h 479401"/>
                <a:gd name="connsiteX26" fmla="*/ 151725 w 460913"/>
                <a:gd name="connsiteY26" fmla="*/ 465376 h 479401"/>
                <a:gd name="connsiteX27" fmla="*/ 168300 w 460913"/>
                <a:gd name="connsiteY27" fmla="*/ 462826 h 479401"/>
                <a:gd name="connsiteX28" fmla="*/ 203363 w 460913"/>
                <a:gd name="connsiteY28" fmla="*/ 434776 h 479401"/>
                <a:gd name="connsiteX29" fmla="*/ 246075 w 460913"/>
                <a:gd name="connsiteY29" fmla="*/ 422026 h 479401"/>
                <a:gd name="connsiteX30" fmla="*/ 257551 w 460913"/>
                <a:gd name="connsiteY30" fmla="*/ 403538 h 479401"/>
                <a:gd name="connsiteX31" fmla="*/ 260100 w 460913"/>
                <a:gd name="connsiteY31" fmla="*/ 365288 h 479401"/>
                <a:gd name="connsiteX32" fmla="*/ 275401 w 460913"/>
                <a:gd name="connsiteY32" fmla="*/ 335326 h 479401"/>
                <a:gd name="connsiteX33" fmla="*/ 294526 w 460913"/>
                <a:gd name="connsiteY33" fmla="*/ 247988 h 479401"/>
                <a:gd name="connsiteX34" fmla="*/ 333413 w 460913"/>
                <a:gd name="connsiteY34" fmla="*/ 261376 h 479401"/>
                <a:gd name="connsiteX35" fmla="*/ 346163 w 460913"/>
                <a:gd name="connsiteY35" fmla="*/ 223763 h 479401"/>
                <a:gd name="connsiteX36" fmla="*/ 365926 w 460913"/>
                <a:gd name="connsiteY36" fmla="*/ 202088 h 479401"/>
                <a:gd name="connsiteX37" fmla="*/ 399076 w 460913"/>
                <a:gd name="connsiteY37" fmla="*/ 139613 h 479401"/>
                <a:gd name="connsiteX38" fmla="*/ 397801 w 460913"/>
                <a:gd name="connsiteY38" fmla="*/ 102638 h 479401"/>
                <a:gd name="connsiteX39" fmla="*/ 457089 w 460913"/>
                <a:gd name="connsiteY39" fmla="*/ 128138 h 479401"/>
                <a:gd name="connsiteX40" fmla="*/ 460913 w 460913"/>
                <a:gd name="connsiteY40" fmla="*/ 100725 h 479401"/>
                <a:gd name="connsiteX41" fmla="*/ 460913 w 460913"/>
                <a:gd name="connsiteY41" fmla="*/ 100088 h 479401"/>
                <a:gd name="connsiteX42" fmla="*/ 460913 w 460913"/>
                <a:gd name="connsiteY42" fmla="*/ 100088 h 479401"/>
                <a:gd name="connsiteX43" fmla="*/ 442426 w 460913"/>
                <a:gd name="connsiteY43" fmla="*/ 67575 h 479401"/>
                <a:gd name="connsiteX44" fmla="*/ 404176 w 460913"/>
                <a:gd name="connsiteY44" fmla="*/ 63113 h 479401"/>
                <a:gd name="connsiteX45" fmla="*/ 381863 w 460913"/>
                <a:gd name="connsiteY45" fmla="*/ 80325 h 479401"/>
                <a:gd name="connsiteX46" fmla="*/ 381863 w 460913"/>
                <a:gd name="connsiteY46" fmla="*/ 93075 h 479401"/>
                <a:gd name="connsiteX47" fmla="*/ 362738 w 460913"/>
                <a:gd name="connsiteY47" fmla="*/ 97538 h 479401"/>
                <a:gd name="connsiteX48" fmla="*/ 334051 w 460913"/>
                <a:gd name="connsiteY48" fmla="*/ 117300 h 479401"/>
                <a:gd name="connsiteX49" fmla="*/ 319388 w 460913"/>
                <a:gd name="connsiteY49" fmla="*/ 120488 h 479401"/>
                <a:gd name="connsiteX50" fmla="*/ 289426 w 460913"/>
                <a:gd name="connsiteY50" fmla="*/ 161925 h 479401"/>
                <a:gd name="connsiteX51" fmla="*/ 274763 w 460913"/>
                <a:gd name="connsiteY51" fmla="*/ 94350 h 479401"/>
                <a:gd name="connsiteX52" fmla="*/ 264563 w 460913"/>
                <a:gd name="connsiteY52" fmla="*/ 99450 h 479401"/>
                <a:gd name="connsiteX53" fmla="*/ 264563 w 460913"/>
                <a:gd name="connsiteY53" fmla="*/ 99450 h 47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0913" h="479401">
                  <a:moveTo>
                    <a:pt x="264563" y="99450"/>
                  </a:moveTo>
                  <a:lnTo>
                    <a:pt x="173400" y="121763"/>
                  </a:lnTo>
                  <a:lnTo>
                    <a:pt x="144713" y="0"/>
                  </a:lnTo>
                  <a:lnTo>
                    <a:pt x="144713" y="0"/>
                  </a:lnTo>
                  <a:lnTo>
                    <a:pt x="143438" y="638"/>
                  </a:lnTo>
                  <a:lnTo>
                    <a:pt x="140888" y="140888"/>
                  </a:lnTo>
                  <a:lnTo>
                    <a:pt x="120488" y="172125"/>
                  </a:lnTo>
                  <a:lnTo>
                    <a:pt x="96900" y="189975"/>
                  </a:lnTo>
                  <a:lnTo>
                    <a:pt x="92438" y="184875"/>
                  </a:lnTo>
                  <a:lnTo>
                    <a:pt x="65663" y="220575"/>
                  </a:lnTo>
                  <a:lnTo>
                    <a:pt x="67575" y="249263"/>
                  </a:lnTo>
                  <a:lnTo>
                    <a:pt x="51637" y="251813"/>
                  </a:lnTo>
                  <a:lnTo>
                    <a:pt x="29963" y="284963"/>
                  </a:lnTo>
                  <a:lnTo>
                    <a:pt x="37613" y="306638"/>
                  </a:lnTo>
                  <a:lnTo>
                    <a:pt x="27412" y="327676"/>
                  </a:lnTo>
                  <a:lnTo>
                    <a:pt x="0" y="341063"/>
                  </a:lnTo>
                  <a:lnTo>
                    <a:pt x="0" y="341063"/>
                  </a:lnTo>
                  <a:lnTo>
                    <a:pt x="0" y="342338"/>
                  </a:lnTo>
                  <a:lnTo>
                    <a:pt x="12750" y="387601"/>
                  </a:lnTo>
                  <a:lnTo>
                    <a:pt x="49088" y="432226"/>
                  </a:lnTo>
                  <a:lnTo>
                    <a:pt x="69488" y="443701"/>
                  </a:lnTo>
                  <a:lnTo>
                    <a:pt x="85425" y="443701"/>
                  </a:lnTo>
                  <a:lnTo>
                    <a:pt x="87338" y="444338"/>
                  </a:lnTo>
                  <a:lnTo>
                    <a:pt x="88613" y="444976"/>
                  </a:lnTo>
                  <a:lnTo>
                    <a:pt x="95625" y="464738"/>
                  </a:lnTo>
                  <a:lnTo>
                    <a:pt x="135788" y="479401"/>
                  </a:lnTo>
                  <a:lnTo>
                    <a:pt x="151725" y="465376"/>
                  </a:lnTo>
                  <a:lnTo>
                    <a:pt x="168300" y="462826"/>
                  </a:lnTo>
                  <a:lnTo>
                    <a:pt x="203363" y="434776"/>
                  </a:lnTo>
                  <a:lnTo>
                    <a:pt x="246075" y="422026"/>
                  </a:lnTo>
                  <a:lnTo>
                    <a:pt x="257551" y="403538"/>
                  </a:lnTo>
                  <a:lnTo>
                    <a:pt x="260100" y="365288"/>
                  </a:lnTo>
                  <a:lnTo>
                    <a:pt x="275401" y="335326"/>
                  </a:lnTo>
                  <a:lnTo>
                    <a:pt x="294526" y="247988"/>
                  </a:lnTo>
                  <a:lnTo>
                    <a:pt x="333413" y="261376"/>
                  </a:lnTo>
                  <a:lnTo>
                    <a:pt x="346163" y="223763"/>
                  </a:lnTo>
                  <a:lnTo>
                    <a:pt x="365926" y="202088"/>
                  </a:lnTo>
                  <a:lnTo>
                    <a:pt x="399076" y="139613"/>
                  </a:lnTo>
                  <a:lnTo>
                    <a:pt x="397801" y="102638"/>
                  </a:lnTo>
                  <a:lnTo>
                    <a:pt x="457089" y="128138"/>
                  </a:lnTo>
                  <a:lnTo>
                    <a:pt x="460913" y="100725"/>
                  </a:lnTo>
                  <a:lnTo>
                    <a:pt x="460913" y="100088"/>
                  </a:lnTo>
                  <a:lnTo>
                    <a:pt x="460913" y="100088"/>
                  </a:lnTo>
                  <a:lnTo>
                    <a:pt x="442426" y="67575"/>
                  </a:lnTo>
                  <a:lnTo>
                    <a:pt x="404176" y="63113"/>
                  </a:lnTo>
                  <a:lnTo>
                    <a:pt x="381863" y="80325"/>
                  </a:lnTo>
                  <a:lnTo>
                    <a:pt x="381863" y="93075"/>
                  </a:lnTo>
                  <a:lnTo>
                    <a:pt x="362738" y="97538"/>
                  </a:lnTo>
                  <a:lnTo>
                    <a:pt x="334051" y="117300"/>
                  </a:lnTo>
                  <a:lnTo>
                    <a:pt x="319388" y="120488"/>
                  </a:lnTo>
                  <a:lnTo>
                    <a:pt x="289426" y="161925"/>
                  </a:lnTo>
                  <a:lnTo>
                    <a:pt x="274763" y="94350"/>
                  </a:lnTo>
                  <a:lnTo>
                    <a:pt x="264563" y="99450"/>
                  </a:lnTo>
                  <a:lnTo>
                    <a:pt x="264563" y="994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78" name="Freeform 60">
              <a:extLst>
                <a:ext uri="{FF2B5EF4-FFF2-40B4-BE49-F238E27FC236}">
                  <a16:creationId xmlns:a16="http://schemas.microsoft.com/office/drawing/2014/main" id="{0AADF4B9-E6F2-3FAC-5B4C-51FAD5D4254A}"/>
                </a:ext>
              </a:extLst>
            </p:cNvPr>
            <p:cNvSpPr/>
            <p:nvPr/>
          </p:nvSpPr>
          <p:spPr>
            <a:xfrm>
              <a:off x="6822731" y="2214661"/>
              <a:ext cx="120487" cy="183600"/>
            </a:xfrm>
            <a:custGeom>
              <a:avLst/>
              <a:gdLst>
                <a:gd name="connsiteX0" fmla="*/ 0 w 120487"/>
                <a:gd name="connsiteY0" fmla="*/ 21037 h 183600"/>
                <a:gd name="connsiteX1" fmla="*/ 2550 w 120487"/>
                <a:gd name="connsiteY1" fmla="*/ 31238 h 183600"/>
                <a:gd name="connsiteX2" fmla="*/ 56100 w 120487"/>
                <a:gd name="connsiteY2" fmla="*/ 183600 h 183600"/>
                <a:gd name="connsiteX3" fmla="*/ 116663 w 120487"/>
                <a:gd name="connsiteY3" fmla="*/ 165750 h 183600"/>
                <a:gd name="connsiteX4" fmla="*/ 116025 w 120487"/>
                <a:gd name="connsiteY4" fmla="*/ 164475 h 183600"/>
                <a:gd name="connsiteX5" fmla="*/ 117300 w 120487"/>
                <a:gd name="connsiteY5" fmla="*/ 164475 h 183600"/>
                <a:gd name="connsiteX6" fmla="*/ 119213 w 120487"/>
                <a:gd name="connsiteY6" fmla="*/ 165113 h 183600"/>
                <a:gd name="connsiteX7" fmla="*/ 119213 w 120487"/>
                <a:gd name="connsiteY7" fmla="*/ 165113 h 183600"/>
                <a:gd name="connsiteX8" fmla="*/ 120488 w 120487"/>
                <a:gd name="connsiteY8" fmla="*/ 164475 h 183600"/>
                <a:gd name="connsiteX9" fmla="*/ 119213 w 120487"/>
                <a:gd name="connsiteY9" fmla="*/ 161925 h 183600"/>
                <a:gd name="connsiteX10" fmla="*/ 103913 w 120487"/>
                <a:gd name="connsiteY10" fmla="*/ 121125 h 183600"/>
                <a:gd name="connsiteX11" fmla="*/ 28688 w 120487"/>
                <a:gd name="connsiteY11" fmla="*/ 49725 h 183600"/>
                <a:gd name="connsiteX12" fmla="*/ 31875 w 120487"/>
                <a:gd name="connsiteY12" fmla="*/ 0 h 183600"/>
                <a:gd name="connsiteX13" fmla="*/ 31875 w 120487"/>
                <a:gd name="connsiteY13" fmla="*/ 0 h 183600"/>
                <a:gd name="connsiteX14" fmla="*/ 16575 w 120487"/>
                <a:gd name="connsiteY14" fmla="*/ 0 h 183600"/>
                <a:gd name="connsiteX15" fmla="*/ 5100 w 120487"/>
                <a:gd name="connsiteY15" fmla="*/ 9563 h 183600"/>
                <a:gd name="connsiteX16" fmla="*/ 0 w 120487"/>
                <a:gd name="connsiteY16" fmla="*/ 21037 h 183600"/>
                <a:gd name="connsiteX17" fmla="*/ 0 w 120487"/>
                <a:gd name="connsiteY17" fmla="*/ 21037 h 183600"/>
                <a:gd name="connsiteX18" fmla="*/ 0 w 120487"/>
                <a:gd name="connsiteY18" fmla="*/ 21037 h 18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487" h="183600">
                  <a:moveTo>
                    <a:pt x="0" y="21037"/>
                  </a:moveTo>
                  <a:lnTo>
                    <a:pt x="2550" y="31238"/>
                  </a:lnTo>
                  <a:lnTo>
                    <a:pt x="56100" y="183600"/>
                  </a:lnTo>
                  <a:lnTo>
                    <a:pt x="116663" y="165750"/>
                  </a:lnTo>
                  <a:lnTo>
                    <a:pt x="116025" y="164475"/>
                  </a:lnTo>
                  <a:lnTo>
                    <a:pt x="117300" y="164475"/>
                  </a:lnTo>
                  <a:lnTo>
                    <a:pt x="119213" y="165113"/>
                  </a:lnTo>
                  <a:lnTo>
                    <a:pt x="119213" y="165113"/>
                  </a:lnTo>
                  <a:lnTo>
                    <a:pt x="120488" y="164475"/>
                  </a:lnTo>
                  <a:lnTo>
                    <a:pt x="119213" y="161925"/>
                  </a:lnTo>
                  <a:lnTo>
                    <a:pt x="103913" y="121125"/>
                  </a:lnTo>
                  <a:lnTo>
                    <a:pt x="28688" y="49725"/>
                  </a:lnTo>
                  <a:lnTo>
                    <a:pt x="31875" y="0"/>
                  </a:lnTo>
                  <a:lnTo>
                    <a:pt x="31875" y="0"/>
                  </a:lnTo>
                  <a:lnTo>
                    <a:pt x="16575" y="0"/>
                  </a:lnTo>
                  <a:lnTo>
                    <a:pt x="5100" y="9563"/>
                  </a:lnTo>
                  <a:lnTo>
                    <a:pt x="0" y="21037"/>
                  </a:lnTo>
                  <a:lnTo>
                    <a:pt x="0" y="21037"/>
                  </a:lnTo>
                  <a:lnTo>
                    <a:pt x="0" y="21037"/>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79" name="Freeform 61">
              <a:extLst>
                <a:ext uri="{FF2B5EF4-FFF2-40B4-BE49-F238E27FC236}">
                  <a16:creationId xmlns:a16="http://schemas.microsoft.com/office/drawing/2014/main" id="{C2164C9F-1F85-B515-0A93-9B7CF5C10372}"/>
                </a:ext>
              </a:extLst>
            </p:cNvPr>
            <p:cNvSpPr/>
            <p:nvPr/>
          </p:nvSpPr>
          <p:spPr>
            <a:xfrm>
              <a:off x="6719456" y="2371486"/>
              <a:ext cx="22312" cy="20400"/>
            </a:xfrm>
            <a:custGeom>
              <a:avLst/>
              <a:gdLst>
                <a:gd name="connsiteX0" fmla="*/ 0 w 22312"/>
                <a:gd name="connsiteY0" fmla="*/ 5738 h 20400"/>
                <a:gd name="connsiteX1" fmla="*/ 3188 w 22312"/>
                <a:gd name="connsiteY1" fmla="*/ 8288 h 20400"/>
                <a:gd name="connsiteX2" fmla="*/ 4463 w 22312"/>
                <a:gd name="connsiteY2" fmla="*/ 8925 h 20400"/>
                <a:gd name="connsiteX3" fmla="*/ 5738 w 22312"/>
                <a:gd name="connsiteY3" fmla="*/ 8288 h 20400"/>
                <a:gd name="connsiteX4" fmla="*/ 7013 w 22312"/>
                <a:gd name="connsiteY4" fmla="*/ 8925 h 20400"/>
                <a:gd name="connsiteX5" fmla="*/ 11475 w 22312"/>
                <a:gd name="connsiteY5" fmla="*/ 11475 h 20400"/>
                <a:gd name="connsiteX6" fmla="*/ 12750 w 22312"/>
                <a:gd name="connsiteY6" fmla="*/ 13388 h 20400"/>
                <a:gd name="connsiteX7" fmla="*/ 12750 w 22312"/>
                <a:gd name="connsiteY7" fmla="*/ 17850 h 20400"/>
                <a:gd name="connsiteX8" fmla="*/ 14025 w 22312"/>
                <a:gd name="connsiteY8" fmla="*/ 20400 h 20400"/>
                <a:gd name="connsiteX9" fmla="*/ 22313 w 22312"/>
                <a:gd name="connsiteY9" fmla="*/ 5100 h 20400"/>
                <a:gd name="connsiteX10" fmla="*/ 12750 w 22312"/>
                <a:gd name="connsiteY10" fmla="*/ 0 h 20400"/>
                <a:gd name="connsiteX11" fmla="*/ 1275 w 22312"/>
                <a:gd name="connsiteY11" fmla="*/ 638 h 20400"/>
                <a:gd name="connsiteX12" fmla="*/ 0 w 22312"/>
                <a:gd name="connsiteY12" fmla="*/ 5738 h 20400"/>
                <a:gd name="connsiteX13" fmla="*/ 0 w 22312"/>
                <a:gd name="connsiteY13" fmla="*/ 5738 h 2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12" h="20400">
                  <a:moveTo>
                    <a:pt x="0" y="5738"/>
                  </a:moveTo>
                  <a:lnTo>
                    <a:pt x="3188" y="8288"/>
                  </a:lnTo>
                  <a:lnTo>
                    <a:pt x="4463" y="8925"/>
                  </a:lnTo>
                  <a:lnTo>
                    <a:pt x="5738" y="8288"/>
                  </a:lnTo>
                  <a:lnTo>
                    <a:pt x="7013" y="8925"/>
                  </a:lnTo>
                  <a:lnTo>
                    <a:pt x="11475" y="11475"/>
                  </a:lnTo>
                  <a:lnTo>
                    <a:pt x="12750" y="13388"/>
                  </a:lnTo>
                  <a:lnTo>
                    <a:pt x="12750" y="17850"/>
                  </a:lnTo>
                  <a:lnTo>
                    <a:pt x="14025" y="20400"/>
                  </a:lnTo>
                  <a:lnTo>
                    <a:pt x="22313" y="5100"/>
                  </a:lnTo>
                  <a:lnTo>
                    <a:pt x="12750" y="0"/>
                  </a:lnTo>
                  <a:lnTo>
                    <a:pt x="1275" y="638"/>
                  </a:lnTo>
                  <a:lnTo>
                    <a:pt x="0" y="5738"/>
                  </a:lnTo>
                  <a:lnTo>
                    <a:pt x="0" y="5738"/>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280" name="Freeform 62">
              <a:extLst>
                <a:ext uri="{FF2B5EF4-FFF2-40B4-BE49-F238E27FC236}">
                  <a16:creationId xmlns:a16="http://schemas.microsoft.com/office/drawing/2014/main" id="{4321C506-199D-8958-DD19-FB0C504C6E46}"/>
                </a:ext>
              </a:extLst>
            </p:cNvPr>
            <p:cNvSpPr/>
            <p:nvPr/>
          </p:nvSpPr>
          <p:spPr>
            <a:xfrm>
              <a:off x="6458080" y="2235698"/>
              <a:ext cx="486413" cy="235237"/>
            </a:xfrm>
            <a:custGeom>
              <a:avLst/>
              <a:gdLst>
                <a:gd name="connsiteX0" fmla="*/ 481951 w 486413"/>
                <a:gd name="connsiteY0" fmla="*/ 202088 h 235237"/>
                <a:gd name="connsiteX1" fmla="*/ 486414 w 486413"/>
                <a:gd name="connsiteY1" fmla="*/ 167663 h 235237"/>
                <a:gd name="connsiteX2" fmla="*/ 482589 w 486413"/>
                <a:gd name="connsiteY2" fmla="*/ 193163 h 235237"/>
                <a:gd name="connsiteX3" fmla="*/ 480039 w 486413"/>
                <a:gd name="connsiteY3" fmla="*/ 204638 h 235237"/>
                <a:gd name="connsiteX4" fmla="*/ 479401 w 486413"/>
                <a:gd name="connsiteY4" fmla="*/ 205913 h 235237"/>
                <a:gd name="connsiteX5" fmla="*/ 481313 w 486413"/>
                <a:gd name="connsiteY5" fmla="*/ 205275 h 235237"/>
                <a:gd name="connsiteX6" fmla="*/ 481951 w 486413"/>
                <a:gd name="connsiteY6" fmla="*/ 202088 h 235237"/>
                <a:gd name="connsiteX7" fmla="*/ 481951 w 486413"/>
                <a:gd name="connsiteY7" fmla="*/ 202088 h 235237"/>
                <a:gd name="connsiteX8" fmla="*/ 485139 w 486413"/>
                <a:gd name="connsiteY8" fmla="*/ 142163 h 235237"/>
                <a:gd name="connsiteX9" fmla="*/ 483864 w 486413"/>
                <a:gd name="connsiteY9" fmla="*/ 142800 h 235237"/>
                <a:gd name="connsiteX10" fmla="*/ 485139 w 486413"/>
                <a:gd name="connsiteY10" fmla="*/ 146625 h 235237"/>
                <a:gd name="connsiteX11" fmla="*/ 485139 w 486413"/>
                <a:gd name="connsiteY11" fmla="*/ 154275 h 235237"/>
                <a:gd name="connsiteX12" fmla="*/ 485139 w 486413"/>
                <a:gd name="connsiteY12" fmla="*/ 142163 h 235237"/>
                <a:gd name="connsiteX13" fmla="*/ 485139 w 486413"/>
                <a:gd name="connsiteY13" fmla="*/ 142163 h 235237"/>
                <a:gd name="connsiteX14" fmla="*/ 485139 w 486413"/>
                <a:gd name="connsiteY14" fmla="*/ 142163 h 235237"/>
                <a:gd name="connsiteX15" fmla="*/ 0 w 486413"/>
                <a:gd name="connsiteY15" fmla="*/ 102638 h 235237"/>
                <a:gd name="connsiteX16" fmla="*/ 14663 w 486413"/>
                <a:gd name="connsiteY16" fmla="*/ 170213 h 235237"/>
                <a:gd name="connsiteX17" fmla="*/ 44625 w 486413"/>
                <a:gd name="connsiteY17" fmla="*/ 128775 h 235237"/>
                <a:gd name="connsiteX18" fmla="*/ 59288 w 486413"/>
                <a:gd name="connsiteY18" fmla="*/ 125588 h 235237"/>
                <a:gd name="connsiteX19" fmla="*/ 87975 w 486413"/>
                <a:gd name="connsiteY19" fmla="*/ 105825 h 235237"/>
                <a:gd name="connsiteX20" fmla="*/ 107101 w 486413"/>
                <a:gd name="connsiteY20" fmla="*/ 101363 h 235237"/>
                <a:gd name="connsiteX21" fmla="*/ 107101 w 486413"/>
                <a:gd name="connsiteY21" fmla="*/ 88613 h 235237"/>
                <a:gd name="connsiteX22" fmla="*/ 129413 w 486413"/>
                <a:gd name="connsiteY22" fmla="*/ 71400 h 235237"/>
                <a:gd name="connsiteX23" fmla="*/ 167663 w 486413"/>
                <a:gd name="connsiteY23" fmla="*/ 75863 h 235237"/>
                <a:gd name="connsiteX24" fmla="*/ 186150 w 486413"/>
                <a:gd name="connsiteY24" fmla="*/ 108375 h 235237"/>
                <a:gd name="connsiteX25" fmla="*/ 186150 w 486413"/>
                <a:gd name="connsiteY25" fmla="*/ 108375 h 235237"/>
                <a:gd name="connsiteX26" fmla="*/ 188063 w 486413"/>
                <a:gd name="connsiteY26" fmla="*/ 109013 h 235237"/>
                <a:gd name="connsiteX27" fmla="*/ 218026 w 486413"/>
                <a:gd name="connsiteY27" fmla="*/ 116663 h 235237"/>
                <a:gd name="connsiteX28" fmla="*/ 239063 w 486413"/>
                <a:gd name="connsiteY28" fmla="*/ 131963 h 235237"/>
                <a:gd name="connsiteX29" fmla="*/ 259463 w 486413"/>
                <a:gd name="connsiteY29" fmla="*/ 141525 h 235237"/>
                <a:gd name="connsiteX30" fmla="*/ 261376 w 486413"/>
                <a:gd name="connsiteY30" fmla="*/ 143438 h 235237"/>
                <a:gd name="connsiteX31" fmla="*/ 263926 w 486413"/>
                <a:gd name="connsiteY31" fmla="*/ 138338 h 235237"/>
                <a:gd name="connsiteX32" fmla="*/ 275401 w 486413"/>
                <a:gd name="connsiteY32" fmla="*/ 137700 h 235237"/>
                <a:gd name="connsiteX33" fmla="*/ 284963 w 486413"/>
                <a:gd name="connsiteY33" fmla="*/ 142800 h 235237"/>
                <a:gd name="connsiteX34" fmla="*/ 276676 w 486413"/>
                <a:gd name="connsiteY34" fmla="*/ 158100 h 235237"/>
                <a:gd name="connsiteX35" fmla="*/ 276676 w 486413"/>
                <a:gd name="connsiteY35" fmla="*/ 158738 h 235237"/>
                <a:gd name="connsiteX36" fmla="*/ 264563 w 486413"/>
                <a:gd name="connsiteY36" fmla="*/ 195713 h 235237"/>
                <a:gd name="connsiteX37" fmla="*/ 304088 w 486413"/>
                <a:gd name="connsiteY37" fmla="*/ 221213 h 235237"/>
                <a:gd name="connsiteX38" fmla="*/ 343613 w 486413"/>
                <a:gd name="connsiteY38" fmla="*/ 223125 h 235237"/>
                <a:gd name="connsiteX39" fmla="*/ 370388 w 486413"/>
                <a:gd name="connsiteY39" fmla="*/ 235238 h 235237"/>
                <a:gd name="connsiteX40" fmla="*/ 358914 w 486413"/>
                <a:gd name="connsiteY40" fmla="*/ 204000 h 235237"/>
                <a:gd name="connsiteX41" fmla="*/ 325126 w 486413"/>
                <a:gd name="connsiteY41" fmla="*/ 192525 h 235237"/>
                <a:gd name="connsiteX42" fmla="*/ 316838 w 486413"/>
                <a:gd name="connsiteY42" fmla="*/ 165750 h 235237"/>
                <a:gd name="connsiteX43" fmla="*/ 337876 w 486413"/>
                <a:gd name="connsiteY43" fmla="*/ 194438 h 235237"/>
                <a:gd name="connsiteX44" fmla="*/ 355088 w 486413"/>
                <a:gd name="connsiteY44" fmla="*/ 196988 h 235237"/>
                <a:gd name="connsiteX45" fmla="*/ 339789 w 486413"/>
                <a:gd name="connsiteY45" fmla="*/ 181688 h 235237"/>
                <a:gd name="connsiteX46" fmla="*/ 327676 w 486413"/>
                <a:gd name="connsiteY46" fmla="*/ 135788 h 235237"/>
                <a:gd name="connsiteX47" fmla="*/ 330863 w 486413"/>
                <a:gd name="connsiteY47" fmla="*/ 109013 h 235237"/>
                <a:gd name="connsiteX48" fmla="*/ 317476 w 486413"/>
                <a:gd name="connsiteY48" fmla="*/ 79688 h 235237"/>
                <a:gd name="connsiteX49" fmla="*/ 331501 w 486413"/>
                <a:gd name="connsiteY49" fmla="*/ 68213 h 235237"/>
                <a:gd name="connsiteX50" fmla="*/ 342338 w 486413"/>
                <a:gd name="connsiteY50" fmla="*/ 31238 h 235237"/>
                <a:gd name="connsiteX51" fmla="*/ 338513 w 486413"/>
                <a:gd name="connsiteY51" fmla="*/ 86063 h 235237"/>
                <a:gd name="connsiteX52" fmla="*/ 349988 w 486413"/>
                <a:gd name="connsiteY52" fmla="*/ 104550 h 235237"/>
                <a:gd name="connsiteX53" fmla="*/ 360826 w 486413"/>
                <a:gd name="connsiteY53" fmla="*/ 82875 h 235237"/>
                <a:gd name="connsiteX54" fmla="*/ 366563 w 486413"/>
                <a:gd name="connsiteY54" fmla="*/ 118575 h 235237"/>
                <a:gd name="connsiteX55" fmla="*/ 355088 w 486413"/>
                <a:gd name="connsiteY55" fmla="*/ 145350 h 235237"/>
                <a:gd name="connsiteX56" fmla="*/ 386963 w 486413"/>
                <a:gd name="connsiteY56" fmla="*/ 156825 h 235237"/>
                <a:gd name="connsiteX57" fmla="*/ 359551 w 486413"/>
                <a:gd name="connsiteY57" fmla="*/ 166388 h 235237"/>
                <a:gd name="connsiteX58" fmla="*/ 373576 w 486413"/>
                <a:gd name="connsiteY58" fmla="*/ 193163 h 235237"/>
                <a:gd name="connsiteX59" fmla="*/ 396526 w 486413"/>
                <a:gd name="connsiteY59" fmla="*/ 200813 h 235237"/>
                <a:gd name="connsiteX60" fmla="*/ 409276 w 486413"/>
                <a:gd name="connsiteY60" fmla="*/ 178500 h 235237"/>
                <a:gd name="connsiteX61" fmla="*/ 408001 w 486413"/>
                <a:gd name="connsiteY61" fmla="*/ 210375 h 235237"/>
                <a:gd name="connsiteX62" fmla="*/ 429676 w 486413"/>
                <a:gd name="connsiteY62" fmla="*/ 209738 h 235237"/>
                <a:gd name="connsiteX63" fmla="*/ 443701 w 486413"/>
                <a:gd name="connsiteY63" fmla="*/ 225675 h 235237"/>
                <a:gd name="connsiteX64" fmla="*/ 444338 w 486413"/>
                <a:gd name="connsiteY64" fmla="*/ 225675 h 235237"/>
                <a:gd name="connsiteX65" fmla="*/ 448801 w 486413"/>
                <a:gd name="connsiteY65" fmla="*/ 219938 h 235237"/>
                <a:gd name="connsiteX66" fmla="*/ 461551 w 486413"/>
                <a:gd name="connsiteY66" fmla="*/ 214200 h 235237"/>
                <a:gd name="connsiteX67" fmla="*/ 469839 w 486413"/>
                <a:gd name="connsiteY67" fmla="*/ 211013 h 235237"/>
                <a:gd name="connsiteX68" fmla="*/ 469201 w 486413"/>
                <a:gd name="connsiteY68" fmla="*/ 209738 h 235237"/>
                <a:gd name="connsiteX69" fmla="*/ 485776 w 486413"/>
                <a:gd name="connsiteY69" fmla="*/ 160013 h 235237"/>
                <a:gd name="connsiteX70" fmla="*/ 485776 w 486413"/>
                <a:gd name="connsiteY70" fmla="*/ 158100 h 235237"/>
                <a:gd name="connsiteX71" fmla="*/ 482589 w 486413"/>
                <a:gd name="connsiteY71" fmla="*/ 145350 h 235237"/>
                <a:gd name="connsiteX72" fmla="*/ 482589 w 486413"/>
                <a:gd name="connsiteY72" fmla="*/ 144713 h 235237"/>
                <a:gd name="connsiteX73" fmla="*/ 422026 w 486413"/>
                <a:gd name="connsiteY73" fmla="*/ 162563 h 235237"/>
                <a:gd name="connsiteX74" fmla="*/ 368476 w 486413"/>
                <a:gd name="connsiteY74" fmla="*/ 10200 h 235237"/>
                <a:gd name="connsiteX75" fmla="*/ 365926 w 486413"/>
                <a:gd name="connsiteY75" fmla="*/ 0 h 235237"/>
                <a:gd name="connsiteX76" fmla="*/ 354451 w 486413"/>
                <a:gd name="connsiteY76" fmla="*/ 3188 h 235237"/>
                <a:gd name="connsiteX77" fmla="*/ 308551 w 486413"/>
                <a:gd name="connsiteY77" fmla="*/ 17213 h 235237"/>
                <a:gd name="connsiteX78" fmla="*/ 57375 w 486413"/>
                <a:gd name="connsiteY78" fmla="*/ 87338 h 235237"/>
                <a:gd name="connsiteX79" fmla="*/ 11475 w 486413"/>
                <a:gd name="connsiteY79" fmla="*/ 99450 h 235237"/>
                <a:gd name="connsiteX80" fmla="*/ 0 w 486413"/>
                <a:gd name="connsiteY80" fmla="*/ 102638 h 235237"/>
                <a:gd name="connsiteX81" fmla="*/ 0 w 486413"/>
                <a:gd name="connsiteY81" fmla="*/ 102638 h 23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6413" h="235237">
                  <a:moveTo>
                    <a:pt x="481951" y="202088"/>
                  </a:moveTo>
                  <a:lnTo>
                    <a:pt x="486414" y="167663"/>
                  </a:lnTo>
                  <a:lnTo>
                    <a:pt x="482589" y="193163"/>
                  </a:lnTo>
                  <a:lnTo>
                    <a:pt x="480039" y="204638"/>
                  </a:lnTo>
                  <a:lnTo>
                    <a:pt x="479401" y="205913"/>
                  </a:lnTo>
                  <a:lnTo>
                    <a:pt x="481313" y="205275"/>
                  </a:lnTo>
                  <a:lnTo>
                    <a:pt x="481951" y="202088"/>
                  </a:lnTo>
                  <a:lnTo>
                    <a:pt x="481951" y="202088"/>
                  </a:lnTo>
                  <a:close/>
                  <a:moveTo>
                    <a:pt x="485139" y="142163"/>
                  </a:moveTo>
                  <a:lnTo>
                    <a:pt x="483864" y="142800"/>
                  </a:lnTo>
                  <a:lnTo>
                    <a:pt x="485139" y="146625"/>
                  </a:lnTo>
                  <a:lnTo>
                    <a:pt x="485139" y="154275"/>
                  </a:lnTo>
                  <a:lnTo>
                    <a:pt x="485139" y="142163"/>
                  </a:lnTo>
                  <a:lnTo>
                    <a:pt x="485139" y="142163"/>
                  </a:lnTo>
                  <a:lnTo>
                    <a:pt x="485139" y="142163"/>
                  </a:lnTo>
                  <a:close/>
                  <a:moveTo>
                    <a:pt x="0" y="102638"/>
                  </a:moveTo>
                  <a:lnTo>
                    <a:pt x="14663" y="170213"/>
                  </a:lnTo>
                  <a:lnTo>
                    <a:pt x="44625" y="128775"/>
                  </a:lnTo>
                  <a:lnTo>
                    <a:pt x="59288" y="125588"/>
                  </a:lnTo>
                  <a:lnTo>
                    <a:pt x="87975" y="105825"/>
                  </a:lnTo>
                  <a:lnTo>
                    <a:pt x="107101" y="101363"/>
                  </a:lnTo>
                  <a:lnTo>
                    <a:pt x="107101" y="88613"/>
                  </a:lnTo>
                  <a:lnTo>
                    <a:pt x="129413" y="71400"/>
                  </a:lnTo>
                  <a:lnTo>
                    <a:pt x="167663" y="75863"/>
                  </a:lnTo>
                  <a:lnTo>
                    <a:pt x="186150" y="108375"/>
                  </a:lnTo>
                  <a:lnTo>
                    <a:pt x="186150" y="108375"/>
                  </a:lnTo>
                  <a:lnTo>
                    <a:pt x="188063" y="109013"/>
                  </a:lnTo>
                  <a:lnTo>
                    <a:pt x="218026" y="116663"/>
                  </a:lnTo>
                  <a:lnTo>
                    <a:pt x="239063" y="131963"/>
                  </a:lnTo>
                  <a:lnTo>
                    <a:pt x="259463" y="141525"/>
                  </a:lnTo>
                  <a:lnTo>
                    <a:pt x="261376" y="143438"/>
                  </a:lnTo>
                  <a:lnTo>
                    <a:pt x="263926" y="138338"/>
                  </a:lnTo>
                  <a:lnTo>
                    <a:pt x="275401" y="137700"/>
                  </a:lnTo>
                  <a:lnTo>
                    <a:pt x="284963" y="142800"/>
                  </a:lnTo>
                  <a:lnTo>
                    <a:pt x="276676" y="158100"/>
                  </a:lnTo>
                  <a:lnTo>
                    <a:pt x="276676" y="158738"/>
                  </a:lnTo>
                  <a:lnTo>
                    <a:pt x="264563" y="195713"/>
                  </a:lnTo>
                  <a:lnTo>
                    <a:pt x="304088" y="221213"/>
                  </a:lnTo>
                  <a:lnTo>
                    <a:pt x="343613" y="223125"/>
                  </a:lnTo>
                  <a:lnTo>
                    <a:pt x="370388" y="235238"/>
                  </a:lnTo>
                  <a:lnTo>
                    <a:pt x="358914" y="204000"/>
                  </a:lnTo>
                  <a:lnTo>
                    <a:pt x="325126" y="192525"/>
                  </a:lnTo>
                  <a:lnTo>
                    <a:pt x="316838" y="165750"/>
                  </a:lnTo>
                  <a:lnTo>
                    <a:pt x="337876" y="194438"/>
                  </a:lnTo>
                  <a:lnTo>
                    <a:pt x="355088" y="196988"/>
                  </a:lnTo>
                  <a:lnTo>
                    <a:pt x="339789" y="181688"/>
                  </a:lnTo>
                  <a:lnTo>
                    <a:pt x="327676" y="135788"/>
                  </a:lnTo>
                  <a:lnTo>
                    <a:pt x="330863" y="109013"/>
                  </a:lnTo>
                  <a:lnTo>
                    <a:pt x="317476" y="79688"/>
                  </a:lnTo>
                  <a:lnTo>
                    <a:pt x="331501" y="68213"/>
                  </a:lnTo>
                  <a:lnTo>
                    <a:pt x="342338" y="31238"/>
                  </a:lnTo>
                  <a:lnTo>
                    <a:pt x="338513" y="86063"/>
                  </a:lnTo>
                  <a:lnTo>
                    <a:pt x="349988" y="104550"/>
                  </a:lnTo>
                  <a:lnTo>
                    <a:pt x="360826" y="82875"/>
                  </a:lnTo>
                  <a:lnTo>
                    <a:pt x="366563" y="118575"/>
                  </a:lnTo>
                  <a:lnTo>
                    <a:pt x="355088" y="145350"/>
                  </a:lnTo>
                  <a:lnTo>
                    <a:pt x="386963" y="156825"/>
                  </a:lnTo>
                  <a:lnTo>
                    <a:pt x="359551" y="166388"/>
                  </a:lnTo>
                  <a:lnTo>
                    <a:pt x="373576" y="193163"/>
                  </a:lnTo>
                  <a:lnTo>
                    <a:pt x="396526" y="200813"/>
                  </a:lnTo>
                  <a:lnTo>
                    <a:pt x="409276" y="178500"/>
                  </a:lnTo>
                  <a:lnTo>
                    <a:pt x="408001" y="210375"/>
                  </a:lnTo>
                  <a:lnTo>
                    <a:pt x="429676" y="209738"/>
                  </a:lnTo>
                  <a:lnTo>
                    <a:pt x="443701" y="225675"/>
                  </a:lnTo>
                  <a:lnTo>
                    <a:pt x="444338" y="225675"/>
                  </a:lnTo>
                  <a:lnTo>
                    <a:pt x="448801" y="219938"/>
                  </a:lnTo>
                  <a:lnTo>
                    <a:pt x="461551" y="214200"/>
                  </a:lnTo>
                  <a:lnTo>
                    <a:pt x="469839" y="211013"/>
                  </a:lnTo>
                  <a:lnTo>
                    <a:pt x="469201" y="209738"/>
                  </a:lnTo>
                  <a:lnTo>
                    <a:pt x="485776" y="160013"/>
                  </a:lnTo>
                  <a:lnTo>
                    <a:pt x="485776" y="158100"/>
                  </a:lnTo>
                  <a:lnTo>
                    <a:pt x="482589" y="145350"/>
                  </a:lnTo>
                  <a:lnTo>
                    <a:pt x="482589" y="144713"/>
                  </a:lnTo>
                  <a:lnTo>
                    <a:pt x="422026" y="162563"/>
                  </a:lnTo>
                  <a:lnTo>
                    <a:pt x="368476" y="10200"/>
                  </a:lnTo>
                  <a:lnTo>
                    <a:pt x="365926" y="0"/>
                  </a:lnTo>
                  <a:lnTo>
                    <a:pt x="354451" y="3188"/>
                  </a:lnTo>
                  <a:lnTo>
                    <a:pt x="308551" y="17213"/>
                  </a:lnTo>
                  <a:lnTo>
                    <a:pt x="57375" y="87338"/>
                  </a:lnTo>
                  <a:lnTo>
                    <a:pt x="11475" y="99450"/>
                  </a:lnTo>
                  <a:lnTo>
                    <a:pt x="0" y="102638"/>
                  </a:lnTo>
                  <a:lnTo>
                    <a:pt x="0" y="102638"/>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81" name="Freeform 63">
              <a:extLst>
                <a:ext uri="{FF2B5EF4-FFF2-40B4-BE49-F238E27FC236}">
                  <a16:creationId xmlns:a16="http://schemas.microsoft.com/office/drawing/2014/main" id="{CB5A5DDD-0392-3B2D-ECF5-831D83DE882A}"/>
                </a:ext>
              </a:extLst>
            </p:cNvPr>
            <p:cNvSpPr/>
            <p:nvPr/>
          </p:nvSpPr>
          <p:spPr>
            <a:xfrm>
              <a:off x="6836756" y="1989623"/>
              <a:ext cx="146625" cy="322575"/>
            </a:xfrm>
            <a:custGeom>
              <a:avLst/>
              <a:gdLst>
                <a:gd name="connsiteX0" fmla="*/ 137700 w 146625"/>
                <a:gd name="connsiteY0" fmla="*/ 242888 h 322575"/>
                <a:gd name="connsiteX1" fmla="*/ 134513 w 146625"/>
                <a:gd name="connsiteY1" fmla="*/ 235238 h 322575"/>
                <a:gd name="connsiteX2" fmla="*/ 134513 w 146625"/>
                <a:gd name="connsiteY2" fmla="*/ 242888 h 322575"/>
                <a:gd name="connsiteX3" fmla="*/ 137700 w 146625"/>
                <a:gd name="connsiteY3" fmla="*/ 242888 h 322575"/>
                <a:gd name="connsiteX4" fmla="*/ 144713 w 146625"/>
                <a:gd name="connsiteY4" fmla="*/ 219300 h 322575"/>
                <a:gd name="connsiteX5" fmla="*/ 146625 w 146625"/>
                <a:gd name="connsiteY5" fmla="*/ 200175 h 322575"/>
                <a:gd name="connsiteX6" fmla="*/ 142800 w 146625"/>
                <a:gd name="connsiteY6" fmla="*/ 216750 h 322575"/>
                <a:gd name="connsiteX7" fmla="*/ 144713 w 146625"/>
                <a:gd name="connsiteY7" fmla="*/ 219300 h 322575"/>
                <a:gd name="connsiteX8" fmla="*/ 144713 w 146625"/>
                <a:gd name="connsiteY8" fmla="*/ 219300 h 322575"/>
                <a:gd name="connsiteX9" fmla="*/ 117938 w 146625"/>
                <a:gd name="connsiteY9" fmla="*/ 22313 h 322575"/>
                <a:gd name="connsiteX10" fmla="*/ 50363 w 146625"/>
                <a:gd name="connsiteY10" fmla="*/ 5737 h 322575"/>
                <a:gd name="connsiteX11" fmla="*/ 38887 w 146625"/>
                <a:gd name="connsiteY11" fmla="*/ 2550 h 322575"/>
                <a:gd name="connsiteX12" fmla="*/ 27412 w 146625"/>
                <a:gd name="connsiteY12" fmla="*/ 0 h 322575"/>
                <a:gd name="connsiteX13" fmla="*/ 27412 w 146625"/>
                <a:gd name="connsiteY13" fmla="*/ 0 h 322575"/>
                <a:gd name="connsiteX14" fmla="*/ 0 w 146625"/>
                <a:gd name="connsiteY14" fmla="*/ 59288 h 322575"/>
                <a:gd name="connsiteX15" fmla="*/ 11475 w 146625"/>
                <a:gd name="connsiteY15" fmla="*/ 73313 h 322575"/>
                <a:gd name="connsiteX16" fmla="*/ 10838 w 146625"/>
                <a:gd name="connsiteY16" fmla="*/ 116025 h 322575"/>
                <a:gd name="connsiteX17" fmla="*/ 22950 w 146625"/>
                <a:gd name="connsiteY17" fmla="*/ 117938 h 322575"/>
                <a:gd name="connsiteX18" fmla="*/ 47813 w 146625"/>
                <a:gd name="connsiteY18" fmla="*/ 183600 h 322575"/>
                <a:gd name="connsiteX19" fmla="*/ 46538 w 146625"/>
                <a:gd name="connsiteY19" fmla="*/ 185513 h 322575"/>
                <a:gd name="connsiteX20" fmla="*/ 14662 w 146625"/>
                <a:gd name="connsiteY20" fmla="*/ 232050 h 322575"/>
                <a:gd name="connsiteX21" fmla="*/ 17850 w 146625"/>
                <a:gd name="connsiteY21" fmla="*/ 267113 h 322575"/>
                <a:gd name="connsiteX22" fmla="*/ 93713 w 146625"/>
                <a:gd name="connsiteY22" fmla="*/ 292613 h 322575"/>
                <a:gd name="connsiteX23" fmla="*/ 94350 w 146625"/>
                <a:gd name="connsiteY23" fmla="*/ 322576 h 322575"/>
                <a:gd name="connsiteX24" fmla="*/ 111563 w 146625"/>
                <a:gd name="connsiteY24" fmla="*/ 298351 h 322575"/>
                <a:gd name="connsiteX25" fmla="*/ 114113 w 146625"/>
                <a:gd name="connsiteY25" fmla="*/ 263288 h 322575"/>
                <a:gd name="connsiteX26" fmla="*/ 131963 w 146625"/>
                <a:gd name="connsiteY26" fmla="*/ 251175 h 322575"/>
                <a:gd name="connsiteX27" fmla="*/ 124950 w 146625"/>
                <a:gd name="connsiteY27" fmla="*/ 224401 h 322575"/>
                <a:gd name="connsiteX28" fmla="*/ 138338 w 146625"/>
                <a:gd name="connsiteY28" fmla="*/ 192525 h 322575"/>
                <a:gd name="connsiteX29" fmla="*/ 138338 w 146625"/>
                <a:gd name="connsiteY29" fmla="*/ 123675 h 322575"/>
                <a:gd name="connsiteX30" fmla="*/ 133875 w 146625"/>
                <a:gd name="connsiteY30" fmla="*/ 101363 h 322575"/>
                <a:gd name="connsiteX31" fmla="*/ 103275 w 146625"/>
                <a:gd name="connsiteY31" fmla="*/ 102000 h 322575"/>
                <a:gd name="connsiteX32" fmla="*/ 110925 w 146625"/>
                <a:gd name="connsiteY32" fmla="*/ 70763 h 322575"/>
                <a:gd name="connsiteX33" fmla="*/ 117938 w 146625"/>
                <a:gd name="connsiteY33" fmla="*/ 22313 h 322575"/>
                <a:gd name="connsiteX34" fmla="*/ 117938 w 146625"/>
                <a:gd name="connsiteY34" fmla="*/ 22313 h 322575"/>
                <a:gd name="connsiteX35" fmla="*/ 117938 w 146625"/>
                <a:gd name="connsiteY35" fmla="*/ 22313 h 32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625" h="322575">
                  <a:moveTo>
                    <a:pt x="137700" y="242888"/>
                  </a:moveTo>
                  <a:lnTo>
                    <a:pt x="134513" y="235238"/>
                  </a:lnTo>
                  <a:lnTo>
                    <a:pt x="134513" y="242888"/>
                  </a:lnTo>
                  <a:lnTo>
                    <a:pt x="137700" y="242888"/>
                  </a:lnTo>
                  <a:close/>
                  <a:moveTo>
                    <a:pt x="144713" y="219300"/>
                  </a:moveTo>
                  <a:lnTo>
                    <a:pt x="146625" y="200175"/>
                  </a:lnTo>
                  <a:lnTo>
                    <a:pt x="142800" y="216750"/>
                  </a:lnTo>
                  <a:lnTo>
                    <a:pt x="144713" y="219300"/>
                  </a:lnTo>
                  <a:lnTo>
                    <a:pt x="144713" y="219300"/>
                  </a:lnTo>
                  <a:close/>
                  <a:moveTo>
                    <a:pt x="117938" y="22313"/>
                  </a:moveTo>
                  <a:lnTo>
                    <a:pt x="50363" y="5737"/>
                  </a:lnTo>
                  <a:lnTo>
                    <a:pt x="38887" y="2550"/>
                  </a:lnTo>
                  <a:lnTo>
                    <a:pt x="27412" y="0"/>
                  </a:lnTo>
                  <a:lnTo>
                    <a:pt x="27412" y="0"/>
                  </a:lnTo>
                  <a:lnTo>
                    <a:pt x="0" y="59288"/>
                  </a:lnTo>
                  <a:lnTo>
                    <a:pt x="11475" y="73313"/>
                  </a:lnTo>
                  <a:lnTo>
                    <a:pt x="10838" y="116025"/>
                  </a:lnTo>
                  <a:lnTo>
                    <a:pt x="22950" y="117938"/>
                  </a:lnTo>
                  <a:lnTo>
                    <a:pt x="47813" y="183600"/>
                  </a:lnTo>
                  <a:lnTo>
                    <a:pt x="46538" y="185513"/>
                  </a:lnTo>
                  <a:lnTo>
                    <a:pt x="14662" y="232050"/>
                  </a:lnTo>
                  <a:lnTo>
                    <a:pt x="17850" y="267113"/>
                  </a:lnTo>
                  <a:lnTo>
                    <a:pt x="93713" y="292613"/>
                  </a:lnTo>
                  <a:lnTo>
                    <a:pt x="94350" y="322576"/>
                  </a:lnTo>
                  <a:lnTo>
                    <a:pt x="111563" y="298351"/>
                  </a:lnTo>
                  <a:lnTo>
                    <a:pt x="114113" y="263288"/>
                  </a:lnTo>
                  <a:lnTo>
                    <a:pt x="131963" y="251175"/>
                  </a:lnTo>
                  <a:lnTo>
                    <a:pt x="124950" y="224401"/>
                  </a:lnTo>
                  <a:lnTo>
                    <a:pt x="138338" y="192525"/>
                  </a:lnTo>
                  <a:lnTo>
                    <a:pt x="138338" y="123675"/>
                  </a:lnTo>
                  <a:lnTo>
                    <a:pt x="133875" y="101363"/>
                  </a:lnTo>
                  <a:lnTo>
                    <a:pt x="103275" y="102000"/>
                  </a:lnTo>
                  <a:lnTo>
                    <a:pt x="110925" y="70763"/>
                  </a:lnTo>
                  <a:lnTo>
                    <a:pt x="117938" y="22313"/>
                  </a:lnTo>
                  <a:lnTo>
                    <a:pt x="117938" y="22313"/>
                  </a:lnTo>
                  <a:lnTo>
                    <a:pt x="117938" y="22313"/>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82" name="Freeform 64">
              <a:extLst>
                <a:ext uri="{FF2B5EF4-FFF2-40B4-BE49-F238E27FC236}">
                  <a16:creationId xmlns:a16="http://schemas.microsoft.com/office/drawing/2014/main" id="{207C78FE-ADDD-EB50-96A8-A910ED47619F}"/>
                </a:ext>
              </a:extLst>
            </p:cNvPr>
            <p:cNvSpPr/>
            <p:nvPr/>
          </p:nvSpPr>
          <p:spPr>
            <a:xfrm>
              <a:off x="6350792" y="1476597"/>
              <a:ext cx="796238" cy="608176"/>
            </a:xfrm>
            <a:custGeom>
              <a:avLst/>
              <a:gdLst>
                <a:gd name="connsiteX0" fmla="*/ 604351 w 796238"/>
                <a:gd name="connsiteY0" fmla="*/ 590964 h 608176"/>
                <a:gd name="connsiteX1" fmla="*/ 594151 w 796238"/>
                <a:gd name="connsiteY1" fmla="*/ 604351 h 608176"/>
                <a:gd name="connsiteX2" fmla="*/ 591601 w 796238"/>
                <a:gd name="connsiteY2" fmla="*/ 608176 h 608176"/>
                <a:gd name="connsiteX3" fmla="*/ 604351 w 796238"/>
                <a:gd name="connsiteY3" fmla="*/ 590964 h 608176"/>
                <a:gd name="connsiteX4" fmla="*/ 692964 w 796238"/>
                <a:gd name="connsiteY4" fmla="*/ 559089 h 608176"/>
                <a:gd name="connsiteX5" fmla="*/ 725476 w 796238"/>
                <a:gd name="connsiteY5" fmla="*/ 530401 h 608176"/>
                <a:gd name="connsiteX6" fmla="*/ 725476 w 796238"/>
                <a:gd name="connsiteY6" fmla="*/ 529126 h 608176"/>
                <a:gd name="connsiteX7" fmla="*/ 692964 w 796238"/>
                <a:gd name="connsiteY7" fmla="*/ 559089 h 608176"/>
                <a:gd name="connsiteX8" fmla="*/ 692964 w 796238"/>
                <a:gd name="connsiteY8" fmla="*/ 559089 h 608176"/>
                <a:gd name="connsiteX9" fmla="*/ 608814 w 796238"/>
                <a:gd name="connsiteY9" fmla="*/ 578851 h 608176"/>
                <a:gd name="connsiteX10" fmla="*/ 608814 w 796238"/>
                <a:gd name="connsiteY10" fmla="*/ 557176 h 608176"/>
                <a:gd name="connsiteX11" fmla="*/ 606901 w 796238"/>
                <a:gd name="connsiteY11" fmla="*/ 568651 h 608176"/>
                <a:gd name="connsiteX12" fmla="*/ 608814 w 796238"/>
                <a:gd name="connsiteY12" fmla="*/ 578851 h 608176"/>
                <a:gd name="connsiteX13" fmla="*/ 757989 w 796238"/>
                <a:gd name="connsiteY13" fmla="*/ 476214 h 608176"/>
                <a:gd name="connsiteX14" fmla="*/ 750339 w 796238"/>
                <a:gd name="connsiteY14" fmla="*/ 474301 h 608176"/>
                <a:gd name="connsiteX15" fmla="*/ 749064 w 796238"/>
                <a:gd name="connsiteY15" fmla="*/ 480039 h 608176"/>
                <a:gd name="connsiteX16" fmla="*/ 757989 w 796238"/>
                <a:gd name="connsiteY16" fmla="*/ 476214 h 608176"/>
                <a:gd name="connsiteX17" fmla="*/ 775201 w 796238"/>
                <a:gd name="connsiteY17" fmla="*/ 465376 h 608176"/>
                <a:gd name="connsiteX18" fmla="*/ 774564 w 796238"/>
                <a:gd name="connsiteY18" fmla="*/ 471751 h 608176"/>
                <a:gd name="connsiteX19" fmla="*/ 775839 w 796238"/>
                <a:gd name="connsiteY19" fmla="*/ 467926 h 608176"/>
                <a:gd name="connsiteX20" fmla="*/ 775201 w 796238"/>
                <a:gd name="connsiteY20" fmla="*/ 465376 h 608176"/>
                <a:gd name="connsiteX21" fmla="*/ 775201 w 796238"/>
                <a:gd name="connsiteY21" fmla="*/ 465376 h 608176"/>
                <a:gd name="connsiteX22" fmla="*/ 757351 w 796238"/>
                <a:gd name="connsiteY22" fmla="*/ 466013 h 608176"/>
                <a:gd name="connsiteX23" fmla="*/ 714639 w 796238"/>
                <a:gd name="connsiteY23" fmla="*/ 505539 h 608176"/>
                <a:gd name="connsiteX24" fmla="*/ 648339 w 796238"/>
                <a:gd name="connsiteY24" fmla="*/ 534226 h 608176"/>
                <a:gd name="connsiteX25" fmla="*/ 631126 w 796238"/>
                <a:gd name="connsiteY25" fmla="*/ 548889 h 608176"/>
                <a:gd name="connsiteX26" fmla="*/ 629851 w 796238"/>
                <a:gd name="connsiteY26" fmla="*/ 562914 h 608176"/>
                <a:gd name="connsiteX27" fmla="*/ 612001 w 796238"/>
                <a:gd name="connsiteY27" fmla="*/ 577576 h 608176"/>
                <a:gd name="connsiteX28" fmla="*/ 614551 w 796238"/>
                <a:gd name="connsiteY28" fmla="*/ 596701 h 608176"/>
                <a:gd name="connsiteX29" fmla="*/ 642601 w 796238"/>
                <a:gd name="connsiteY29" fmla="*/ 585226 h 608176"/>
                <a:gd name="connsiteX30" fmla="*/ 682764 w 796238"/>
                <a:gd name="connsiteY30" fmla="*/ 552076 h 608176"/>
                <a:gd name="connsiteX31" fmla="*/ 728026 w 796238"/>
                <a:gd name="connsiteY31" fmla="*/ 528489 h 608176"/>
                <a:gd name="connsiteX32" fmla="*/ 796239 w 796238"/>
                <a:gd name="connsiteY32" fmla="*/ 464101 h 608176"/>
                <a:gd name="connsiteX33" fmla="*/ 747789 w 796238"/>
                <a:gd name="connsiteY33" fmla="*/ 500439 h 608176"/>
                <a:gd name="connsiteX34" fmla="*/ 732489 w 796238"/>
                <a:gd name="connsiteY34" fmla="*/ 506814 h 608176"/>
                <a:gd name="connsiteX35" fmla="*/ 757351 w 796238"/>
                <a:gd name="connsiteY35" fmla="*/ 466013 h 608176"/>
                <a:gd name="connsiteX36" fmla="*/ 757351 w 796238"/>
                <a:gd name="connsiteY36" fmla="*/ 466013 h 608176"/>
                <a:gd name="connsiteX37" fmla="*/ 777114 w 796238"/>
                <a:gd name="connsiteY37" fmla="*/ 438601 h 608176"/>
                <a:gd name="connsiteX38" fmla="*/ 779664 w 796238"/>
                <a:gd name="connsiteY38" fmla="*/ 434776 h 608176"/>
                <a:gd name="connsiteX39" fmla="*/ 772014 w 796238"/>
                <a:gd name="connsiteY39" fmla="*/ 444338 h 608176"/>
                <a:gd name="connsiteX40" fmla="*/ 777114 w 796238"/>
                <a:gd name="connsiteY40" fmla="*/ 438601 h 608176"/>
                <a:gd name="connsiteX41" fmla="*/ 54825 w 796238"/>
                <a:gd name="connsiteY41" fmla="*/ 415013 h 608176"/>
                <a:gd name="connsiteX42" fmla="*/ 44625 w 796238"/>
                <a:gd name="connsiteY42" fmla="*/ 413738 h 608176"/>
                <a:gd name="connsiteX43" fmla="*/ 52275 w 796238"/>
                <a:gd name="connsiteY43" fmla="*/ 424576 h 608176"/>
                <a:gd name="connsiteX44" fmla="*/ 54825 w 796238"/>
                <a:gd name="connsiteY44" fmla="*/ 415013 h 608176"/>
                <a:gd name="connsiteX45" fmla="*/ 54825 w 796238"/>
                <a:gd name="connsiteY45" fmla="*/ 415013 h 608176"/>
                <a:gd name="connsiteX46" fmla="*/ 268388 w 796238"/>
                <a:gd name="connsiteY46" fmla="*/ 218026 h 608176"/>
                <a:gd name="connsiteX47" fmla="*/ 269663 w 796238"/>
                <a:gd name="connsiteY47" fmla="*/ 211013 h 608176"/>
                <a:gd name="connsiteX48" fmla="*/ 264563 w 796238"/>
                <a:gd name="connsiteY48" fmla="*/ 217388 h 608176"/>
                <a:gd name="connsiteX49" fmla="*/ 268388 w 796238"/>
                <a:gd name="connsiteY49" fmla="*/ 218026 h 608176"/>
                <a:gd name="connsiteX50" fmla="*/ 268388 w 796238"/>
                <a:gd name="connsiteY50" fmla="*/ 218026 h 608176"/>
                <a:gd name="connsiteX51" fmla="*/ 271575 w 796238"/>
                <a:gd name="connsiteY51" fmla="*/ 172125 h 608176"/>
                <a:gd name="connsiteX52" fmla="*/ 269025 w 796238"/>
                <a:gd name="connsiteY52" fmla="*/ 173400 h 608176"/>
                <a:gd name="connsiteX53" fmla="*/ 265838 w 796238"/>
                <a:gd name="connsiteY53" fmla="*/ 180413 h 608176"/>
                <a:gd name="connsiteX54" fmla="*/ 271575 w 796238"/>
                <a:gd name="connsiteY54" fmla="*/ 172125 h 608176"/>
                <a:gd name="connsiteX55" fmla="*/ 271575 w 796238"/>
                <a:gd name="connsiteY55" fmla="*/ 172125 h 608176"/>
                <a:gd name="connsiteX56" fmla="*/ 0 w 796238"/>
                <a:gd name="connsiteY56" fmla="*/ 536776 h 608176"/>
                <a:gd name="connsiteX57" fmla="*/ 4462 w 796238"/>
                <a:gd name="connsiteY57" fmla="*/ 555901 h 608176"/>
                <a:gd name="connsiteX58" fmla="*/ 38250 w 796238"/>
                <a:gd name="connsiteY58" fmla="*/ 564189 h 608176"/>
                <a:gd name="connsiteX59" fmla="*/ 233325 w 796238"/>
                <a:gd name="connsiteY59" fmla="*/ 510639 h 608176"/>
                <a:gd name="connsiteX60" fmla="*/ 429676 w 796238"/>
                <a:gd name="connsiteY60" fmla="*/ 451988 h 608176"/>
                <a:gd name="connsiteX61" fmla="*/ 465376 w 796238"/>
                <a:gd name="connsiteY61" fmla="*/ 480039 h 608176"/>
                <a:gd name="connsiteX62" fmla="*/ 472388 w 796238"/>
                <a:gd name="connsiteY62" fmla="*/ 495976 h 608176"/>
                <a:gd name="connsiteX63" fmla="*/ 513826 w 796238"/>
                <a:gd name="connsiteY63" fmla="*/ 513826 h 608176"/>
                <a:gd name="connsiteX64" fmla="*/ 515101 w 796238"/>
                <a:gd name="connsiteY64" fmla="*/ 516376 h 608176"/>
                <a:gd name="connsiteX65" fmla="*/ 526576 w 796238"/>
                <a:gd name="connsiteY65" fmla="*/ 518926 h 608176"/>
                <a:gd name="connsiteX66" fmla="*/ 538051 w 796238"/>
                <a:gd name="connsiteY66" fmla="*/ 522114 h 608176"/>
                <a:gd name="connsiteX67" fmla="*/ 605626 w 796238"/>
                <a:gd name="connsiteY67" fmla="*/ 538689 h 608176"/>
                <a:gd name="connsiteX68" fmla="*/ 604351 w 796238"/>
                <a:gd name="connsiteY68" fmla="*/ 535501 h 608176"/>
                <a:gd name="connsiteX69" fmla="*/ 610088 w 796238"/>
                <a:gd name="connsiteY69" fmla="*/ 562276 h 608176"/>
                <a:gd name="connsiteX70" fmla="*/ 622838 w 796238"/>
                <a:gd name="connsiteY70" fmla="*/ 559089 h 608176"/>
                <a:gd name="connsiteX71" fmla="*/ 629851 w 796238"/>
                <a:gd name="connsiteY71" fmla="*/ 529764 h 608176"/>
                <a:gd name="connsiteX72" fmla="*/ 629851 w 796238"/>
                <a:gd name="connsiteY72" fmla="*/ 529126 h 608176"/>
                <a:gd name="connsiteX73" fmla="*/ 618376 w 796238"/>
                <a:gd name="connsiteY73" fmla="*/ 517651 h 608176"/>
                <a:gd name="connsiteX74" fmla="*/ 634951 w 796238"/>
                <a:gd name="connsiteY74" fmla="*/ 497251 h 608176"/>
                <a:gd name="connsiteX75" fmla="*/ 627301 w 796238"/>
                <a:gd name="connsiteY75" fmla="*/ 487051 h 608176"/>
                <a:gd name="connsiteX76" fmla="*/ 603076 w 796238"/>
                <a:gd name="connsiteY76" fmla="*/ 392701 h 608176"/>
                <a:gd name="connsiteX77" fmla="*/ 601801 w 796238"/>
                <a:gd name="connsiteY77" fmla="*/ 386326 h 608176"/>
                <a:gd name="connsiteX78" fmla="*/ 598613 w 796238"/>
                <a:gd name="connsiteY78" fmla="*/ 384413 h 608176"/>
                <a:gd name="connsiteX79" fmla="*/ 596701 w 796238"/>
                <a:gd name="connsiteY79" fmla="*/ 355726 h 608176"/>
                <a:gd name="connsiteX80" fmla="*/ 594789 w 796238"/>
                <a:gd name="connsiteY80" fmla="*/ 324488 h 608176"/>
                <a:gd name="connsiteX81" fmla="*/ 592876 w 796238"/>
                <a:gd name="connsiteY81" fmla="*/ 291338 h 608176"/>
                <a:gd name="connsiteX82" fmla="*/ 592876 w 796238"/>
                <a:gd name="connsiteY82" fmla="*/ 289426 h 608176"/>
                <a:gd name="connsiteX83" fmla="*/ 591601 w 796238"/>
                <a:gd name="connsiteY83" fmla="*/ 290063 h 608176"/>
                <a:gd name="connsiteX84" fmla="*/ 559088 w 796238"/>
                <a:gd name="connsiteY84" fmla="*/ 184875 h 608176"/>
                <a:gd name="connsiteX85" fmla="*/ 525301 w 796238"/>
                <a:gd name="connsiteY85" fmla="*/ 131325 h 608176"/>
                <a:gd name="connsiteX86" fmla="*/ 515101 w 796238"/>
                <a:gd name="connsiteY86" fmla="*/ 67575 h 608176"/>
                <a:gd name="connsiteX87" fmla="*/ 485776 w 796238"/>
                <a:gd name="connsiteY87" fmla="*/ 0 h 608176"/>
                <a:gd name="connsiteX88" fmla="*/ 481951 w 796238"/>
                <a:gd name="connsiteY88" fmla="*/ 1913 h 608176"/>
                <a:gd name="connsiteX89" fmla="*/ 348713 w 796238"/>
                <a:gd name="connsiteY89" fmla="*/ 49088 h 608176"/>
                <a:gd name="connsiteX90" fmla="*/ 321300 w 796238"/>
                <a:gd name="connsiteY90" fmla="*/ 78413 h 608176"/>
                <a:gd name="connsiteX91" fmla="*/ 290700 w 796238"/>
                <a:gd name="connsiteY91" fmla="*/ 135788 h 608176"/>
                <a:gd name="connsiteX92" fmla="*/ 291976 w 796238"/>
                <a:gd name="connsiteY92" fmla="*/ 148538 h 608176"/>
                <a:gd name="connsiteX93" fmla="*/ 252450 w 796238"/>
                <a:gd name="connsiteY93" fmla="*/ 208463 h 608176"/>
                <a:gd name="connsiteX94" fmla="*/ 276675 w 796238"/>
                <a:gd name="connsiteY94" fmla="*/ 216750 h 608176"/>
                <a:gd name="connsiteX95" fmla="*/ 283688 w 796238"/>
                <a:gd name="connsiteY95" fmla="*/ 262651 h 608176"/>
                <a:gd name="connsiteX96" fmla="*/ 255001 w 796238"/>
                <a:gd name="connsiteY96" fmla="*/ 299626 h 608176"/>
                <a:gd name="connsiteX97" fmla="*/ 170213 w 796238"/>
                <a:gd name="connsiteY97" fmla="*/ 351263 h 608176"/>
                <a:gd name="connsiteX98" fmla="*/ 154275 w 796238"/>
                <a:gd name="connsiteY98" fmla="*/ 344888 h 608176"/>
                <a:gd name="connsiteX99" fmla="*/ 91163 w 796238"/>
                <a:gd name="connsiteY99" fmla="*/ 354451 h 608176"/>
                <a:gd name="connsiteX100" fmla="*/ 33150 w 796238"/>
                <a:gd name="connsiteY100" fmla="*/ 389513 h 608176"/>
                <a:gd name="connsiteX101" fmla="*/ 36337 w 796238"/>
                <a:gd name="connsiteY101" fmla="*/ 408001 h 608176"/>
                <a:gd name="connsiteX102" fmla="*/ 56737 w 796238"/>
                <a:gd name="connsiteY102" fmla="*/ 425851 h 608176"/>
                <a:gd name="connsiteX103" fmla="*/ 45262 w 796238"/>
                <a:gd name="connsiteY103" fmla="*/ 481951 h 608176"/>
                <a:gd name="connsiteX104" fmla="*/ 0 w 796238"/>
                <a:gd name="connsiteY104" fmla="*/ 536776 h 608176"/>
                <a:gd name="connsiteX105" fmla="*/ 0 w 796238"/>
                <a:gd name="connsiteY105" fmla="*/ 536776 h 608176"/>
                <a:gd name="connsiteX106" fmla="*/ 0 w 796238"/>
                <a:gd name="connsiteY106" fmla="*/ 536776 h 6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96238" h="608176">
                  <a:moveTo>
                    <a:pt x="604351" y="590964"/>
                  </a:moveTo>
                  <a:lnTo>
                    <a:pt x="594151" y="604351"/>
                  </a:lnTo>
                  <a:lnTo>
                    <a:pt x="591601" y="608176"/>
                  </a:lnTo>
                  <a:lnTo>
                    <a:pt x="604351" y="590964"/>
                  </a:lnTo>
                  <a:close/>
                  <a:moveTo>
                    <a:pt x="692964" y="559089"/>
                  </a:moveTo>
                  <a:lnTo>
                    <a:pt x="725476" y="530401"/>
                  </a:lnTo>
                  <a:lnTo>
                    <a:pt x="725476" y="529126"/>
                  </a:lnTo>
                  <a:lnTo>
                    <a:pt x="692964" y="559089"/>
                  </a:lnTo>
                  <a:lnTo>
                    <a:pt x="692964" y="559089"/>
                  </a:lnTo>
                  <a:close/>
                  <a:moveTo>
                    <a:pt x="608814" y="578851"/>
                  </a:moveTo>
                  <a:lnTo>
                    <a:pt x="608814" y="557176"/>
                  </a:lnTo>
                  <a:lnTo>
                    <a:pt x="606901" y="568651"/>
                  </a:lnTo>
                  <a:lnTo>
                    <a:pt x="608814" y="578851"/>
                  </a:lnTo>
                  <a:close/>
                  <a:moveTo>
                    <a:pt x="757989" y="476214"/>
                  </a:moveTo>
                  <a:lnTo>
                    <a:pt x="750339" y="474301"/>
                  </a:lnTo>
                  <a:lnTo>
                    <a:pt x="749064" y="480039"/>
                  </a:lnTo>
                  <a:lnTo>
                    <a:pt x="757989" y="476214"/>
                  </a:lnTo>
                  <a:close/>
                  <a:moveTo>
                    <a:pt x="775201" y="465376"/>
                  </a:moveTo>
                  <a:lnTo>
                    <a:pt x="774564" y="471751"/>
                  </a:lnTo>
                  <a:lnTo>
                    <a:pt x="775839" y="467926"/>
                  </a:lnTo>
                  <a:lnTo>
                    <a:pt x="775201" y="465376"/>
                  </a:lnTo>
                  <a:lnTo>
                    <a:pt x="775201" y="465376"/>
                  </a:lnTo>
                  <a:close/>
                  <a:moveTo>
                    <a:pt x="757351" y="466013"/>
                  </a:moveTo>
                  <a:lnTo>
                    <a:pt x="714639" y="505539"/>
                  </a:lnTo>
                  <a:lnTo>
                    <a:pt x="648339" y="534226"/>
                  </a:lnTo>
                  <a:lnTo>
                    <a:pt x="631126" y="548889"/>
                  </a:lnTo>
                  <a:lnTo>
                    <a:pt x="629851" y="562914"/>
                  </a:lnTo>
                  <a:lnTo>
                    <a:pt x="612001" y="577576"/>
                  </a:lnTo>
                  <a:lnTo>
                    <a:pt x="614551" y="596701"/>
                  </a:lnTo>
                  <a:lnTo>
                    <a:pt x="642601" y="585226"/>
                  </a:lnTo>
                  <a:lnTo>
                    <a:pt x="682764" y="552076"/>
                  </a:lnTo>
                  <a:lnTo>
                    <a:pt x="728026" y="528489"/>
                  </a:lnTo>
                  <a:lnTo>
                    <a:pt x="796239" y="464101"/>
                  </a:lnTo>
                  <a:lnTo>
                    <a:pt x="747789" y="500439"/>
                  </a:lnTo>
                  <a:lnTo>
                    <a:pt x="732489" y="506814"/>
                  </a:lnTo>
                  <a:lnTo>
                    <a:pt x="757351" y="466013"/>
                  </a:lnTo>
                  <a:lnTo>
                    <a:pt x="757351" y="466013"/>
                  </a:lnTo>
                  <a:close/>
                  <a:moveTo>
                    <a:pt x="777114" y="438601"/>
                  </a:moveTo>
                  <a:lnTo>
                    <a:pt x="779664" y="434776"/>
                  </a:lnTo>
                  <a:lnTo>
                    <a:pt x="772014" y="444338"/>
                  </a:lnTo>
                  <a:lnTo>
                    <a:pt x="777114" y="438601"/>
                  </a:lnTo>
                  <a:close/>
                  <a:moveTo>
                    <a:pt x="54825" y="415013"/>
                  </a:moveTo>
                  <a:lnTo>
                    <a:pt x="44625" y="413738"/>
                  </a:lnTo>
                  <a:lnTo>
                    <a:pt x="52275" y="424576"/>
                  </a:lnTo>
                  <a:lnTo>
                    <a:pt x="54825" y="415013"/>
                  </a:lnTo>
                  <a:lnTo>
                    <a:pt x="54825" y="415013"/>
                  </a:lnTo>
                  <a:close/>
                  <a:moveTo>
                    <a:pt x="268388" y="218026"/>
                  </a:moveTo>
                  <a:lnTo>
                    <a:pt x="269663" y="211013"/>
                  </a:lnTo>
                  <a:lnTo>
                    <a:pt x="264563" y="217388"/>
                  </a:lnTo>
                  <a:lnTo>
                    <a:pt x="268388" y="218026"/>
                  </a:lnTo>
                  <a:lnTo>
                    <a:pt x="268388" y="218026"/>
                  </a:lnTo>
                  <a:close/>
                  <a:moveTo>
                    <a:pt x="271575" y="172125"/>
                  </a:moveTo>
                  <a:lnTo>
                    <a:pt x="269025" y="173400"/>
                  </a:lnTo>
                  <a:lnTo>
                    <a:pt x="265838" y="180413"/>
                  </a:lnTo>
                  <a:lnTo>
                    <a:pt x="271575" y="172125"/>
                  </a:lnTo>
                  <a:lnTo>
                    <a:pt x="271575" y="172125"/>
                  </a:lnTo>
                  <a:close/>
                  <a:moveTo>
                    <a:pt x="0" y="536776"/>
                  </a:moveTo>
                  <a:lnTo>
                    <a:pt x="4462" y="555901"/>
                  </a:lnTo>
                  <a:lnTo>
                    <a:pt x="38250" y="564189"/>
                  </a:lnTo>
                  <a:lnTo>
                    <a:pt x="233325" y="510639"/>
                  </a:lnTo>
                  <a:lnTo>
                    <a:pt x="429676" y="451988"/>
                  </a:lnTo>
                  <a:lnTo>
                    <a:pt x="465376" y="480039"/>
                  </a:lnTo>
                  <a:lnTo>
                    <a:pt x="472388" y="495976"/>
                  </a:lnTo>
                  <a:lnTo>
                    <a:pt x="513826" y="513826"/>
                  </a:lnTo>
                  <a:lnTo>
                    <a:pt x="515101" y="516376"/>
                  </a:lnTo>
                  <a:lnTo>
                    <a:pt x="526576" y="518926"/>
                  </a:lnTo>
                  <a:lnTo>
                    <a:pt x="538051" y="522114"/>
                  </a:lnTo>
                  <a:lnTo>
                    <a:pt x="605626" y="538689"/>
                  </a:lnTo>
                  <a:lnTo>
                    <a:pt x="604351" y="535501"/>
                  </a:lnTo>
                  <a:lnTo>
                    <a:pt x="610088" y="562276"/>
                  </a:lnTo>
                  <a:lnTo>
                    <a:pt x="622838" y="559089"/>
                  </a:lnTo>
                  <a:lnTo>
                    <a:pt x="629851" y="529764"/>
                  </a:lnTo>
                  <a:lnTo>
                    <a:pt x="629851" y="529126"/>
                  </a:lnTo>
                  <a:lnTo>
                    <a:pt x="618376" y="517651"/>
                  </a:lnTo>
                  <a:lnTo>
                    <a:pt x="634951" y="497251"/>
                  </a:lnTo>
                  <a:lnTo>
                    <a:pt x="627301" y="487051"/>
                  </a:lnTo>
                  <a:lnTo>
                    <a:pt x="603076" y="392701"/>
                  </a:lnTo>
                  <a:lnTo>
                    <a:pt x="601801" y="386326"/>
                  </a:lnTo>
                  <a:lnTo>
                    <a:pt x="598613" y="384413"/>
                  </a:lnTo>
                  <a:lnTo>
                    <a:pt x="596701" y="355726"/>
                  </a:lnTo>
                  <a:lnTo>
                    <a:pt x="594789" y="324488"/>
                  </a:lnTo>
                  <a:lnTo>
                    <a:pt x="592876" y="291338"/>
                  </a:lnTo>
                  <a:lnTo>
                    <a:pt x="592876" y="289426"/>
                  </a:lnTo>
                  <a:lnTo>
                    <a:pt x="591601" y="290063"/>
                  </a:lnTo>
                  <a:lnTo>
                    <a:pt x="559088" y="184875"/>
                  </a:lnTo>
                  <a:lnTo>
                    <a:pt x="525301" y="131325"/>
                  </a:lnTo>
                  <a:lnTo>
                    <a:pt x="515101" y="67575"/>
                  </a:lnTo>
                  <a:lnTo>
                    <a:pt x="485776" y="0"/>
                  </a:lnTo>
                  <a:lnTo>
                    <a:pt x="481951" y="1913"/>
                  </a:lnTo>
                  <a:lnTo>
                    <a:pt x="348713" y="49088"/>
                  </a:lnTo>
                  <a:lnTo>
                    <a:pt x="321300" y="78413"/>
                  </a:lnTo>
                  <a:lnTo>
                    <a:pt x="290700" y="135788"/>
                  </a:lnTo>
                  <a:lnTo>
                    <a:pt x="291976" y="148538"/>
                  </a:lnTo>
                  <a:lnTo>
                    <a:pt x="252450" y="208463"/>
                  </a:lnTo>
                  <a:lnTo>
                    <a:pt x="276675" y="216750"/>
                  </a:lnTo>
                  <a:lnTo>
                    <a:pt x="283688" y="262651"/>
                  </a:lnTo>
                  <a:lnTo>
                    <a:pt x="255001" y="299626"/>
                  </a:lnTo>
                  <a:lnTo>
                    <a:pt x="170213" y="351263"/>
                  </a:lnTo>
                  <a:lnTo>
                    <a:pt x="154275" y="344888"/>
                  </a:lnTo>
                  <a:lnTo>
                    <a:pt x="91163" y="354451"/>
                  </a:lnTo>
                  <a:lnTo>
                    <a:pt x="33150" y="389513"/>
                  </a:lnTo>
                  <a:lnTo>
                    <a:pt x="36337" y="408001"/>
                  </a:lnTo>
                  <a:lnTo>
                    <a:pt x="56737" y="425851"/>
                  </a:lnTo>
                  <a:lnTo>
                    <a:pt x="45262" y="481951"/>
                  </a:lnTo>
                  <a:lnTo>
                    <a:pt x="0" y="536776"/>
                  </a:lnTo>
                  <a:lnTo>
                    <a:pt x="0" y="536776"/>
                  </a:lnTo>
                  <a:lnTo>
                    <a:pt x="0" y="536776"/>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83" name="Freeform 65">
              <a:extLst>
                <a:ext uri="{FF2B5EF4-FFF2-40B4-BE49-F238E27FC236}">
                  <a16:creationId xmlns:a16="http://schemas.microsoft.com/office/drawing/2014/main" id="{B3BECA53-D8CA-EA8F-7437-78CE64BCEE0F}"/>
                </a:ext>
              </a:extLst>
            </p:cNvPr>
            <p:cNvSpPr/>
            <p:nvPr/>
          </p:nvSpPr>
          <p:spPr>
            <a:xfrm>
              <a:off x="6285318" y="1924598"/>
              <a:ext cx="601801" cy="438600"/>
            </a:xfrm>
            <a:custGeom>
              <a:avLst/>
              <a:gdLst>
                <a:gd name="connsiteX0" fmla="*/ 578214 w 601801"/>
                <a:gd name="connsiteY0" fmla="*/ 61838 h 438600"/>
                <a:gd name="connsiteX1" fmla="*/ 536776 w 601801"/>
                <a:gd name="connsiteY1" fmla="*/ 43988 h 438600"/>
                <a:gd name="connsiteX2" fmla="*/ 529763 w 601801"/>
                <a:gd name="connsiteY2" fmla="*/ 28050 h 438600"/>
                <a:gd name="connsiteX3" fmla="*/ 494064 w 601801"/>
                <a:gd name="connsiteY3" fmla="*/ 0 h 438600"/>
                <a:gd name="connsiteX4" fmla="*/ 297713 w 601801"/>
                <a:gd name="connsiteY4" fmla="*/ 58650 h 438600"/>
                <a:gd name="connsiteX5" fmla="*/ 102638 w 601801"/>
                <a:gd name="connsiteY5" fmla="*/ 112200 h 438600"/>
                <a:gd name="connsiteX6" fmla="*/ 68850 w 601801"/>
                <a:gd name="connsiteY6" fmla="*/ 103913 h 438600"/>
                <a:gd name="connsiteX7" fmla="*/ 64387 w 601801"/>
                <a:gd name="connsiteY7" fmla="*/ 84788 h 438600"/>
                <a:gd name="connsiteX8" fmla="*/ 52913 w 601801"/>
                <a:gd name="connsiteY8" fmla="*/ 93075 h 438600"/>
                <a:gd name="connsiteX9" fmla="*/ 35700 w 601801"/>
                <a:gd name="connsiteY9" fmla="*/ 105188 h 438600"/>
                <a:gd name="connsiteX10" fmla="*/ 3825 w 601801"/>
                <a:gd name="connsiteY10" fmla="*/ 137700 h 438600"/>
                <a:gd name="connsiteX11" fmla="*/ 0 w 601801"/>
                <a:gd name="connsiteY11" fmla="*/ 140888 h 438600"/>
                <a:gd name="connsiteX12" fmla="*/ 17850 w 601801"/>
                <a:gd name="connsiteY12" fmla="*/ 219938 h 438600"/>
                <a:gd name="connsiteX13" fmla="*/ 21037 w 601801"/>
                <a:gd name="connsiteY13" fmla="*/ 233963 h 438600"/>
                <a:gd name="connsiteX14" fmla="*/ 36975 w 601801"/>
                <a:gd name="connsiteY14" fmla="*/ 303450 h 438600"/>
                <a:gd name="connsiteX15" fmla="*/ 40163 w 601801"/>
                <a:gd name="connsiteY15" fmla="*/ 316838 h 438600"/>
                <a:gd name="connsiteX16" fmla="*/ 40163 w 601801"/>
                <a:gd name="connsiteY16" fmla="*/ 316838 h 438600"/>
                <a:gd name="connsiteX17" fmla="*/ 68850 w 601801"/>
                <a:gd name="connsiteY17" fmla="*/ 438601 h 438600"/>
                <a:gd name="connsiteX18" fmla="*/ 160013 w 601801"/>
                <a:gd name="connsiteY18" fmla="*/ 416288 h 438600"/>
                <a:gd name="connsiteX19" fmla="*/ 172763 w 601801"/>
                <a:gd name="connsiteY19" fmla="*/ 413101 h 438600"/>
                <a:gd name="connsiteX20" fmla="*/ 184238 w 601801"/>
                <a:gd name="connsiteY20" fmla="*/ 409913 h 438600"/>
                <a:gd name="connsiteX21" fmla="*/ 230138 w 601801"/>
                <a:gd name="connsiteY21" fmla="*/ 397801 h 438600"/>
                <a:gd name="connsiteX22" fmla="*/ 481313 w 601801"/>
                <a:gd name="connsiteY22" fmla="*/ 327676 h 438600"/>
                <a:gd name="connsiteX23" fmla="*/ 527214 w 601801"/>
                <a:gd name="connsiteY23" fmla="*/ 313651 h 438600"/>
                <a:gd name="connsiteX24" fmla="*/ 538689 w 601801"/>
                <a:gd name="connsiteY24" fmla="*/ 310463 h 438600"/>
                <a:gd name="connsiteX25" fmla="*/ 538689 w 601801"/>
                <a:gd name="connsiteY25" fmla="*/ 310463 h 438600"/>
                <a:gd name="connsiteX26" fmla="*/ 543789 w 601801"/>
                <a:gd name="connsiteY26" fmla="*/ 297713 h 438600"/>
                <a:gd name="connsiteX27" fmla="*/ 555263 w 601801"/>
                <a:gd name="connsiteY27" fmla="*/ 288150 h 438600"/>
                <a:gd name="connsiteX28" fmla="*/ 570564 w 601801"/>
                <a:gd name="connsiteY28" fmla="*/ 288150 h 438600"/>
                <a:gd name="connsiteX29" fmla="*/ 572476 w 601801"/>
                <a:gd name="connsiteY29" fmla="*/ 282413 h 438600"/>
                <a:gd name="connsiteX30" fmla="*/ 597339 w 601801"/>
                <a:gd name="connsiteY30" fmla="*/ 253725 h 438600"/>
                <a:gd name="connsiteX31" fmla="*/ 599889 w 601801"/>
                <a:gd name="connsiteY31" fmla="*/ 249263 h 438600"/>
                <a:gd name="connsiteX32" fmla="*/ 601801 w 601801"/>
                <a:gd name="connsiteY32" fmla="*/ 247988 h 438600"/>
                <a:gd name="connsiteX33" fmla="*/ 576939 w 601801"/>
                <a:gd name="connsiteY33" fmla="*/ 182325 h 438600"/>
                <a:gd name="connsiteX34" fmla="*/ 564826 w 601801"/>
                <a:gd name="connsiteY34" fmla="*/ 180413 h 438600"/>
                <a:gd name="connsiteX35" fmla="*/ 565464 w 601801"/>
                <a:gd name="connsiteY35" fmla="*/ 137700 h 438600"/>
                <a:gd name="connsiteX36" fmla="*/ 553989 w 601801"/>
                <a:gd name="connsiteY36" fmla="*/ 123675 h 438600"/>
                <a:gd name="connsiteX37" fmla="*/ 581401 w 601801"/>
                <a:gd name="connsiteY37" fmla="*/ 64387 h 438600"/>
                <a:gd name="connsiteX38" fmla="*/ 581401 w 601801"/>
                <a:gd name="connsiteY38" fmla="*/ 64387 h 438600"/>
                <a:gd name="connsiteX39" fmla="*/ 578214 w 601801"/>
                <a:gd name="connsiteY39" fmla="*/ 61838 h 438600"/>
                <a:gd name="connsiteX40" fmla="*/ 578214 w 601801"/>
                <a:gd name="connsiteY40" fmla="*/ 61838 h 4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1801" h="438600">
                  <a:moveTo>
                    <a:pt x="578214" y="61838"/>
                  </a:moveTo>
                  <a:lnTo>
                    <a:pt x="536776" y="43988"/>
                  </a:lnTo>
                  <a:lnTo>
                    <a:pt x="529763" y="28050"/>
                  </a:lnTo>
                  <a:lnTo>
                    <a:pt x="494064" y="0"/>
                  </a:lnTo>
                  <a:lnTo>
                    <a:pt x="297713" y="58650"/>
                  </a:lnTo>
                  <a:lnTo>
                    <a:pt x="102638" y="112200"/>
                  </a:lnTo>
                  <a:lnTo>
                    <a:pt x="68850" y="103913"/>
                  </a:lnTo>
                  <a:lnTo>
                    <a:pt x="64387" y="84788"/>
                  </a:lnTo>
                  <a:lnTo>
                    <a:pt x="52913" y="93075"/>
                  </a:lnTo>
                  <a:lnTo>
                    <a:pt x="35700" y="105188"/>
                  </a:lnTo>
                  <a:lnTo>
                    <a:pt x="3825" y="137700"/>
                  </a:lnTo>
                  <a:lnTo>
                    <a:pt x="0" y="140888"/>
                  </a:lnTo>
                  <a:lnTo>
                    <a:pt x="17850" y="219938"/>
                  </a:lnTo>
                  <a:lnTo>
                    <a:pt x="21037" y="233963"/>
                  </a:lnTo>
                  <a:lnTo>
                    <a:pt x="36975" y="303450"/>
                  </a:lnTo>
                  <a:lnTo>
                    <a:pt x="40163" y="316838"/>
                  </a:lnTo>
                  <a:lnTo>
                    <a:pt x="40163" y="316838"/>
                  </a:lnTo>
                  <a:lnTo>
                    <a:pt x="68850" y="438601"/>
                  </a:lnTo>
                  <a:lnTo>
                    <a:pt x="160013" y="416288"/>
                  </a:lnTo>
                  <a:lnTo>
                    <a:pt x="172763" y="413101"/>
                  </a:lnTo>
                  <a:lnTo>
                    <a:pt x="184238" y="409913"/>
                  </a:lnTo>
                  <a:lnTo>
                    <a:pt x="230138" y="397801"/>
                  </a:lnTo>
                  <a:lnTo>
                    <a:pt x="481313" y="327676"/>
                  </a:lnTo>
                  <a:lnTo>
                    <a:pt x="527214" y="313651"/>
                  </a:lnTo>
                  <a:lnTo>
                    <a:pt x="538689" y="310463"/>
                  </a:lnTo>
                  <a:lnTo>
                    <a:pt x="538689" y="310463"/>
                  </a:lnTo>
                  <a:lnTo>
                    <a:pt x="543789" y="297713"/>
                  </a:lnTo>
                  <a:lnTo>
                    <a:pt x="555263" y="288150"/>
                  </a:lnTo>
                  <a:lnTo>
                    <a:pt x="570564" y="288150"/>
                  </a:lnTo>
                  <a:lnTo>
                    <a:pt x="572476" y="282413"/>
                  </a:lnTo>
                  <a:lnTo>
                    <a:pt x="597339" y="253725"/>
                  </a:lnTo>
                  <a:lnTo>
                    <a:pt x="599889" y="249263"/>
                  </a:lnTo>
                  <a:lnTo>
                    <a:pt x="601801" y="247988"/>
                  </a:lnTo>
                  <a:lnTo>
                    <a:pt x="576939" y="182325"/>
                  </a:lnTo>
                  <a:lnTo>
                    <a:pt x="564826" y="180413"/>
                  </a:lnTo>
                  <a:lnTo>
                    <a:pt x="565464" y="137700"/>
                  </a:lnTo>
                  <a:lnTo>
                    <a:pt x="553989" y="123675"/>
                  </a:lnTo>
                  <a:lnTo>
                    <a:pt x="581401" y="64387"/>
                  </a:lnTo>
                  <a:lnTo>
                    <a:pt x="581401" y="64387"/>
                  </a:lnTo>
                  <a:lnTo>
                    <a:pt x="578214" y="61838"/>
                  </a:lnTo>
                  <a:lnTo>
                    <a:pt x="578214" y="6183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84" name="Freeform 66">
              <a:extLst>
                <a:ext uri="{FF2B5EF4-FFF2-40B4-BE49-F238E27FC236}">
                  <a16:creationId xmlns:a16="http://schemas.microsoft.com/office/drawing/2014/main" id="{5F2512BA-D1B3-F64B-F304-3E2C82125D6B}"/>
                </a:ext>
              </a:extLst>
            </p:cNvPr>
            <p:cNvSpPr/>
            <p:nvPr/>
          </p:nvSpPr>
          <p:spPr>
            <a:xfrm>
              <a:off x="7021632" y="1004683"/>
              <a:ext cx="382500" cy="640051"/>
            </a:xfrm>
            <a:custGeom>
              <a:avLst/>
              <a:gdLst>
                <a:gd name="connsiteX0" fmla="*/ 151725 w 382500"/>
                <a:gd name="connsiteY0" fmla="*/ 640051 h 640051"/>
                <a:gd name="connsiteX1" fmla="*/ 151725 w 382500"/>
                <a:gd name="connsiteY1" fmla="*/ 640051 h 640051"/>
                <a:gd name="connsiteX2" fmla="*/ 151725 w 382500"/>
                <a:gd name="connsiteY2" fmla="*/ 640051 h 640051"/>
                <a:gd name="connsiteX3" fmla="*/ 151725 w 382500"/>
                <a:gd name="connsiteY3" fmla="*/ 640051 h 640051"/>
                <a:gd name="connsiteX4" fmla="*/ 151725 w 382500"/>
                <a:gd name="connsiteY4" fmla="*/ 640051 h 640051"/>
                <a:gd name="connsiteX5" fmla="*/ 198900 w 382500"/>
                <a:gd name="connsiteY5" fmla="*/ 502988 h 640051"/>
                <a:gd name="connsiteX6" fmla="*/ 193801 w 382500"/>
                <a:gd name="connsiteY6" fmla="*/ 495339 h 640051"/>
                <a:gd name="connsiteX7" fmla="*/ 193801 w 382500"/>
                <a:gd name="connsiteY7" fmla="*/ 499164 h 640051"/>
                <a:gd name="connsiteX8" fmla="*/ 198900 w 382500"/>
                <a:gd name="connsiteY8" fmla="*/ 502988 h 640051"/>
                <a:gd name="connsiteX9" fmla="*/ 189975 w 382500"/>
                <a:gd name="connsiteY9" fmla="*/ 495976 h 640051"/>
                <a:gd name="connsiteX10" fmla="*/ 189975 w 382500"/>
                <a:gd name="connsiteY10" fmla="*/ 489601 h 640051"/>
                <a:gd name="connsiteX11" fmla="*/ 189338 w 382500"/>
                <a:gd name="connsiteY11" fmla="*/ 485776 h 640051"/>
                <a:gd name="connsiteX12" fmla="*/ 189975 w 382500"/>
                <a:gd name="connsiteY12" fmla="*/ 495976 h 640051"/>
                <a:gd name="connsiteX13" fmla="*/ 212926 w 382500"/>
                <a:gd name="connsiteY13" fmla="*/ 469201 h 640051"/>
                <a:gd name="connsiteX14" fmla="*/ 211651 w 382500"/>
                <a:gd name="connsiteY14" fmla="*/ 468563 h 640051"/>
                <a:gd name="connsiteX15" fmla="*/ 212288 w 382500"/>
                <a:gd name="connsiteY15" fmla="*/ 470476 h 640051"/>
                <a:gd name="connsiteX16" fmla="*/ 212926 w 382500"/>
                <a:gd name="connsiteY16" fmla="*/ 469201 h 640051"/>
                <a:gd name="connsiteX17" fmla="*/ 212926 w 382500"/>
                <a:gd name="connsiteY17" fmla="*/ 469201 h 640051"/>
                <a:gd name="connsiteX18" fmla="*/ 277313 w 382500"/>
                <a:gd name="connsiteY18" fmla="*/ 436688 h 640051"/>
                <a:gd name="connsiteX19" fmla="*/ 276038 w 382500"/>
                <a:gd name="connsiteY19" fmla="*/ 426488 h 640051"/>
                <a:gd name="connsiteX20" fmla="*/ 273488 w 382500"/>
                <a:gd name="connsiteY20" fmla="*/ 430951 h 640051"/>
                <a:gd name="connsiteX21" fmla="*/ 277313 w 382500"/>
                <a:gd name="connsiteY21" fmla="*/ 436688 h 640051"/>
                <a:gd name="connsiteX22" fmla="*/ 261376 w 382500"/>
                <a:gd name="connsiteY22" fmla="*/ 440513 h 640051"/>
                <a:gd name="connsiteX23" fmla="*/ 262013 w 382500"/>
                <a:gd name="connsiteY23" fmla="*/ 433501 h 640051"/>
                <a:gd name="connsiteX24" fmla="*/ 254363 w 382500"/>
                <a:gd name="connsiteY24" fmla="*/ 434776 h 640051"/>
                <a:gd name="connsiteX25" fmla="*/ 261376 w 382500"/>
                <a:gd name="connsiteY25" fmla="*/ 440513 h 640051"/>
                <a:gd name="connsiteX26" fmla="*/ 261376 w 382500"/>
                <a:gd name="connsiteY26" fmla="*/ 440513 h 640051"/>
                <a:gd name="connsiteX27" fmla="*/ 284963 w 382500"/>
                <a:gd name="connsiteY27" fmla="*/ 419476 h 640051"/>
                <a:gd name="connsiteX28" fmla="*/ 282413 w 382500"/>
                <a:gd name="connsiteY28" fmla="*/ 419476 h 640051"/>
                <a:gd name="connsiteX29" fmla="*/ 282413 w 382500"/>
                <a:gd name="connsiteY29" fmla="*/ 420751 h 640051"/>
                <a:gd name="connsiteX30" fmla="*/ 284963 w 382500"/>
                <a:gd name="connsiteY30" fmla="*/ 419476 h 640051"/>
                <a:gd name="connsiteX31" fmla="*/ 253088 w 382500"/>
                <a:gd name="connsiteY31" fmla="*/ 429676 h 640051"/>
                <a:gd name="connsiteX32" fmla="*/ 247350 w 382500"/>
                <a:gd name="connsiteY32" fmla="*/ 428401 h 640051"/>
                <a:gd name="connsiteX33" fmla="*/ 246713 w 382500"/>
                <a:gd name="connsiteY33" fmla="*/ 434138 h 640051"/>
                <a:gd name="connsiteX34" fmla="*/ 253088 w 382500"/>
                <a:gd name="connsiteY34" fmla="*/ 429676 h 640051"/>
                <a:gd name="connsiteX35" fmla="*/ 253088 w 382500"/>
                <a:gd name="connsiteY35" fmla="*/ 429676 h 640051"/>
                <a:gd name="connsiteX36" fmla="*/ 285601 w 382500"/>
                <a:gd name="connsiteY36" fmla="*/ 409276 h 640051"/>
                <a:gd name="connsiteX37" fmla="*/ 291338 w 382500"/>
                <a:gd name="connsiteY37" fmla="*/ 413738 h 640051"/>
                <a:gd name="connsiteX38" fmla="*/ 289426 w 382500"/>
                <a:gd name="connsiteY38" fmla="*/ 408638 h 640051"/>
                <a:gd name="connsiteX39" fmla="*/ 285601 w 382500"/>
                <a:gd name="connsiteY39" fmla="*/ 409276 h 640051"/>
                <a:gd name="connsiteX40" fmla="*/ 268388 w 382500"/>
                <a:gd name="connsiteY40" fmla="*/ 409913 h 640051"/>
                <a:gd name="connsiteX41" fmla="*/ 262651 w 382500"/>
                <a:gd name="connsiteY41" fmla="*/ 421388 h 640051"/>
                <a:gd name="connsiteX42" fmla="*/ 270301 w 382500"/>
                <a:gd name="connsiteY42" fmla="*/ 417563 h 640051"/>
                <a:gd name="connsiteX43" fmla="*/ 268388 w 382500"/>
                <a:gd name="connsiteY43" fmla="*/ 409913 h 640051"/>
                <a:gd name="connsiteX44" fmla="*/ 268388 w 382500"/>
                <a:gd name="connsiteY44" fmla="*/ 409913 h 640051"/>
                <a:gd name="connsiteX45" fmla="*/ 240975 w 382500"/>
                <a:gd name="connsiteY45" fmla="*/ 409913 h 640051"/>
                <a:gd name="connsiteX46" fmla="*/ 238426 w 382500"/>
                <a:gd name="connsiteY46" fmla="*/ 413738 h 640051"/>
                <a:gd name="connsiteX47" fmla="*/ 240338 w 382500"/>
                <a:gd name="connsiteY47" fmla="*/ 419476 h 640051"/>
                <a:gd name="connsiteX48" fmla="*/ 240975 w 382500"/>
                <a:gd name="connsiteY48" fmla="*/ 409913 h 640051"/>
                <a:gd name="connsiteX49" fmla="*/ 240975 w 382500"/>
                <a:gd name="connsiteY49" fmla="*/ 409913 h 640051"/>
                <a:gd name="connsiteX50" fmla="*/ 278588 w 382500"/>
                <a:gd name="connsiteY50" fmla="*/ 388876 h 640051"/>
                <a:gd name="connsiteX51" fmla="*/ 277950 w 382500"/>
                <a:gd name="connsiteY51" fmla="*/ 383776 h 640051"/>
                <a:gd name="connsiteX52" fmla="*/ 276038 w 382500"/>
                <a:gd name="connsiteY52" fmla="*/ 386963 h 640051"/>
                <a:gd name="connsiteX53" fmla="*/ 278588 w 382500"/>
                <a:gd name="connsiteY53" fmla="*/ 388876 h 640051"/>
                <a:gd name="connsiteX54" fmla="*/ 278588 w 382500"/>
                <a:gd name="connsiteY54" fmla="*/ 388876 h 640051"/>
                <a:gd name="connsiteX55" fmla="*/ 275401 w 382500"/>
                <a:gd name="connsiteY55" fmla="*/ 391426 h 640051"/>
                <a:gd name="connsiteX56" fmla="*/ 269663 w 382500"/>
                <a:gd name="connsiteY56" fmla="*/ 386326 h 640051"/>
                <a:gd name="connsiteX57" fmla="*/ 269663 w 382500"/>
                <a:gd name="connsiteY57" fmla="*/ 390788 h 640051"/>
                <a:gd name="connsiteX58" fmla="*/ 275401 w 382500"/>
                <a:gd name="connsiteY58" fmla="*/ 391426 h 640051"/>
                <a:gd name="connsiteX59" fmla="*/ 239700 w 382500"/>
                <a:gd name="connsiteY59" fmla="*/ 406726 h 640051"/>
                <a:gd name="connsiteX60" fmla="*/ 238426 w 382500"/>
                <a:gd name="connsiteY60" fmla="*/ 399713 h 640051"/>
                <a:gd name="connsiteX61" fmla="*/ 235875 w 382500"/>
                <a:gd name="connsiteY61" fmla="*/ 405451 h 640051"/>
                <a:gd name="connsiteX62" fmla="*/ 239700 w 382500"/>
                <a:gd name="connsiteY62" fmla="*/ 406726 h 640051"/>
                <a:gd name="connsiteX63" fmla="*/ 300263 w 382500"/>
                <a:gd name="connsiteY63" fmla="*/ 384413 h 640051"/>
                <a:gd name="connsiteX64" fmla="*/ 290063 w 382500"/>
                <a:gd name="connsiteY64" fmla="*/ 398438 h 640051"/>
                <a:gd name="connsiteX65" fmla="*/ 289426 w 382500"/>
                <a:gd name="connsiteY65" fmla="*/ 387601 h 640051"/>
                <a:gd name="connsiteX66" fmla="*/ 300263 w 382500"/>
                <a:gd name="connsiteY66" fmla="*/ 384413 h 640051"/>
                <a:gd name="connsiteX67" fmla="*/ 347438 w 382500"/>
                <a:gd name="connsiteY67" fmla="*/ 341063 h 640051"/>
                <a:gd name="connsiteX68" fmla="*/ 342976 w 382500"/>
                <a:gd name="connsiteY68" fmla="*/ 334688 h 640051"/>
                <a:gd name="connsiteX69" fmla="*/ 340426 w 382500"/>
                <a:gd name="connsiteY69" fmla="*/ 335963 h 640051"/>
                <a:gd name="connsiteX70" fmla="*/ 347438 w 382500"/>
                <a:gd name="connsiteY70" fmla="*/ 341063 h 640051"/>
                <a:gd name="connsiteX71" fmla="*/ 364651 w 382500"/>
                <a:gd name="connsiteY71" fmla="*/ 312376 h 640051"/>
                <a:gd name="connsiteX72" fmla="*/ 360826 w 382500"/>
                <a:gd name="connsiteY72" fmla="*/ 310463 h 640051"/>
                <a:gd name="connsiteX73" fmla="*/ 360188 w 382500"/>
                <a:gd name="connsiteY73" fmla="*/ 312376 h 640051"/>
                <a:gd name="connsiteX74" fmla="*/ 364651 w 382500"/>
                <a:gd name="connsiteY74" fmla="*/ 312376 h 640051"/>
                <a:gd name="connsiteX75" fmla="*/ 364651 w 382500"/>
                <a:gd name="connsiteY75" fmla="*/ 312376 h 640051"/>
                <a:gd name="connsiteX76" fmla="*/ 372938 w 382500"/>
                <a:gd name="connsiteY76" fmla="*/ 262013 h 640051"/>
                <a:gd name="connsiteX77" fmla="*/ 367201 w 382500"/>
                <a:gd name="connsiteY77" fmla="*/ 262013 h 640051"/>
                <a:gd name="connsiteX78" fmla="*/ 373576 w 382500"/>
                <a:gd name="connsiteY78" fmla="*/ 263926 h 640051"/>
                <a:gd name="connsiteX79" fmla="*/ 372938 w 382500"/>
                <a:gd name="connsiteY79" fmla="*/ 262013 h 640051"/>
                <a:gd name="connsiteX80" fmla="*/ 372938 w 382500"/>
                <a:gd name="connsiteY80" fmla="*/ 262013 h 640051"/>
                <a:gd name="connsiteX81" fmla="*/ 382501 w 382500"/>
                <a:gd name="connsiteY81" fmla="*/ 268388 h 640051"/>
                <a:gd name="connsiteX82" fmla="*/ 380588 w 382500"/>
                <a:gd name="connsiteY82" fmla="*/ 256913 h 640051"/>
                <a:gd name="connsiteX83" fmla="*/ 375488 w 382500"/>
                <a:gd name="connsiteY83" fmla="*/ 256276 h 640051"/>
                <a:gd name="connsiteX84" fmla="*/ 382501 w 382500"/>
                <a:gd name="connsiteY84" fmla="*/ 268388 h 640051"/>
                <a:gd name="connsiteX85" fmla="*/ 372301 w 382500"/>
                <a:gd name="connsiteY85" fmla="*/ 258188 h 640051"/>
                <a:gd name="connsiteX86" fmla="*/ 371026 w 382500"/>
                <a:gd name="connsiteY86" fmla="*/ 246076 h 640051"/>
                <a:gd name="connsiteX87" fmla="*/ 366563 w 382500"/>
                <a:gd name="connsiteY87" fmla="*/ 254363 h 640051"/>
                <a:gd name="connsiteX88" fmla="*/ 372301 w 382500"/>
                <a:gd name="connsiteY88" fmla="*/ 258188 h 640051"/>
                <a:gd name="connsiteX89" fmla="*/ 372301 w 382500"/>
                <a:gd name="connsiteY89" fmla="*/ 258188 h 640051"/>
                <a:gd name="connsiteX90" fmla="*/ 0 w 382500"/>
                <a:gd name="connsiteY90" fmla="*/ 359551 h 640051"/>
                <a:gd name="connsiteX91" fmla="*/ 93075 w 382500"/>
                <a:gd name="connsiteY91" fmla="*/ 578214 h 640051"/>
                <a:gd name="connsiteX92" fmla="*/ 94350 w 382500"/>
                <a:gd name="connsiteY92" fmla="*/ 582676 h 640051"/>
                <a:gd name="connsiteX93" fmla="*/ 134513 w 382500"/>
                <a:gd name="connsiteY93" fmla="*/ 632401 h 640051"/>
                <a:gd name="connsiteX94" fmla="*/ 134513 w 382500"/>
                <a:gd name="connsiteY94" fmla="*/ 631126 h 640051"/>
                <a:gd name="connsiteX95" fmla="*/ 140888 w 382500"/>
                <a:gd name="connsiteY95" fmla="*/ 629214 h 640051"/>
                <a:gd name="connsiteX96" fmla="*/ 142163 w 382500"/>
                <a:gd name="connsiteY96" fmla="*/ 592876 h 640051"/>
                <a:gd name="connsiteX97" fmla="*/ 153000 w 382500"/>
                <a:gd name="connsiteY97" fmla="*/ 580126 h 640051"/>
                <a:gd name="connsiteX98" fmla="*/ 159375 w 382500"/>
                <a:gd name="connsiteY98" fmla="*/ 546339 h 640051"/>
                <a:gd name="connsiteX99" fmla="*/ 153638 w 382500"/>
                <a:gd name="connsiteY99" fmla="*/ 540601 h 640051"/>
                <a:gd name="connsiteX100" fmla="*/ 165113 w 382500"/>
                <a:gd name="connsiteY100" fmla="*/ 507451 h 640051"/>
                <a:gd name="connsiteX101" fmla="*/ 202088 w 382500"/>
                <a:gd name="connsiteY101" fmla="*/ 490238 h 640051"/>
                <a:gd name="connsiteX102" fmla="*/ 226313 w 382500"/>
                <a:gd name="connsiteY102" fmla="*/ 460276 h 640051"/>
                <a:gd name="connsiteX103" fmla="*/ 235875 w 382500"/>
                <a:gd name="connsiteY103" fmla="*/ 408638 h 640051"/>
                <a:gd name="connsiteX104" fmla="*/ 274763 w 382500"/>
                <a:gd name="connsiteY104" fmla="*/ 406088 h 640051"/>
                <a:gd name="connsiteX105" fmla="*/ 269663 w 382500"/>
                <a:gd name="connsiteY105" fmla="*/ 379313 h 640051"/>
                <a:gd name="connsiteX106" fmla="*/ 318751 w 382500"/>
                <a:gd name="connsiteY106" fmla="*/ 360826 h 640051"/>
                <a:gd name="connsiteX107" fmla="*/ 321938 w 382500"/>
                <a:gd name="connsiteY107" fmla="*/ 331501 h 640051"/>
                <a:gd name="connsiteX108" fmla="*/ 333413 w 382500"/>
                <a:gd name="connsiteY108" fmla="*/ 334051 h 640051"/>
                <a:gd name="connsiteX109" fmla="*/ 365926 w 382500"/>
                <a:gd name="connsiteY109" fmla="*/ 307276 h 640051"/>
                <a:gd name="connsiteX110" fmla="*/ 379951 w 382500"/>
                <a:gd name="connsiteY110" fmla="*/ 273488 h 640051"/>
                <a:gd name="connsiteX111" fmla="*/ 346801 w 382500"/>
                <a:gd name="connsiteY111" fmla="*/ 240338 h 640051"/>
                <a:gd name="connsiteX112" fmla="*/ 312376 w 382500"/>
                <a:gd name="connsiteY112" fmla="*/ 233326 h 640051"/>
                <a:gd name="connsiteX113" fmla="*/ 299626 w 382500"/>
                <a:gd name="connsiteY113" fmla="*/ 206550 h 640051"/>
                <a:gd name="connsiteX114" fmla="*/ 299626 w 382500"/>
                <a:gd name="connsiteY114" fmla="*/ 191250 h 640051"/>
                <a:gd name="connsiteX115" fmla="*/ 278588 w 382500"/>
                <a:gd name="connsiteY115" fmla="*/ 197625 h 640051"/>
                <a:gd name="connsiteX116" fmla="*/ 255001 w 382500"/>
                <a:gd name="connsiteY116" fmla="*/ 189338 h 640051"/>
                <a:gd name="connsiteX117" fmla="*/ 255001 w 382500"/>
                <a:gd name="connsiteY117" fmla="*/ 163200 h 640051"/>
                <a:gd name="connsiteX118" fmla="*/ 190613 w 382500"/>
                <a:gd name="connsiteY118" fmla="*/ 24225 h 640051"/>
                <a:gd name="connsiteX119" fmla="*/ 143438 w 382500"/>
                <a:gd name="connsiteY119" fmla="*/ 0 h 640051"/>
                <a:gd name="connsiteX120" fmla="*/ 91163 w 382500"/>
                <a:gd name="connsiteY120" fmla="*/ 43988 h 640051"/>
                <a:gd name="connsiteX121" fmla="*/ 77138 w 382500"/>
                <a:gd name="connsiteY121" fmla="*/ 41438 h 640051"/>
                <a:gd name="connsiteX122" fmla="*/ 65025 w 382500"/>
                <a:gd name="connsiteY122" fmla="*/ 19125 h 640051"/>
                <a:gd name="connsiteX123" fmla="*/ 48450 w 382500"/>
                <a:gd name="connsiteY123" fmla="*/ 25500 h 640051"/>
                <a:gd name="connsiteX124" fmla="*/ 24863 w 382500"/>
                <a:gd name="connsiteY124" fmla="*/ 144075 h 640051"/>
                <a:gd name="connsiteX125" fmla="*/ 33150 w 382500"/>
                <a:gd name="connsiteY125" fmla="*/ 182325 h 640051"/>
                <a:gd name="connsiteX126" fmla="*/ 40163 w 382500"/>
                <a:gd name="connsiteY126" fmla="*/ 260101 h 640051"/>
                <a:gd name="connsiteX127" fmla="*/ 21675 w 382500"/>
                <a:gd name="connsiteY127" fmla="*/ 320026 h 640051"/>
                <a:gd name="connsiteX128" fmla="*/ 34425 w 382500"/>
                <a:gd name="connsiteY128" fmla="*/ 330226 h 640051"/>
                <a:gd name="connsiteX129" fmla="*/ 19125 w 382500"/>
                <a:gd name="connsiteY129" fmla="*/ 360188 h 640051"/>
                <a:gd name="connsiteX130" fmla="*/ 2550 w 382500"/>
                <a:gd name="connsiteY130" fmla="*/ 357638 h 640051"/>
                <a:gd name="connsiteX131" fmla="*/ 0 w 382500"/>
                <a:gd name="connsiteY131" fmla="*/ 359551 h 640051"/>
                <a:gd name="connsiteX132" fmla="*/ 0 w 382500"/>
                <a:gd name="connsiteY132" fmla="*/ 359551 h 64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82500" h="640051">
                  <a:moveTo>
                    <a:pt x="151725" y="640051"/>
                  </a:moveTo>
                  <a:lnTo>
                    <a:pt x="151725" y="640051"/>
                  </a:lnTo>
                  <a:lnTo>
                    <a:pt x="151725" y="640051"/>
                  </a:lnTo>
                  <a:lnTo>
                    <a:pt x="151725" y="640051"/>
                  </a:lnTo>
                  <a:lnTo>
                    <a:pt x="151725" y="640051"/>
                  </a:lnTo>
                  <a:close/>
                  <a:moveTo>
                    <a:pt x="198900" y="502988"/>
                  </a:moveTo>
                  <a:lnTo>
                    <a:pt x="193801" y="495339"/>
                  </a:lnTo>
                  <a:lnTo>
                    <a:pt x="193801" y="499164"/>
                  </a:lnTo>
                  <a:lnTo>
                    <a:pt x="198900" y="502988"/>
                  </a:lnTo>
                  <a:close/>
                  <a:moveTo>
                    <a:pt x="189975" y="495976"/>
                  </a:moveTo>
                  <a:lnTo>
                    <a:pt x="189975" y="489601"/>
                  </a:lnTo>
                  <a:lnTo>
                    <a:pt x="189338" y="485776"/>
                  </a:lnTo>
                  <a:lnTo>
                    <a:pt x="189975" y="495976"/>
                  </a:lnTo>
                  <a:close/>
                  <a:moveTo>
                    <a:pt x="212926" y="469201"/>
                  </a:moveTo>
                  <a:lnTo>
                    <a:pt x="211651" y="468563"/>
                  </a:lnTo>
                  <a:lnTo>
                    <a:pt x="212288" y="470476"/>
                  </a:lnTo>
                  <a:lnTo>
                    <a:pt x="212926" y="469201"/>
                  </a:lnTo>
                  <a:lnTo>
                    <a:pt x="212926" y="469201"/>
                  </a:lnTo>
                  <a:close/>
                  <a:moveTo>
                    <a:pt x="277313" y="436688"/>
                  </a:moveTo>
                  <a:lnTo>
                    <a:pt x="276038" y="426488"/>
                  </a:lnTo>
                  <a:lnTo>
                    <a:pt x="273488" y="430951"/>
                  </a:lnTo>
                  <a:lnTo>
                    <a:pt x="277313" y="436688"/>
                  </a:lnTo>
                  <a:close/>
                  <a:moveTo>
                    <a:pt x="261376" y="440513"/>
                  </a:moveTo>
                  <a:lnTo>
                    <a:pt x="262013" y="433501"/>
                  </a:lnTo>
                  <a:lnTo>
                    <a:pt x="254363" y="434776"/>
                  </a:lnTo>
                  <a:lnTo>
                    <a:pt x="261376" y="440513"/>
                  </a:lnTo>
                  <a:lnTo>
                    <a:pt x="261376" y="440513"/>
                  </a:lnTo>
                  <a:close/>
                  <a:moveTo>
                    <a:pt x="284963" y="419476"/>
                  </a:moveTo>
                  <a:lnTo>
                    <a:pt x="282413" y="419476"/>
                  </a:lnTo>
                  <a:lnTo>
                    <a:pt x="282413" y="420751"/>
                  </a:lnTo>
                  <a:lnTo>
                    <a:pt x="284963" y="419476"/>
                  </a:lnTo>
                  <a:close/>
                  <a:moveTo>
                    <a:pt x="253088" y="429676"/>
                  </a:moveTo>
                  <a:lnTo>
                    <a:pt x="247350" y="428401"/>
                  </a:lnTo>
                  <a:lnTo>
                    <a:pt x="246713" y="434138"/>
                  </a:lnTo>
                  <a:lnTo>
                    <a:pt x="253088" y="429676"/>
                  </a:lnTo>
                  <a:lnTo>
                    <a:pt x="253088" y="429676"/>
                  </a:lnTo>
                  <a:close/>
                  <a:moveTo>
                    <a:pt x="285601" y="409276"/>
                  </a:moveTo>
                  <a:lnTo>
                    <a:pt x="291338" y="413738"/>
                  </a:lnTo>
                  <a:lnTo>
                    <a:pt x="289426" y="408638"/>
                  </a:lnTo>
                  <a:lnTo>
                    <a:pt x="285601" y="409276"/>
                  </a:lnTo>
                  <a:close/>
                  <a:moveTo>
                    <a:pt x="268388" y="409913"/>
                  </a:moveTo>
                  <a:lnTo>
                    <a:pt x="262651" y="421388"/>
                  </a:lnTo>
                  <a:lnTo>
                    <a:pt x="270301" y="417563"/>
                  </a:lnTo>
                  <a:lnTo>
                    <a:pt x="268388" y="409913"/>
                  </a:lnTo>
                  <a:lnTo>
                    <a:pt x="268388" y="409913"/>
                  </a:lnTo>
                  <a:close/>
                  <a:moveTo>
                    <a:pt x="240975" y="409913"/>
                  </a:moveTo>
                  <a:lnTo>
                    <a:pt x="238426" y="413738"/>
                  </a:lnTo>
                  <a:lnTo>
                    <a:pt x="240338" y="419476"/>
                  </a:lnTo>
                  <a:lnTo>
                    <a:pt x="240975" y="409913"/>
                  </a:lnTo>
                  <a:lnTo>
                    <a:pt x="240975" y="409913"/>
                  </a:lnTo>
                  <a:close/>
                  <a:moveTo>
                    <a:pt x="278588" y="388876"/>
                  </a:moveTo>
                  <a:lnTo>
                    <a:pt x="277950" y="383776"/>
                  </a:lnTo>
                  <a:lnTo>
                    <a:pt x="276038" y="386963"/>
                  </a:lnTo>
                  <a:lnTo>
                    <a:pt x="278588" y="388876"/>
                  </a:lnTo>
                  <a:lnTo>
                    <a:pt x="278588" y="388876"/>
                  </a:lnTo>
                  <a:close/>
                  <a:moveTo>
                    <a:pt x="275401" y="391426"/>
                  </a:moveTo>
                  <a:lnTo>
                    <a:pt x="269663" y="386326"/>
                  </a:lnTo>
                  <a:lnTo>
                    <a:pt x="269663" y="390788"/>
                  </a:lnTo>
                  <a:lnTo>
                    <a:pt x="275401" y="391426"/>
                  </a:lnTo>
                  <a:close/>
                  <a:moveTo>
                    <a:pt x="239700" y="406726"/>
                  </a:moveTo>
                  <a:lnTo>
                    <a:pt x="238426" y="399713"/>
                  </a:lnTo>
                  <a:lnTo>
                    <a:pt x="235875" y="405451"/>
                  </a:lnTo>
                  <a:lnTo>
                    <a:pt x="239700" y="406726"/>
                  </a:lnTo>
                  <a:close/>
                  <a:moveTo>
                    <a:pt x="300263" y="384413"/>
                  </a:moveTo>
                  <a:lnTo>
                    <a:pt x="290063" y="398438"/>
                  </a:lnTo>
                  <a:lnTo>
                    <a:pt x="289426" y="387601"/>
                  </a:lnTo>
                  <a:lnTo>
                    <a:pt x="300263" y="384413"/>
                  </a:lnTo>
                  <a:close/>
                  <a:moveTo>
                    <a:pt x="347438" y="341063"/>
                  </a:moveTo>
                  <a:lnTo>
                    <a:pt x="342976" y="334688"/>
                  </a:lnTo>
                  <a:lnTo>
                    <a:pt x="340426" y="335963"/>
                  </a:lnTo>
                  <a:lnTo>
                    <a:pt x="347438" y="341063"/>
                  </a:lnTo>
                  <a:close/>
                  <a:moveTo>
                    <a:pt x="364651" y="312376"/>
                  </a:moveTo>
                  <a:lnTo>
                    <a:pt x="360826" y="310463"/>
                  </a:lnTo>
                  <a:lnTo>
                    <a:pt x="360188" y="312376"/>
                  </a:lnTo>
                  <a:lnTo>
                    <a:pt x="364651" y="312376"/>
                  </a:lnTo>
                  <a:lnTo>
                    <a:pt x="364651" y="312376"/>
                  </a:lnTo>
                  <a:close/>
                  <a:moveTo>
                    <a:pt x="372938" y="262013"/>
                  </a:moveTo>
                  <a:lnTo>
                    <a:pt x="367201" y="262013"/>
                  </a:lnTo>
                  <a:lnTo>
                    <a:pt x="373576" y="263926"/>
                  </a:lnTo>
                  <a:lnTo>
                    <a:pt x="372938" y="262013"/>
                  </a:lnTo>
                  <a:lnTo>
                    <a:pt x="372938" y="262013"/>
                  </a:lnTo>
                  <a:close/>
                  <a:moveTo>
                    <a:pt x="382501" y="268388"/>
                  </a:moveTo>
                  <a:lnTo>
                    <a:pt x="380588" y="256913"/>
                  </a:lnTo>
                  <a:lnTo>
                    <a:pt x="375488" y="256276"/>
                  </a:lnTo>
                  <a:cubicBezTo>
                    <a:pt x="376126" y="256913"/>
                    <a:pt x="382501" y="268388"/>
                    <a:pt x="382501" y="268388"/>
                  </a:cubicBezTo>
                  <a:close/>
                  <a:moveTo>
                    <a:pt x="372301" y="258188"/>
                  </a:moveTo>
                  <a:lnTo>
                    <a:pt x="371026" y="246076"/>
                  </a:lnTo>
                  <a:lnTo>
                    <a:pt x="366563" y="254363"/>
                  </a:lnTo>
                  <a:lnTo>
                    <a:pt x="372301" y="258188"/>
                  </a:lnTo>
                  <a:lnTo>
                    <a:pt x="372301" y="258188"/>
                  </a:lnTo>
                  <a:close/>
                  <a:moveTo>
                    <a:pt x="0" y="359551"/>
                  </a:moveTo>
                  <a:lnTo>
                    <a:pt x="93075" y="578214"/>
                  </a:lnTo>
                  <a:lnTo>
                    <a:pt x="94350" y="582676"/>
                  </a:lnTo>
                  <a:lnTo>
                    <a:pt x="134513" y="632401"/>
                  </a:lnTo>
                  <a:lnTo>
                    <a:pt x="134513" y="631126"/>
                  </a:lnTo>
                  <a:lnTo>
                    <a:pt x="140888" y="629214"/>
                  </a:lnTo>
                  <a:lnTo>
                    <a:pt x="142163" y="592876"/>
                  </a:lnTo>
                  <a:lnTo>
                    <a:pt x="153000" y="580126"/>
                  </a:lnTo>
                  <a:lnTo>
                    <a:pt x="159375" y="546339"/>
                  </a:lnTo>
                  <a:lnTo>
                    <a:pt x="153638" y="540601"/>
                  </a:lnTo>
                  <a:lnTo>
                    <a:pt x="165113" y="507451"/>
                  </a:lnTo>
                  <a:lnTo>
                    <a:pt x="202088" y="490238"/>
                  </a:lnTo>
                  <a:lnTo>
                    <a:pt x="226313" y="460276"/>
                  </a:lnTo>
                  <a:lnTo>
                    <a:pt x="235875" y="408638"/>
                  </a:lnTo>
                  <a:lnTo>
                    <a:pt x="274763" y="406088"/>
                  </a:lnTo>
                  <a:lnTo>
                    <a:pt x="269663" y="379313"/>
                  </a:lnTo>
                  <a:lnTo>
                    <a:pt x="318751" y="360826"/>
                  </a:lnTo>
                  <a:lnTo>
                    <a:pt x="321938" y="331501"/>
                  </a:lnTo>
                  <a:lnTo>
                    <a:pt x="333413" y="334051"/>
                  </a:lnTo>
                  <a:lnTo>
                    <a:pt x="365926" y="307276"/>
                  </a:lnTo>
                  <a:lnTo>
                    <a:pt x="379951" y="273488"/>
                  </a:lnTo>
                  <a:lnTo>
                    <a:pt x="346801" y="240338"/>
                  </a:lnTo>
                  <a:lnTo>
                    <a:pt x="312376" y="233326"/>
                  </a:lnTo>
                  <a:lnTo>
                    <a:pt x="299626" y="206550"/>
                  </a:lnTo>
                  <a:lnTo>
                    <a:pt x="299626" y="191250"/>
                  </a:lnTo>
                  <a:lnTo>
                    <a:pt x="278588" y="197625"/>
                  </a:lnTo>
                  <a:lnTo>
                    <a:pt x="255001" y="189338"/>
                  </a:lnTo>
                  <a:lnTo>
                    <a:pt x="255001" y="163200"/>
                  </a:lnTo>
                  <a:lnTo>
                    <a:pt x="190613" y="24225"/>
                  </a:lnTo>
                  <a:lnTo>
                    <a:pt x="143438" y="0"/>
                  </a:lnTo>
                  <a:lnTo>
                    <a:pt x="91163" y="43988"/>
                  </a:lnTo>
                  <a:lnTo>
                    <a:pt x="77138" y="41438"/>
                  </a:lnTo>
                  <a:lnTo>
                    <a:pt x="65025" y="19125"/>
                  </a:lnTo>
                  <a:lnTo>
                    <a:pt x="48450" y="25500"/>
                  </a:lnTo>
                  <a:lnTo>
                    <a:pt x="24863" y="144075"/>
                  </a:lnTo>
                  <a:lnTo>
                    <a:pt x="33150" y="182325"/>
                  </a:lnTo>
                  <a:lnTo>
                    <a:pt x="40163" y="260101"/>
                  </a:lnTo>
                  <a:lnTo>
                    <a:pt x="21675" y="320026"/>
                  </a:lnTo>
                  <a:lnTo>
                    <a:pt x="34425" y="330226"/>
                  </a:lnTo>
                  <a:lnTo>
                    <a:pt x="19125" y="360188"/>
                  </a:lnTo>
                  <a:lnTo>
                    <a:pt x="2550" y="357638"/>
                  </a:lnTo>
                  <a:lnTo>
                    <a:pt x="0" y="359551"/>
                  </a:lnTo>
                  <a:lnTo>
                    <a:pt x="0" y="359551"/>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85" name="Freeform 67">
              <a:extLst>
                <a:ext uri="{FF2B5EF4-FFF2-40B4-BE49-F238E27FC236}">
                  <a16:creationId xmlns:a16="http://schemas.microsoft.com/office/drawing/2014/main" id="{CC11CD5B-EFB3-D559-B568-B0A68BAE10E3}"/>
                </a:ext>
              </a:extLst>
            </p:cNvPr>
            <p:cNvSpPr/>
            <p:nvPr/>
          </p:nvSpPr>
          <p:spPr>
            <a:xfrm>
              <a:off x="5238281" y="1400423"/>
              <a:ext cx="829389" cy="830664"/>
            </a:xfrm>
            <a:custGeom>
              <a:avLst/>
              <a:gdLst>
                <a:gd name="connsiteX0" fmla="*/ 429038 w 829389"/>
                <a:gd name="connsiteY0" fmla="*/ 385051 h 830664"/>
                <a:gd name="connsiteX1" fmla="*/ 425851 w 829389"/>
                <a:gd name="connsiteY1" fmla="*/ 379951 h 830664"/>
                <a:gd name="connsiteX2" fmla="*/ 425213 w 829389"/>
                <a:gd name="connsiteY2" fmla="*/ 386326 h 830664"/>
                <a:gd name="connsiteX3" fmla="*/ 429038 w 829389"/>
                <a:gd name="connsiteY3" fmla="*/ 385051 h 830664"/>
                <a:gd name="connsiteX4" fmla="*/ 439239 w 829389"/>
                <a:gd name="connsiteY4" fmla="*/ 374213 h 830664"/>
                <a:gd name="connsiteX5" fmla="*/ 431588 w 829389"/>
                <a:gd name="connsiteY5" fmla="*/ 363376 h 830664"/>
                <a:gd name="connsiteX6" fmla="*/ 430313 w 829389"/>
                <a:gd name="connsiteY6" fmla="*/ 367838 h 830664"/>
                <a:gd name="connsiteX7" fmla="*/ 439239 w 829389"/>
                <a:gd name="connsiteY7" fmla="*/ 374213 h 830664"/>
                <a:gd name="connsiteX8" fmla="*/ 445614 w 829389"/>
                <a:gd name="connsiteY8" fmla="*/ 327676 h 830664"/>
                <a:gd name="connsiteX9" fmla="*/ 439239 w 829389"/>
                <a:gd name="connsiteY9" fmla="*/ 321938 h 830664"/>
                <a:gd name="connsiteX10" fmla="*/ 439239 w 829389"/>
                <a:gd name="connsiteY10" fmla="*/ 323213 h 830664"/>
                <a:gd name="connsiteX11" fmla="*/ 445614 w 829389"/>
                <a:gd name="connsiteY11" fmla="*/ 327676 h 830664"/>
                <a:gd name="connsiteX12" fmla="*/ 429676 w 829389"/>
                <a:gd name="connsiteY12" fmla="*/ 830664 h 830664"/>
                <a:gd name="connsiteX13" fmla="*/ 509364 w 829389"/>
                <a:gd name="connsiteY13" fmla="*/ 817914 h 830664"/>
                <a:gd name="connsiteX14" fmla="*/ 531676 w 829389"/>
                <a:gd name="connsiteY14" fmla="*/ 813452 h 830664"/>
                <a:gd name="connsiteX15" fmla="*/ 630489 w 829389"/>
                <a:gd name="connsiteY15" fmla="*/ 796239 h 830664"/>
                <a:gd name="connsiteX16" fmla="*/ 632401 w 829389"/>
                <a:gd name="connsiteY16" fmla="*/ 804527 h 830664"/>
                <a:gd name="connsiteX17" fmla="*/ 638776 w 829389"/>
                <a:gd name="connsiteY17" fmla="*/ 802614 h 830664"/>
                <a:gd name="connsiteX18" fmla="*/ 680851 w 829389"/>
                <a:gd name="connsiteY18" fmla="*/ 793052 h 830664"/>
                <a:gd name="connsiteX19" fmla="*/ 721014 w 829389"/>
                <a:gd name="connsiteY19" fmla="*/ 782852 h 830664"/>
                <a:gd name="connsiteX20" fmla="*/ 761814 w 829389"/>
                <a:gd name="connsiteY20" fmla="*/ 772014 h 830664"/>
                <a:gd name="connsiteX21" fmla="*/ 761177 w 829389"/>
                <a:gd name="connsiteY21" fmla="*/ 770102 h 830664"/>
                <a:gd name="connsiteX22" fmla="*/ 782214 w 829389"/>
                <a:gd name="connsiteY22" fmla="*/ 728664 h 830664"/>
                <a:gd name="connsiteX23" fmla="*/ 780302 w 829389"/>
                <a:gd name="connsiteY23" fmla="*/ 694239 h 830664"/>
                <a:gd name="connsiteX24" fmla="*/ 803889 w 829389"/>
                <a:gd name="connsiteY24" fmla="*/ 634951 h 830664"/>
                <a:gd name="connsiteX25" fmla="*/ 822377 w 829389"/>
                <a:gd name="connsiteY25" fmla="*/ 646426 h 830664"/>
                <a:gd name="connsiteX26" fmla="*/ 829389 w 829389"/>
                <a:gd name="connsiteY26" fmla="*/ 633039 h 830664"/>
                <a:gd name="connsiteX27" fmla="*/ 827477 w 829389"/>
                <a:gd name="connsiteY27" fmla="*/ 581401 h 830664"/>
                <a:gd name="connsiteX28" fmla="*/ 810264 w 829389"/>
                <a:gd name="connsiteY28" fmla="*/ 548889 h 830664"/>
                <a:gd name="connsiteX29" fmla="*/ 784764 w 829389"/>
                <a:gd name="connsiteY29" fmla="*/ 480676 h 830664"/>
                <a:gd name="connsiteX30" fmla="*/ 762451 w 829389"/>
                <a:gd name="connsiteY30" fmla="*/ 455813 h 830664"/>
                <a:gd name="connsiteX31" fmla="*/ 750976 w 829389"/>
                <a:gd name="connsiteY31" fmla="*/ 452626 h 830664"/>
                <a:gd name="connsiteX32" fmla="*/ 709539 w 829389"/>
                <a:gd name="connsiteY32" fmla="*/ 481951 h 830664"/>
                <a:gd name="connsiteX33" fmla="*/ 714001 w 829389"/>
                <a:gd name="connsiteY33" fmla="*/ 487688 h 830664"/>
                <a:gd name="connsiteX34" fmla="*/ 692326 w 829389"/>
                <a:gd name="connsiteY34" fmla="*/ 528489 h 830664"/>
                <a:gd name="connsiteX35" fmla="*/ 671289 w 829389"/>
                <a:gd name="connsiteY35" fmla="*/ 524664 h 830664"/>
                <a:gd name="connsiteX36" fmla="*/ 664914 w 829389"/>
                <a:gd name="connsiteY36" fmla="*/ 481951 h 830664"/>
                <a:gd name="connsiteX37" fmla="*/ 674476 w 829389"/>
                <a:gd name="connsiteY37" fmla="*/ 478764 h 830664"/>
                <a:gd name="connsiteX38" fmla="*/ 692964 w 829389"/>
                <a:gd name="connsiteY38" fmla="*/ 436051 h 830664"/>
                <a:gd name="connsiteX39" fmla="*/ 694876 w 829389"/>
                <a:gd name="connsiteY39" fmla="*/ 360188 h 830664"/>
                <a:gd name="connsiteX40" fmla="*/ 665552 w 829389"/>
                <a:gd name="connsiteY40" fmla="*/ 295801 h 830664"/>
                <a:gd name="connsiteX41" fmla="*/ 600526 w 829389"/>
                <a:gd name="connsiteY41" fmla="*/ 284963 h 830664"/>
                <a:gd name="connsiteX42" fmla="*/ 594151 w 829389"/>
                <a:gd name="connsiteY42" fmla="*/ 274763 h 830664"/>
                <a:gd name="connsiteX43" fmla="*/ 534864 w 829389"/>
                <a:gd name="connsiteY43" fmla="*/ 257550 h 830664"/>
                <a:gd name="connsiteX44" fmla="*/ 507451 w 829389"/>
                <a:gd name="connsiteY44" fmla="*/ 290701 h 830664"/>
                <a:gd name="connsiteX45" fmla="*/ 510001 w 829389"/>
                <a:gd name="connsiteY45" fmla="*/ 320026 h 830664"/>
                <a:gd name="connsiteX46" fmla="*/ 489601 w 829389"/>
                <a:gd name="connsiteY46" fmla="*/ 345526 h 830664"/>
                <a:gd name="connsiteX47" fmla="*/ 494064 w 829389"/>
                <a:gd name="connsiteY47" fmla="*/ 385051 h 830664"/>
                <a:gd name="connsiteX48" fmla="*/ 474301 w 829389"/>
                <a:gd name="connsiteY48" fmla="*/ 399076 h 830664"/>
                <a:gd name="connsiteX49" fmla="*/ 474301 w 829389"/>
                <a:gd name="connsiteY49" fmla="*/ 348713 h 830664"/>
                <a:gd name="connsiteX50" fmla="*/ 456451 w 829389"/>
                <a:gd name="connsiteY50" fmla="*/ 386326 h 830664"/>
                <a:gd name="connsiteX51" fmla="*/ 435413 w 829389"/>
                <a:gd name="connsiteY51" fmla="*/ 419476 h 830664"/>
                <a:gd name="connsiteX52" fmla="*/ 421388 w 829389"/>
                <a:gd name="connsiteY52" fmla="*/ 430951 h 830664"/>
                <a:gd name="connsiteX53" fmla="*/ 428401 w 829389"/>
                <a:gd name="connsiteY53" fmla="*/ 466013 h 830664"/>
                <a:gd name="connsiteX54" fmla="*/ 418838 w 829389"/>
                <a:gd name="connsiteY54" fmla="*/ 502351 h 830664"/>
                <a:gd name="connsiteX55" fmla="*/ 423938 w 829389"/>
                <a:gd name="connsiteY55" fmla="*/ 548251 h 830664"/>
                <a:gd name="connsiteX56" fmla="*/ 417563 w 829389"/>
                <a:gd name="connsiteY56" fmla="*/ 570564 h 830664"/>
                <a:gd name="connsiteX57" fmla="*/ 464101 w 829389"/>
                <a:gd name="connsiteY57" fmla="*/ 659176 h 830664"/>
                <a:gd name="connsiteX58" fmla="*/ 469839 w 829389"/>
                <a:gd name="connsiteY58" fmla="*/ 692964 h 830664"/>
                <a:gd name="connsiteX59" fmla="*/ 464101 w 829389"/>
                <a:gd name="connsiteY59" fmla="*/ 756077 h 830664"/>
                <a:gd name="connsiteX60" fmla="*/ 432864 w 829389"/>
                <a:gd name="connsiteY60" fmla="*/ 826839 h 830664"/>
                <a:gd name="connsiteX61" fmla="*/ 429676 w 829389"/>
                <a:gd name="connsiteY61" fmla="*/ 830664 h 830664"/>
                <a:gd name="connsiteX62" fmla="*/ 429676 w 829389"/>
                <a:gd name="connsiteY62" fmla="*/ 830664 h 830664"/>
                <a:gd name="connsiteX63" fmla="*/ 566739 w 829389"/>
                <a:gd name="connsiteY63" fmla="*/ 251175 h 830664"/>
                <a:gd name="connsiteX64" fmla="*/ 550164 w 829389"/>
                <a:gd name="connsiteY64" fmla="*/ 252451 h 830664"/>
                <a:gd name="connsiteX65" fmla="*/ 561001 w 829389"/>
                <a:gd name="connsiteY65" fmla="*/ 260101 h 830664"/>
                <a:gd name="connsiteX66" fmla="*/ 566739 w 829389"/>
                <a:gd name="connsiteY66" fmla="*/ 251175 h 830664"/>
                <a:gd name="connsiteX67" fmla="*/ 566739 w 829389"/>
                <a:gd name="connsiteY67" fmla="*/ 251175 h 830664"/>
                <a:gd name="connsiteX68" fmla="*/ 469839 w 829389"/>
                <a:gd name="connsiteY68" fmla="*/ 267751 h 830664"/>
                <a:gd name="connsiteX69" fmla="*/ 464739 w 829389"/>
                <a:gd name="connsiteY69" fmla="*/ 267751 h 830664"/>
                <a:gd name="connsiteX70" fmla="*/ 470476 w 829389"/>
                <a:gd name="connsiteY70" fmla="*/ 270301 h 830664"/>
                <a:gd name="connsiteX71" fmla="*/ 469839 w 829389"/>
                <a:gd name="connsiteY71" fmla="*/ 267751 h 830664"/>
                <a:gd name="connsiteX72" fmla="*/ 582039 w 829389"/>
                <a:gd name="connsiteY72" fmla="*/ 186788 h 830664"/>
                <a:gd name="connsiteX73" fmla="*/ 575664 w 829389"/>
                <a:gd name="connsiteY73" fmla="*/ 175950 h 830664"/>
                <a:gd name="connsiteX74" fmla="*/ 573114 w 829389"/>
                <a:gd name="connsiteY74" fmla="*/ 176588 h 830664"/>
                <a:gd name="connsiteX75" fmla="*/ 582039 w 829389"/>
                <a:gd name="connsiteY75" fmla="*/ 186788 h 830664"/>
                <a:gd name="connsiteX76" fmla="*/ 582039 w 829389"/>
                <a:gd name="connsiteY76" fmla="*/ 186788 h 830664"/>
                <a:gd name="connsiteX77" fmla="*/ 0 w 829389"/>
                <a:gd name="connsiteY77" fmla="*/ 233326 h 830664"/>
                <a:gd name="connsiteX78" fmla="*/ 20400 w 829389"/>
                <a:gd name="connsiteY78" fmla="*/ 244800 h 830664"/>
                <a:gd name="connsiteX79" fmla="*/ 125588 w 829389"/>
                <a:gd name="connsiteY79" fmla="*/ 277313 h 830664"/>
                <a:gd name="connsiteX80" fmla="*/ 174676 w 829389"/>
                <a:gd name="connsiteY80" fmla="*/ 290063 h 830664"/>
                <a:gd name="connsiteX81" fmla="*/ 222488 w 829389"/>
                <a:gd name="connsiteY81" fmla="*/ 293251 h 830664"/>
                <a:gd name="connsiteX82" fmla="*/ 256913 w 829389"/>
                <a:gd name="connsiteY82" fmla="*/ 321938 h 830664"/>
                <a:gd name="connsiteX83" fmla="*/ 256913 w 829389"/>
                <a:gd name="connsiteY83" fmla="*/ 365926 h 830664"/>
                <a:gd name="connsiteX84" fmla="*/ 288151 w 829389"/>
                <a:gd name="connsiteY84" fmla="*/ 397163 h 830664"/>
                <a:gd name="connsiteX85" fmla="*/ 288151 w 829389"/>
                <a:gd name="connsiteY85" fmla="*/ 395888 h 830664"/>
                <a:gd name="connsiteX86" fmla="*/ 313013 w 829389"/>
                <a:gd name="connsiteY86" fmla="*/ 323213 h 830664"/>
                <a:gd name="connsiteX87" fmla="*/ 343613 w 829389"/>
                <a:gd name="connsiteY87" fmla="*/ 302176 h 830664"/>
                <a:gd name="connsiteX88" fmla="*/ 366563 w 829389"/>
                <a:gd name="connsiteY88" fmla="*/ 276676 h 830664"/>
                <a:gd name="connsiteX89" fmla="*/ 370388 w 829389"/>
                <a:gd name="connsiteY89" fmla="*/ 299626 h 830664"/>
                <a:gd name="connsiteX90" fmla="*/ 393976 w 829389"/>
                <a:gd name="connsiteY90" fmla="*/ 263288 h 830664"/>
                <a:gd name="connsiteX91" fmla="*/ 450713 w 829389"/>
                <a:gd name="connsiteY91" fmla="*/ 241613 h 830664"/>
                <a:gd name="connsiteX92" fmla="*/ 455176 w 829389"/>
                <a:gd name="connsiteY92" fmla="*/ 232050 h 830664"/>
                <a:gd name="connsiteX93" fmla="*/ 512551 w 829389"/>
                <a:gd name="connsiteY93" fmla="*/ 239063 h 830664"/>
                <a:gd name="connsiteX94" fmla="*/ 534864 w 829389"/>
                <a:gd name="connsiteY94" fmla="*/ 250538 h 830664"/>
                <a:gd name="connsiteX95" fmla="*/ 546339 w 829389"/>
                <a:gd name="connsiteY95" fmla="*/ 221851 h 830664"/>
                <a:gd name="connsiteX96" fmla="*/ 557176 w 829389"/>
                <a:gd name="connsiteY96" fmla="*/ 228226 h 830664"/>
                <a:gd name="connsiteX97" fmla="*/ 602439 w 829389"/>
                <a:gd name="connsiteY97" fmla="*/ 221213 h 830664"/>
                <a:gd name="connsiteX98" fmla="*/ 590964 w 829389"/>
                <a:gd name="connsiteY98" fmla="*/ 203363 h 830664"/>
                <a:gd name="connsiteX99" fmla="*/ 571201 w 829389"/>
                <a:gd name="connsiteY99" fmla="*/ 191888 h 830664"/>
                <a:gd name="connsiteX100" fmla="*/ 575026 w 829389"/>
                <a:gd name="connsiteY100" fmla="*/ 150450 h 830664"/>
                <a:gd name="connsiteX101" fmla="*/ 536138 w 829389"/>
                <a:gd name="connsiteY101" fmla="*/ 172125 h 830664"/>
                <a:gd name="connsiteX102" fmla="*/ 500439 w 829389"/>
                <a:gd name="connsiteY102" fmla="*/ 167663 h 830664"/>
                <a:gd name="connsiteX103" fmla="*/ 488964 w 829389"/>
                <a:gd name="connsiteY103" fmla="*/ 139613 h 830664"/>
                <a:gd name="connsiteX104" fmla="*/ 492788 w 829389"/>
                <a:gd name="connsiteY104" fmla="*/ 130050 h 830664"/>
                <a:gd name="connsiteX105" fmla="*/ 443701 w 829389"/>
                <a:gd name="connsiteY105" fmla="*/ 153000 h 830664"/>
                <a:gd name="connsiteX106" fmla="*/ 411826 w 829389"/>
                <a:gd name="connsiteY106" fmla="*/ 154913 h 830664"/>
                <a:gd name="connsiteX107" fmla="*/ 355726 w 829389"/>
                <a:gd name="connsiteY107" fmla="*/ 189338 h 830664"/>
                <a:gd name="connsiteX108" fmla="*/ 349351 w 829389"/>
                <a:gd name="connsiteY108" fmla="*/ 202088 h 830664"/>
                <a:gd name="connsiteX109" fmla="*/ 314926 w 829389"/>
                <a:gd name="connsiteY109" fmla="*/ 193800 h 830664"/>
                <a:gd name="connsiteX110" fmla="*/ 293251 w 829389"/>
                <a:gd name="connsiteY110" fmla="*/ 204000 h 830664"/>
                <a:gd name="connsiteX111" fmla="*/ 249263 w 829389"/>
                <a:gd name="connsiteY111" fmla="*/ 166388 h 830664"/>
                <a:gd name="connsiteX112" fmla="*/ 151725 w 829389"/>
                <a:gd name="connsiteY112" fmla="*/ 136425 h 830664"/>
                <a:gd name="connsiteX113" fmla="*/ 149813 w 829389"/>
                <a:gd name="connsiteY113" fmla="*/ 124950 h 830664"/>
                <a:gd name="connsiteX114" fmla="*/ 87338 w 829389"/>
                <a:gd name="connsiteY114" fmla="*/ 184238 h 830664"/>
                <a:gd name="connsiteX115" fmla="*/ 52275 w 829389"/>
                <a:gd name="connsiteY115" fmla="*/ 193800 h 830664"/>
                <a:gd name="connsiteX116" fmla="*/ 1912 w 829389"/>
                <a:gd name="connsiteY116" fmla="*/ 231413 h 830664"/>
                <a:gd name="connsiteX117" fmla="*/ 0 w 829389"/>
                <a:gd name="connsiteY117" fmla="*/ 233326 h 830664"/>
                <a:gd name="connsiteX118" fmla="*/ 0 w 829389"/>
                <a:gd name="connsiteY118" fmla="*/ 233326 h 830664"/>
                <a:gd name="connsiteX119" fmla="*/ 227588 w 829389"/>
                <a:gd name="connsiteY119" fmla="*/ 87975 h 830664"/>
                <a:gd name="connsiteX120" fmla="*/ 152363 w 829389"/>
                <a:gd name="connsiteY120" fmla="*/ 124950 h 830664"/>
                <a:gd name="connsiteX121" fmla="*/ 177225 w 829389"/>
                <a:gd name="connsiteY121" fmla="*/ 149175 h 830664"/>
                <a:gd name="connsiteX122" fmla="*/ 187426 w 829389"/>
                <a:gd name="connsiteY122" fmla="*/ 124950 h 830664"/>
                <a:gd name="connsiteX123" fmla="*/ 212926 w 829389"/>
                <a:gd name="connsiteY123" fmla="*/ 93075 h 830664"/>
                <a:gd name="connsiteX124" fmla="*/ 227588 w 829389"/>
                <a:gd name="connsiteY124" fmla="*/ 87975 h 830664"/>
                <a:gd name="connsiteX125" fmla="*/ 227588 w 829389"/>
                <a:gd name="connsiteY125" fmla="*/ 87975 h 830664"/>
                <a:gd name="connsiteX126" fmla="*/ 143438 w 829389"/>
                <a:gd name="connsiteY126" fmla="*/ 0 h 830664"/>
                <a:gd name="connsiteX127" fmla="*/ 91800 w 829389"/>
                <a:gd name="connsiteY127" fmla="*/ 35063 h 830664"/>
                <a:gd name="connsiteX128" fmla="*/ 89250 w 829389"/>
                <a:gd name="connsiteY128" fmla="*/ 52275 h 830664"/>
                <a:gd name="connsiteX129" fmla="*/ 129413 w 829389"/>
                <a:gd name="connsiteY129" fmla="*/ 22313 h 830664"/>
                <a:gd name="connsiteX130" fmla="*/ 143438 w 829389"/>
                <a:gd name="connsiteY130" fmla="*/ 0 h 83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29389" h="830664">
                  <a:moveTo>
                    <a:pt x="429038" y="385051"/>
                  </a:moveTo>
                  <a:lnTo>
                    <a:pt x="425851" y="379951"/>
                  </a:lnTo>
                  <a:lnTo>
                    <a:pt x="425213" y="386326"/>
                  </a:lnTo>
                  <a:lnTo>
                    <a:pt x="429038" y="385051"/>
                  </a:lnTo>
                  <a:close/>
                  <a:moveTo>
                    <a:pt x="439239" y="374213"/>
                  </a:moveTo>
                  <a:lnTo>
                    <a:pt x="431588" y="363376"/>
                  </a:lnTo>
                  <a:lnTo>
                    <a:pt x="430313" y="367838"/>
                  </a:lnTo>
                  <a:lnTo>
                    <a:pt x="439239" y="374213"/>
                  </a:lnTo>
                  <a:close/>
                  <a:moveTo>
                    <a:pt x="445614" y="327676"/>
                  </a:moveTo>
                  <a:lnTo>
                    <a:pt x="439239" y="321938"/>
                  </a:lnTo>
                  <a:lnTo>
                    <a:pt x="439239" y="323213"/>
                  </a:lnTo>
                  <a:lnTo>
                    <a:pt x="445614" y="327676"/>
                  </a:lnTo>
                  <a:close/>
                  <a:moveTo>
                    <a:pt x="429676" y="830664"/>
                  </a:moveTo>
                  <a:lnTo>
                    <a:pt x="509364" y="817914"/>
                  </a:lnTo>
                  <a:lnTo>
                    <a:pt x="531676" y="813452"/>
                  </a:lnTo>
                  <a:lnTo>
                    <a:pt x="630489" y="796239"/>
                  </a:lnTo>
                  <a:lnTo>
                    <a:pt x="632401" y="804527"/>
                  </a:lnTo>
                  <a:lnTo>
                    <a:pt x="638776" y="802614"/>
                  </a:lnTo>
                  <a:lnTo>
                    <a:pt x="680851" y="793052"/>
                  </a:lnTo>
                  <a:lnTo>
                    <a:pt x="721014" y="782852"/>
                  </a:lnTo>
                  <a:lnTo>
                    <a:pt x="761814" y="772014"/>
                  </a:lnTo>
                  <a:lnTo>
                    <a:pt x="761177" y="770102"/>
                  </a:lnTo>
                  <a:lnTo>
                    <a:pt x="782214" y="728664"/>
                  </a:lnTo>
                  <a:lnTo>
                    <a:pt x="780302" y="694239"/>
                  </a:lnTo>
                  <a:lnTo>
                    <a:pt x="803889" y="634951"/>
                  </a:lnTo>
                  <a:lnTo>
                    <a:pt x="822377" y="646426"/>
                  </a:lnTo>
                  <a:lnTo>
                    <a:pt x="829389" y="633039"/>
                  </a:lnTo>
                  <a:lnTo>
                    <a:pt x="827477" y="581401"/>
                  </a:lnTo>
                  <a:lnTo>
                    <a:pt x="810264" y="548889"/>
                  </a:lnTo>
                  <a:lnTo>
                    <a:pt x="784764" y="480676"/>
                  </a:lnTo>
                  <a:lnTo>
                    <a:pt x="762451" y="455813"/>
                  </a:lnTo>
                  <a:lnTo>
                    <a:pt x="750976" y="452626"/>
                  </a:lnTo>
                  <a:lnTo>
                    <a:pt x="709539" y="481951"/>
                  </a:lnTo>
                  <a:lnTo>
                    <a:pt x="714001" y="487688"/>
                  </a:lnTo>
                  <a:lnTo>
                    <a:pt x="692326" y="528489"/>
                  </a:lnTo>
                  <a:lnTo>
                    <a:pt x="671289" y="524664"/>
                  </a:lnTo>
                  <a:lnTo>
                    <a:pt x="664914" y="481951"/>
                  </a:lnTo>
                  <a:lnTo>
                    <a:pt x="674476" y="478764"/>
                  </a:lnTo>
                  <a:lnTo>
                    <a:pt x="692964" y="436051"/>
                  </a:lnTo>
                  <a:lnTo>
                    <a:pt x="694876" y="360188"/>
                  </a:lnTo>
                  <a:lnTo>
                    <a:pt x="665552" y="295801"/>
                  </a:lnTo>
                  <a:lnTo>
                    <a:pt x="600526" y="284963"/>
                  </a:lnTo>
                  <a:lnTo>
                    <a:pt x="594151" y="274763"/>
                  </a:lnTo>
                  <a:lnTo>
                    <a:pt x="534864" y="257550"/>
                  </a:lnTo>
                  <a:lnTo>
                    <a:pt x="507451" y="290701"/>
                  </a:lnTo>
                  <a:lnTo>
                    <a:pt x="510001" y="320026"/>
                  </a:lnTo>
                  <a:lnTo>
                    <a:pt x="489601" y="345526"/>
                  </a:lnTo>
                  <a:lnTo>
                    <a:pt x="494064" y="385051"/>
                  </a:lnTo>
                  <a:lnTo>
                    <a:pt x="474301" y="399076"/>
                  </a:lnTo>
                  <a:lnTo>
                    <a:pt x="474301" y="348713"/>
                  </a:lnTo>
                  <a:lnTo>
                    <a:pt x="456451" y="386326"/>
                  </a:lnTo>
                  <a:lnTo>
                    <a:pt x="435413" y="419476"/>
                  </a:lnTo>
                  <a:lnTo>
                    <a:pt x="421388" y="430951"/>
                  </a:lnTo>
                  <a:lnTo>
                    <a:pt x="428401" y="466013"/>
                  </a:lnTo>
                  <a:lnTo>
                    <a:pt x="418838" y="502351"/>
                  </a:lnTo>
                  <a:lnTo>
                    <a:pt x="423938" y="548251"/>
                  </a:lnTo>
                  <a:lnTo>
                    <a:pt x="417563" y="570564"/>
                  </a:lnTo>
                  <a:lnTo>
                    <a:pt x="464101" y="659176"/>
                  </a:lnTo>
                  <a:lnTo>
                    <a:pt x="469839" y="692964"/>
                  </a:lnTo>
                  <a:lnTo>
                    <a:pt x="464101" y="756077"/>
                  </a:lnTo>
                  <a:lnTo>
                    <a:pt x="432864" y="826839"/>
                  </a:lnTo>
                  <a:lnTo>
                    <a:pt x="429676" y="830664"/>
                  </a:lnTo>
                  <a:lnTo>
                    <a:pt x="429676" y="830664"/>
                  </a:lnTo>
                  <a:close/>
                  <a:moveTo>
                    <a:pt x="566739" y="251175"/>
                  </a:moveTo>
                  <a:lnTo>
                    <a:pt x="550164" y="252451"/>
                  </a:lnTo>
                  <a:lnTo>
                    <a:pt x="561001" y="260101"/>
                  </a:lnTo>
                  <a:lnTo>
                    <a:pt x="566739" y="251175"/>
                  </a:lnTo>
                  <a:lnTo>
                    <a:pt x="566739" y="251175"/>
                  </a:lnTo>
                  <a:close/>
                  <a:moveTo>
                    <a:pt x="469839" y="267751"/>
                  </a:moveTo>
                  <a:lnTo>
                    <a:pt x="464739" y="267751"/>
                  </a:lnTo>
                  <a:lnTo>
                    <a:pt x="470476" y="270301"/>
                  </a:lnTo>
                  <a:lnTo>
                    <a:pt x="469839" y="267751"/>
                  </a:lnTo>
                  <a:close/>
                  <a:moveTo>
                    <a:pt x="582039" y="186788"/>
                  </a:moveTo>
                  <a:lnTo>
                    <a:pt x="575664" y="175950"/>
                  </a:lnTo>
                  <a:lnTo>
                    <a:pt x="573114" y="176588"/>
                  </a:lnTo>
                  <a:lnTo>
                    <a:pt x="582039" y="186788"/>
                  </a:lnTo>
                  <a:lnTo>
                    <a:pt x="582039" y="186788"/>
                  </a:lnTo>
                  <a:close/>
                  <a:moveTo>
                    <a:pt x="0" y="233326"/>
                  </a:moveTo>
                  <a:lnTo>
                    <a:pt x="20400" y="244800"/>
                  </a:lnTo>
                  <a:lnTo>
                    <a:pt x="125588" y="277313"/>
                  </a:lnTo>
                  <a:lnTo>
                    <a:pt x="174676" y="290063"/>
                  </a:lnTo>
                  <a:lnTo>
                    <a:pt x="222488" y="293251"/>
                  </a:lnTo>
                  <a:lnTo>
                    <a:pt x="256913" y="321938"/>
                  </a:lnTo>
                  <a:lnTo>
                    <a:pt x="256913" y="365926"/>
                  </a:lnTo>
                  <a:lnTo>
                    <a:pt x="288151" y="397163"/>
                  </a:lnTo>
                  <a:lnTo>
                    <a:pt x="288151" y="395888"/>
                  </a:lnTo>
                  <a:lnTo>
                    <a:pt x="313013" y="323213"/>
                  </a:lnTo>
                  <a:lnTo>
                    <a:pt x="343613" y="302176"/>
                  </a:lnTo>
                  <a:lnTo>
                    <a:pt x="366563" y="276676"/>
                  </a:lnTo>
                  <a:lnTo>
                    <a:pt x="370388" y="299626"/>
                  </a:lnTo>
                  <a:lnTo>
                    <a:pt x="393976" y="263288"/>
                  </a:lnTo>
                  <a:lnTo>
                    <a:pt x="450713" y="241613"/>
                  </a:lnTo>
                  <a:lnTo>
                    <a:pt x="455176" y="232050"/>
                  </a:lnTo>
                  <a:lnTo>
                    <a:pt x="512551" y="239063"/>
                  </a:lnTo>
                  <a:lnTo>
                    <a:pt x="534864" y="250538"/>
                  </a:lnTo>
                  <a:lnTo>
                    <a:pt x="546339" y="221851"/>
                  </a:lnTo>
                  <a:lnTo>
                    <a:pt x="557176" y="228226"/>
                  </a:lnTo>
                  <a:lnTo>
                    <a:pt x="602439" y="221213"/>
                  </a:lnTo>
                  <a:lnTo>
                    <a:pt x="590964" y="203363"/>
                  </a:lnTo>
                  <a:lnTo>
                    <a:pt x="571201" y="191888"/>
                  </a:lnTo>
                  <a:lnTo>
                    <a:pt x="575026" y="150450"/>
                  </a:lnTo>
                  <a:lnTo>
                    <a:pt x="536138" y="172125"/>
                  </a:lnTo>
                  <a:lnTo>
                    <a:pt x="500439" y="167663"/>
                  </a:lnTo>
                  <a:lnTo>
                    <a:pt x="488964" y="139613"/>
                  </a:lnTo>
                  <a:lnTo>
                    <a:pt x="492788" y="130050"/>
                  </a:lnTo>
                  <a:lnTo>
                    <a:pt x="443701" y="153000"/>
                  </a:lnTo>
                  <a:lnTo>
                    <a:pt x="411826" y="154913"/>
                  </a:lnTo>
                  <a:lnTo>
                    <a:pt x="355726" y="189338"/>
                  </a:lnTo>
                  <a:lnTo>
                    <a:pt x="349351" y="202088"/>
                  </a:lnTo>
                  <a:lnTo>
                    <a:pt x="314926" y="193800"/>
                  </a:lnTo>
                  <a:lnTo>
                    <a:pt x="293251" y="204000"/>
                  </a:lnTo>
                  <a:lnTo>
                    <a:pt x="249263" y="166388"/>
                  </a:lnTo>
                  <a:lnTo>
                    <a:pt x="151725" y="136425"/>
                  </a:lnTo>
                  <a:lnTo>
                    <a:pt x="149813" y="124950"/>
                  </a:lnTo>
                  <a:lnTo>
                    <a:pt x="87338" y="184238"/>
                  </a:lnTo>
                  <a:lnTo>
                    <a:pt x="52275" y="193800"/>
                  </a:lnTo>
                  <a:lnTo>
                    <a:pt x="1912" y="231413"/>
                  </a:lnTo>
                  <a:lnTo>
                    <a:pt x="0" y="233326"/>
                  </a:lnTo>
                  <a:lnTo>
                    <a:pt x="0" y="233326"/>
                  </a:lnTo>
                  <a:close/>
                  <a:moveTo>
                    <a:pt x="227588" y="87975"/>
                  </a:moveTo>
                  <a:lnTo>
                    <a:pt x="152363" y="124950"/>
                  </a:lnTo>
                  <a:lnTo>
                    <a:pt x="177225" y="149175"/>
                  </a:lnTo>
                  <a:lnTo>
                    <a:pt x="187426" y="124950"/>
                  </a:lnTo>
                  <a:lnTo>
                    <a:pt x="212926" y="93075"/>
                  </a:lnTo>
                  <a:lnTo>
                    <a:pt x="227588" y="87975"/>
                  </a:lnTo>
                  <a:lnTo>
                    <a:pt x="227588" y="87975"/>
                  </a:lnTo>
                  <a:close/>
                  <a:moveTo>
                    <a:pt x="143438" y="0"/>
                  </a:moveTo>
                  <a:lnTo>
                    <a:pt x="91800" y="35063"/>
                  </a:lnTo>
                  <a:lnTo>
                    <a:pt x="89250" y="52275"/>
                  </a:lnTo>
                  <a:lnTo>
                    <a:pt x="129413" y="22313"/>
                  </a:lnTo>
                  <a:lnTo>
                    <a:pt x="143438"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245" name="Freeform 27">
              <a:extLst>
                <a:ext uri="{FF2B5EF4-FFF2-40B4-BE49-F238E27FC236}">
                  <a16:creationId xmlns:a16="http://schemas.microsoft.com/office/drawing/2014/main" id="{F6134A10-C598-256B-3480-C1D5EF00E06E}"/>
                </a:ext>
              </a:extLst>
            </p:cNvPr>
            <p:cNvSpPr/>
            <p:nvPr/>
          </p:nvSpPr>
          <p:spPr>
            <a:xfrm>
              <a:off x="3387874" y="2374511"/>
              <a:ext cx="762451" cy="589851"/>
            </a:xfrm>
            <a:custGeom>
              <a:avLst/>
              <a:gdLst>
                <a:gd name="connsiteX0" fmla="*/ 759902 w 762451"/>
                <a:gd name="connsiteY0" fmla="*/ 174038 h 586501"/>
                <a:gd name="connsiteX1" fmla="*/ 762452 w 762451"/>
                <a:gd name="connsiteY1" fmla="*/ 48450 h 586501"/>
                <a:gd name="connsiteX2" fmla="*/ 731214 w 762451"/>
                <a:gd name="connsiteY2" fmla="*/ 47175 h 586501"/>
                <a:gd name="connsiteX3" fmla="*/ 574389 w 762451"/>
                <a:gd name="connsiteY3" fmla="*/ 41438 h 586501"/>
                <a:gd name="connsiteX4" fmla="*/ 559089 w 762451"/>
                <a:gd name="connsiteY4" fmla="*/ 40800 h 586501"/>
                <a:gd name="connsiteX5" fmla="*/ 546339 w 762451"/>
                <a:gd name="connsiteY5" fmla="*/ 40163 h 586501"/>
                <a:gd name="connsiteX6" fmla="*/ 355726 w 762451"/>
                <a:gd name="connsiteY6" fmla="*/ 28050 h 586501"/>
                <a:gd name="connsiteX7" fmla="*/ 228863 w 762451"/>
                <a:gd name="connsiteY7" fmla="*/ 17213 h 586501"/>
                <a:gd name="connsiteX8" fmla="*/ 70125 w 762451"/>
                <a:gd name="connsiteY8" fmla="*/ 1913 h 586501"/>
                <a:gd name="connsiteX9" fmla="*/ 54825 w 762451"/>
                <a:gd name="connsiteY9" fmla="*/ 0 h 586501"/>
                <a:gd name="connsiteX10" fmla="*/ 52913 w 762451"/>
                <a:gd name="connsiteY10" fmla="*/ 16575 h 586501"/>
                <a:gd name="connsiteX11" fmla="*/ 18487 w 762451"/>
                <a:gd name="connsiteY11" fmla="*/ 351263 h 586501"/>
                <a:gd name="connsiteX12" fmla="*/ 6375 w 762451"/>
                <a:gd name="connsiteY12" fmla="*/ 468563 h 586501"/>
                <a:gd name="connsiteX13" fmla="*/ 1275 w 762451"/>
                <a:gd name="connsiteY13" fmla="*/ 519564 h 586501"/>
                <a:gd name="connsiteX14" fmla="*/ 0 w 762451"/>
                <a:gd name="connsiteY14" fmla="*/ 536139 h 586501"/>
                <a:gd name="connsiteX15" fmla="*/ 19763 w 762451"/>
                <a:gd name="connsiteY15" fmla="*/ 538051 h 586501"/>
                <a:gd name="connsiteX16" fmla="*/ 343613 w 762451"/>
                <a:gd name="connsiteY16" fmla="*/ 566739 h 586501"/>
                <a:gd name="connsiteX17" fmla="*/ 485776 w 762451"/>
                <a:gd name="connsiteY17" fmla="*/ 576301 h 586501"/>
                <a:gd name="connsiteX18" fmla="*/ 627939 w 762451"/>
                <a:gd name="connsiteY18" fmla="*/ 582676 h 586501"/>
                <a:gd name="connsiteX19" fmla="*/ 648339 w 762451"/>
                <a:gd name="connsiteY19" fmla="*/ 583314 h 586501"/>
                <a:gd name="connsiteX20" fmla="*/ 661089 w 762451"/>
                <a:gd name="connsiteY20" fmla="*/ 583951 h 586501"/>
                <a:gd name="connsiteX21" fmla="*/ 688501 w 762451"/>
                <a:gd name="connsiteY21" fmla="*/ 584589 h 586501"/>
                <a:gd name="connsiteX22" fmla="*/ 701251 w 762451"/>
                <a:gd name="connsiteY22" fmla="*/ 585226 h 586501"/>
                <a:gd name="connsiteX23" fmla="*/ 741414 w 762451"/>
                <a:gd name="connsiteY23" fmla="*/ 586501 h 586501"/>
                <a:gd name="connsiteX24" fmla="*/ 752252 w 762451"/>
                <a:gd name="connsiteY24" fmla="*/ 586501 h 586501"/>
                <a:gd name="connsiteX25" fmla="*/ 752252 w 762451"/>
                <a:gd name="connsiteY25" fmla="*/ 573751 h 586501"/>
                <a:gd name="connsiteX26" fmla="*/ 759264 w 762451"/>
                <a:gd name="connsiteY26" fmla="*/ 233963 h 586501"/>
                <a:gd name="connsiteX27" fmla="*/ 759902 w 762451"/>
                <a:gd name="connsiteY27" fmla="*/ 196351 h 586501"/>
                <a:gd name="connsiteX28" fmla="*/ 759902 w 762451"/>
                <a:gd name="connsiteY28" fmla="*/ 184238 h 586501"/>
                <a:gd name="connsiteX29" fmla="*/ 759902 w 762451"/>
                <a:gd name="connsiteY29" fmla="*/ 174038 h 586501"/>
                <a:gd name="connsiteX30" fmla="*/ 759902 w 762451"/>
                <a:gd name="connsiteY30" fmla="*/ 174038 h 5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2451" h="586501">
                  <a:moveTo>
                    <a:pt x="759902" y="174038"/>
                  </a:moveTo>
                  <a:lnTo>
                    <a:pt x="762452" y="48450"/>
                  </a:lnTo>
                  <a:lnTo>
                    <a:pt x="731214" y="47175"/>
                  </a:lnTo>
                  <a:lnTo>
                    <a:pt x="574389" y="41438"/>
                  </a:lnTo>
                  <a:lnTo>
                    <a:pt x="559089" y="40800"/>
                  </a:lnTo>
                  <a:lnTo>
                    <a:pt x="546339" y="40163"/>
                  </a:lnTo>
                  <a:lnTo>
                    <a:pt x="355726" y="28050"/>
                  </a:lnTo>
                  <a:lnTo>
                    <a:pt x="228863" y="17213"/>
                  </a:lnTo>
                  <a:lnTo>
                    <a:pt x="70125" y="1913"/>
                  </a:lnTo>
                  <a:lnTo>
                    <a:pt x="54825" y="0"/>
                  </a:lnTo>
                  <a:lnTo>
                    <a:pt x="52913" y="16575"/>
                  </a:lnTo>
                  <a:lnTo>
                    <a:pt x="18487" y="351263"/>
                  </a:lnTo>
                  <a:lnTo>
                    <a:pt x="6375" y="468563"/>
                  </a:lnTo>
                  <a:lnTo>
                    <a:pt x="1275" y="519564"/>
                  </a:lnTo>
                  <a:lnTo>
                    <a:pt x="0" y="536139"/>
                  </a:lnTo>
                  <a:lnTo>
                    <a:pt x="19763" y="538051"/>
                  </a:lnTo>
                  <a:lnTo>
                    <a:pt x="343613" y="566739"/>
                  </a:lnTo>
                  <a:lnTo>
                    <a:pt x="485776" y="576301"/>
                  </a:lnTo>
                  <a:lnTo>
                    <a:pt x="627939" y="582676"/>
                  </a:lnTo>
                  <a:lnTo>
                    <a:pt x="648339" y="583314"/>
                  </a:lnTo>
                  <a:lnTo>
                    <a:pt x="661089" y="583951"/>
                  </a:lnTo>
                  <a:lnTo>
                    <a:pt x="688501" y="584589"/>
                  </a:lnTo>
                  <a:lnTo>
                    <a:pt x="701251" y="585226"/>
                  </a:lnTo>
                  <a:lnTo>
                    <a:pt x="741414" y="586501"/>
                  </a:lnTo>
                  <a:lnTo>
                    <a:pt x="752252" y="586501"/>
                  </a:lnTo>
                  <a:lnTo>
                    <a:pt x="752252" y="573751"/>
                  </a:lnTo>
                  <a:lnTo>
                    <a:pt x="759264" y="233963"/>
                  </a:lnTo>
                  <a:lnTo>
                    <a:pt x="759902" y="196351"/>
                  </a:lnTo>
                  <a:lnTo>
                    <a:pt x="759902" y="184238"/>
                  </a:lnTo>
                  <a:lnTo>
                    <a:pt x="759902" y="174038"/>
                  </a:lnTo>
                  <a:lnTo>
                    <a:pt x="759902" y="174038"/>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269" name="Freeform 51">
              <a:extLst>
                <a:ext uri="{FF2B5EF4-FFF2-40B4-BE49-F238E27FC236}">
                  <a16:creationId xmlns:a16="http://schemas.microsoft.com/office/drawing/2014/main" id="{193E864D-EB32-3E08-5AA7-7F40ECB91DA5}"/>
                </a:ext>
              </a:extLst>
            </p:cNvPr>
            <p:cNvSpPr/>
            <p:nvPr/>
          </p:nvSpPr>
          <p:spPr>
            <a:xfrm>
              <a:off x="5228341" y="2138161"/>
              <a:ext cx="433500" cy="752251"/>
            </a:xfrm>
            <a:custGeom>
              <a:avLst/>
              <a:gdLst>
                <a:gd name="connsiteX0" fmla="*/ 56100 w 433500"/>
                <a:gd name="connsiteY0" fmla="*/ 34425 h 752251"/>
                <a:gd name="connsiteX1" fmla="*/ 54825 w 433500"/>
                <a:gd name="connsiteY1" fmla="*/ 37613 h 752251"/>
                <a:gd name="connsiteX2" fmla="*/ 79050 w 433500"/>
                <a:gd name="connsiteY2" fmla="*/ 52913 h 752251"/>
                <a:gd name="connsiteX3" fmla="*/ 86700 w 433500"/>
                <a:gd name="connsiteY3" fmla="*/ 68213 h 752251"/>
                <a:gd name="connsiteX4" fmla="*/ 112200 w 433500"/>
                <a:gd name="connsiteY4" fmla="*/ 92438 h 752251"/>
                <a:gd name="connsiteX5" fmla="*/ 111563 w 433500"/>
                <a:gd name="connsiteY5" fmla="*/ 112838 h 752251"/>
                <a:gd name="connsiteX6" fmla="*/ 97538 w 433500"/>
                <a:gd name="connsiteY6" fmla="*/ 153000 h 752251"/>
                <a:gd name="connsiteX7" fmla="*/ 65025 w 433500"/>
                <a:gd name="connsiteY7" fmla="*/ 175950 h 752251"/>
                <a:gd name="connsiteX8" fmla="*/ 35700 w 433500"/>
                <a:gd name="connsiteY8" fmla="*/ 181688 h 752251"/>
                <a:gd name="connsiteX9" fmla="*/ 29963 w 433500"/>
                <a:gd name="connsiteY9" fmla="*/ 214838 h 752251"/>
                <a:gd name="connsiteX10" fmla="*/ 40163 w 433500"/>
                <a:gd name="connsiteY10" fmla="*/ 219300 h 752251"/>
                <a:gd name="connsiteX11" fmla="*/ 29963 w 433500"/>
                <a:gd name="connsiteY11" fmla="*/ 284963 h 752251"/>
                <a:gd name="connsiteX12" fmla="*/ 6375 w 433500"/>
                <a:gd name="connsiteY12" fmla="*/ 299626 h 752251"/>
                <a:gd name="connsiteX13" fmla="*/ 10838 w 433500"/>
                <a:gd name="connsiteY13" fmla="*/ 324488 h 752251"/>
                <a:gd name="connsiteX14" fmla="*/ 5100 w 433500"/>
                <a:gd name="connsiteY14" fmla="*/ 327038 h 752251"/>
                <a:gd name="connsiteX15" fmla="*/ 5100 w 433500"/>
                <a:gd name="connsiteY15" fmla="*/ 327038 h 752251"/>
                <a:gd name="connsiteX16" fmla="*/ 0 w 433500"/>
                <a:gd name="connsiteY16" fmla="*/ 355726 h 752251"/>
                <a:gd name="connsiteX17" fmla="*/ 20400 w 433500"/>
                <a:gd name="connsiteY17" fmla="*/ 412463 h 752251"/>
                <a:gd name="connsiteX18" fmla="*/ 93713 w 433500"/>
                <a:gd name="connsiteY18" fmla="*/ 474301 h 752251"/>
                <a:gd name="connsiteX19" fmla="*/ 100088 w 433500"/>
                <a:gd name="connsiteY19" fmla="*/ 504263 h 752251"/>
                <a:gd name="connsiteX20" fmla="*/ 114112 w 433500"/>
                <a:gd name="connsiteY20" fmla="*/ 518926 h 752251"/>
                <a:gd name="connsiteX21" fmla="*/ 160650 w 433500"/>
                <a:gd name="connsiteY21" fmla="*/ 516376 h 752251"/>
                <a:gd name="connsiteX22" fmla="*/ 152363 w 433500"/>
                <a:gd name="connsiteY22" fmla="*/ 559089 h 752251"/>
                <a:gd name="connsiteX23" fmla="*/ 149175 w 433500"/>
                <a:gd name="connsiteY23" fmla="*/ 605626 h 752251"/>
                <a:gd name="connsiteX24" fmla="*/ 177225 w 433500"/>
                <a:gd name="connsiteY24" fmla="*/ 627939 h 752251"/>
                <a:gd name="connsiteX25" fmla="*/ 221213 w 433500"/>
                <a:gd name="connsiteY25" fmla="*/ 647064 h 752251"/>
                <a:gd name="connsiteX26" fmla="*/ 244163 w 433500"/>
                <a:gd name="connsiteY26" fmla="*/ 664914 h 752251"/>
                <a:gd name="connsiteX27" fmla="*/ 256913 w 433500"/>
                <a:gd name="connsiteY27" fmla="*/ 701251 h 752251"/>
                <a:gd name="connsiteX28" fmla="*/ 249901 w 433500"/>
                <a:gd name="connsiteY28" fmla="*/ 714639 h 752251"/>
                <a:gd name="connsiteX29" fmla="*/ 295800 w 433500"/>
                <a:gd name="connsiteY29" fmla="*/ 751614 h 752251"/>
                <a:gd name="connsiteX30" fmla="*/ 297713 w 433500"/>
                <a:gd name="connsiteY30" fmla="*/ 752252 h 752251"/>
                <a:gd name="connsiteX31" fmla="*/ 293888 w 433500"/>
                <a:gd name="connsiteY31" fmla="*/ 748426 h 752251"/>
                <a:gd name="connsiteX32" fmla="*/ 306638 w 433500"/>
                <a:gd name="connsiteY32" fmla="*/ 717826 h 752251"/>
                <a:gd name="connsiteX33" fmla="*/ 356363 w 433500"/>
                <a:gd name="connsiteY33" fmla="*/ 731214 h 752251"/>
                <a:gd name="connsiteX34" fmla="*/ 368476 w 433500"/>
                <a:gd name="connsiteY34" fmla="*/ 717189 h 752251"/>
                <a:gd name="connsiteX35" fmla="*/ 358276 w 433500"/>
                <a:gd name="connsiteY35" fmla="*/ 688501 h 752251"/>
                <a:gd name="connsiteX36" fmla="*/ 398438 w 433500"/>
                <a:gd name="connsiteY36" fmla="*/ 664914 h 752251"/>
                <a:gd name="connsiteX37" fmla="*/ 386963 w 433500"/>
                <a:gd name="connsiteY37" fmla="*/ 649614 h 752251"/>
                <a:gd name="connsiteX38" fmla="*/ 397163 w 433500"/>
                <a:gd name="connsiteY38" fmla="*/ 627939 h 752251"/>
                <a:gd name="connsiteX39" fmla="*/ 397163 w 433500"/>
                <a:gd name="connsiteY39" fmla="*/ 627939 h 752251"/>
                <a:gd name="connsiteX40" fmla="*/ 394613 w 433500"/>
                <a:gd name="connsiteY40" fmla="*/ 627301 h 752251"/>
                <a:gd name="connsiteX41" fmla="*/ 395251 w 433500"/>
                <a:gd name="connsiteY41" fmla="*/ 570564 h 752251"/>
                <a:gd name="connsiteX42" fmla="*/ 409276 w 433500"/>
                <a:gd name="connsiteY42" fmla="*/ 559726 h 752251"/>
                <a:gd name="connsiteX43" fmla="*/ 433501 w 433500"/>
                <a:gd name="connsiteY43" fmla="*/ 502988 h 752251"/>
                <a:gd name="connsiteX44" fmla="*/ 428401 w 433500"/>
                <a:gd name="connsiteY44" fmla="*/ 478126 h 752251"/>
                <a:gd name="connsiteX45" fmla="*/ 412463 w 433500"/>
                <a:gd name="connsiteY45" fmla="*/ 447526 h 752251"/>
                <a:gd name="connsiteX46" fmla="*/ 422026 w 433500"/>
                <a:gd name="connsiteY46" fmla="*/ 413738 h 752251"/>
                <a:gd name="connsiteX47" fmla="*/ 376763 w 433500"/>
                <a:gd name="connsiteY47" fmla="*/ 96900 h 752251"/>
                <a:gd name="connsiteX48" fmla="*/ 370388 w 433500"/>
                <a:gd name="connsiteY48" fmla="*/ 89888 h 752251"/>
                <a:gd name="connsiteX49" fmla="*/ 353813 w 433500"/>
                <a:gd name="connsiteY49" fmla="*/ 52275 h 752251"/>
                <a:gd name="connsiteX50" fmla="*/ 340425 w 433500"/>
                <a:gd name="connsiteY50" fmla="*/ 38250 h 752251"/>
                <a:gd name="connsiteX51" fmla="*/ 334688 w 433500"/>
                <a:gd name="connsiteY51" fmla="*/ 1275 h 752251"/>
                <a:gd name="connsiteX52" fmla="*/ 334688 w 433500"/>
                <a:gd name="connsiteY52" fmla="*/ 0 h 752251"/>
                <a:gd name="connsiteX53" fmla="*/ 247988 w 433500"/>
                <a:gd name="connsiteY53" fmla="*/ 12112 h 752251"/>
                <a:gd name="connsiteX54" fmla="*/ 195713 w 433500"/>
                <a:gd name="connsiteY54" fmla="*/ 18487 h 752251"/>
                <a:gd name="connsiteX55" fmla="*/ 56100 w 433500"/>
                <a:gd name="connsiteY55" fmla="*/ 34425 h 752251"/>
                <a:gd name="connsiteX56" fmla="*/ 56100 w 433500"/>
                <a:gd name="connsiteY56" fmla="*/ 34425 h 752251"/>
                <a:gd name="connsiteX57" fmla="*/ 56100 w 433500"/>
                <a:gd name="connsiteY57" fmla="*/ 34425 h 75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33500" h="752251">
                  <a:moveTo>
                    <a:pt x="56100" y="34425"/>
                  </a:moveTo>
                  <a:lnTo>
                    <a:pt x="54825" y="37613"/>
                  </a:lnTo>
                  <a:lnTo>
                    <a:pt x="79050" y="52913"/>
                  </a:lnTo>
                  <a:lnTo>
                    <a:pt x="86700" y="68213"/>
                  </a:lnTo>
                  <a:lnTo>
                    <a:pt x="112200" y="92438"/>
                  </a:lnTo>
                  <a:lnTo>
                    <a:pt x="111563" y="112838"/>
                  </a:lnTo>
                  <a:lnTo>
                    <a:pt x="97538" y="153000"/>
                  </a:lnTo>
                  <a:lnTo>
                    <a:pt x="65025" y="175950"/>
                  </a:lnTo>
                  <a:lnTo>
                    <a:pt x="35700" y="181688"/>
                  </a:lnTo>
                  <a:lnTo>
                    <a:pt x="29963" y="214838"/>
                  </a:lnTo>
                  <a:lnTo>
                    <a:pt x="40163" y="219300"/>
                  </a:lnTo>
                  <a:lnTo>
                    <a:pt x="29963" y="284963"/>
                  </a:lnTo>
                  <a:lnTo>
                    <a:pt x="6375" y="299626"/>
                  </a:lnTo>
                  <a:lnTo>
                    <a:pt x="10838" y="324488"/>
                  </a:lnTo>
                  <a:lnTo>
                    <a:pt x="5100" y="327038"/>
                  </a:lnTo>
                  <a:lnTo>
                    <a:pt x="5100" y="327038"/>
                  </a:lnTo>
                  <a:lnTo>
                    <a:pt x="0" y="355726"/>
                  </a:lnTo>
                  <a:lnTo>
                    <a:pt x="20400" y="412463"/>
                  </a:lnTo>
                  <a:lnTo>
                    <a:pt x="93713" y="474301"/>
                  </a:lnTo>
                  <a:lnTo>
                    <a:pt x="100088" y="504263"/>
                  </a:lnTo>
                  <a:lnTo>
                    <a:pt x="114112" y="518926"/>
                  </a:lnTo>
                  <a:lnTo>
                    <a:pt x="160650" y="516376"/>
                  </a:lnTo>
                  <a:lnTo>
                    <a:pt x="152363" y="559089"/>
                  </a:lnTo>
                  <a:lnTo>
                    <a:pt x="149175" y="605626"/>
                  </a:lnTo>
                  <a:lnTo>
                    <a:pt x="177225" y="627939"/>
                  </a:lnTo>
                  <a:lnTo>
                    <a:pt x="221213" y="647064"/>
                  </a:lnTo>
                  <a:lnTo>
                    <a:pt x="244163" y="664914"/>
                  </a:lnTo>
                  <a:lnTo>
                    <a:pt x="256913" y="701251"/>
                  </a:lnTo>
                  <a:lnTo>
                    <a:pt x="249901" y="714639"/>
                  </a:lnTo>
                  <a:lnTo>
                    <a:pt x="295800" y="751614"/>
                  </a:lnTo>
                  <a:lnTo>
                    <a:pt x="297713" y="752252"/>
                  </a:lnTo>
                  <a:lnTo>
                    <a:pt x="293888" y="748426"/>
                  </a:lnTo>
                  <a:lnTo>
                    <a:pt x="306638" y="717826"/>
                  </a:lnTo>
                  <a:lnTo>
                    <a:pt x="356363" y="731214"/>
                  </a:lnTo>
                  <a:lnTo>
                    <a:pt x="368476" y="717189"/>
                  </a:lnTo>
                  <a:lnTo>
                    <a:pt x="358276" y="688501"/>
                  </a:lnTo>
                  <a:lnTo>
                    <a:pt x="398438" y="664914"/>
                  </a:lnTo>
                  <a:lnTo>
                    <a:pt x="386963" y="649614"/>
                  </a:lnTo>
                  <a:lnTo>
                    <a:pt x="397163" y="627939"/>
                  </a:lnTo>
                  <a:lnTo>
                    <a:pt x="397163" y="627939"/>
                  </a:lnTo>
                  <a:lnTo>
                    <a:pt x="394613" y="627301"/>
                  </a:lnTo>
                  <a:lnTo>
                    <a:pt x="395251" y="570564"/>
                  </a:lnTo>
                  <a:lnTo>
                    <a:pt x="409276" y="559726"/>
                  </a:lnTo>
                  <a:lnTo>
                    <a:pt x="433501" y="502988"/>
                  </a:lnTo>
                  <a:lnTo>
                    <a:pt x="428401" y="478126"/>
                  </a:lnTo>
                  <a:lnTo>
                    <a:pt x="412463" y="447526"/>
                  </a:lnTo>
                  <a:lnTo>
                    <a:pt x="422026" y="413738"/>
                  </a:lnTo>
                  <a:lnTo>
                    <a:pt x="376763" y="96900"/>
                  </a:lnTo>
                  <a:lnTo>
                    <a:pt x="370388" y="89888"/>
                  </a:lnTo>
                  <a:lnTo>
                    <a:pt x="353813" y="52275"/>
                  </a:lnTo>
                  <a:lnTo>
                    <a:pt x="340425" y="38250"/>
                  </a:lnTo>
                  <a:lnTo>
                    <a:pt x="334688" y="1275"/>
                  </a:lnTo>
                  <a:lnTo>
                    <a:pt x="334688" y="0"/>
                  </a:lnTo>
                  <a:lnTo>
                    <a:pt x="247988" y="12112"/>
                  </a:lnTo>
                  <a:lnTo>
                    <a:pt x="195713" y="18487"/>
                  </a:lnTo>
                  <a:lnTo>
                    <a:pt x="56100" y="34425"/>
                  </a:lnTo>
                  <a:lnTo>
                    <a:pt x="56100" y="34425"/>
                  </a:lnTo>
                  <a:lnTo>
                    <a:pt x="56100" y="34425"/>
                  </a:lnTo>
                  <a:close/>
                </a:path>
              </a:pathLst>
            </a:custGeom>
            <a:solidFill>
              <a:schemeClr val="bg2"/>
            </a:solidFill>
            <a:ln w="6350" cap="flat">
              <a:solidFill>
                <a:schemeClr val="bg1">
                  <a:lumMod val="95000"/>
                </a:schemeClr>
              </a:solidFill>
              <a:prstDash val="solid"/>
              <a:miter/>
            </a:ln>
          </p:spPr>
          <p:txBody>
            <a:bodyPr rtlCol="0" anchor="ctr"/>
            <a:lstStyle/>
            <a:p>
              <a:endParaRPr lang="en-KR" sz="1350"/>
            </a:p>
          </p:txBody>
        </p:sp>
        <p:sp>
          <p:nvSpPr>
            <p:cNvPr id="1266" name="Freeform 48">
              <a:extLst>
                <a:ext uri="{FF2B5EF4-FFF2-40B4-BE49-F238E27FC236}">
                  <a16:creationId xmlns:a16="http://schemas.microsoft.com/office/drawing/2014/main" id="{8AD03071-95F6-F21F-CA61-B19511A80C3A}"/>
                </a:ext>
              </a:extLst>
            </p:cNvPr>
            <p:cNvSpPr/>
            <p:nvPr/>
          </p:nvSpPr>
          <p:spPr>
            <a:xfrm>
              <a:off x="5941067" y="3047875"/>
              <a:ext cx="589688" cy="604351"/>
            </a:xfrm>
            <a:custGeom>
              <a:avLst/>
              <a:gdLst>
                <a:gd name="connsiteX0" fmla="*/ 564189 w 589688"/>
                <a:gd name="connsiteY0" fmla="*/ 434138 h 604351"/>
                <a:gd name="connsiteX1" fmla="*/ 563551 w 589688"/>
                <a:gd name="connsiteY1" fmla="*/ 415013 h 604351"/>
                <a:gd name="connsiteX2" fmla="*/ 559089 w 589688"/>
                <a:gd name="connsiteY2" fmla="*/ 431588 h 604351"/>
                <a:gd name="connsiteX3" fmla="*/ 564189 w 589688"/>
                <a:gd name="connsiteY3" fmla="*/ 434138 h 604351"/>
                <a:gd name="connsiteX4" fmla="*/ 564189 w 589688"/>
                <a:gd name="connsiteY4" fmla="*/ 434138 h 604351"/>
                <a:gd name="connsiteX5" fmla="*/ 571201 w 589688"/>
                <a:gd name="connsiteY5" fmla="*/ 404813 h 604351"/>
                <a:gd name="connsiteX6" fmla="*/ 568651 w 589688"/>
                <a:gd name="connsiteY6" fmla="*/ 390150 h 604351"/>
                <a:gd name="connsiteX7" fmla="*/ 566739 w 589688"/>
                <a:gd name="connsiteY7" fmla="*/ 399713 h 604351"/>
                <a:gd name="connsiteX8" fmla="*/ 571201 w 589688"/>
                <a:gd name="connsiteY8" fmla="*/ 404813 h 604351"/>
                <a:gd name="connsiteX9" fmla="*/ 270301 w 589688"/>
                <a:gd name="connsiteY9" fmla="*/ 0 h 604351"/>
                <a:gd name="connsiteX10" fmla="*/ 262013 w 589688"/>
                <a:gd name="connsiteY10" fmla="*/ 1912 h 604351"/>
                <a:gd name="connsiteX11" fmla="*/ 237788 w 589688"/>
                <a:gd name="connsiteY11" fmla="*/ 7012 h 604351"/>
                <a:gd name="connsiteX12" fmla="*/ 147900 w 589688"/>
                <a:gd name="connsiteY12" fmla="*/ 25500 h 604351"/>
                <a:gd name="connsiteX13" fmla="*/ 139613 w 589688"/>
                <a:gd name="connsiteY13" fmla="*/ 27412 h 604351"/>
                <a:gd name="connsiteX14" fmla="*/ 130050 w 589688"/>
                <a:gd name="connsiteY14" fmla="*/ 28688 h 604351"/>
                <a:gd name="connsiteX15" fmla="*/ 79688 w 589688"/>
                <a:gd name="connsiteY15" fmla="*/ 38887 h 604351"/>
                <a:gd name="connsiteX16" fmla="*/ 66300 w 589688"/>
                <a:gd name="connsiteY16" fmla="*/ 41438 h 604351"/>
                <a:gd name="connsiteX17" fmla="*/ 11475 w 589688"/>
                <a:gd name="connsiteY17" fmla="*/ 52275 h 604351"/>
                <a:gd name="connsiteX18" fmla="*/ 0 w 589688"/>
                <a:gd name="connsiteY18" fmla="*/ 53550 h 604351"/>
                <a:gd name="connsiteX19" fmla="*/ 637 w 589688"/>
                <a:gd name="connsiteY19" fmla="*/ 54825 h 604351"/>
                <a:gd name="connsiteX20" fmla="*/ 86700 w 589688"/>
                <a:gd name="connsiteY20" fmla="*/ 316838 h 604351"/>
                <a:gd name="connsiteX21" fmla="*/ 135150 w 589688"/>
                <a:gd name="connsiteY21" fmla="*/ 400351 h 604351"/>
                <a:gd name="connsiteX22" fmla="*/ 123675 w 589688"/>
                <a:gd name="connsiteY22" fmla="*/ 413101 h 604351"/>
                <a:gd name="connsiteX23" fmla="*/ 116663 w 589688"/>
                <a:gd name="connsiteY23" fmla="*/ 463463 h 604351"/>
                <a:gd name="connsiteX24" fmla="*/ 130688 w 589688"/>
                <a:gd name="connsiteY24" fmla="*/ 488963 h 604351"/>
                <a:gd name="connsiteX25" fmla="*/ 131963 w 589688"/>
                <a:gd name="connsiteY25" fmla="*/ 536138 h 604351"/>
                <a:gd name="connsiteX26" fmla="*/ 149175 w 589688"/>
                <a:gd name="connsiteY26" fmla="*/ 569289 h 604351"/>
                <a:gd name="connsiteX27" fmla="*/ 149175 w 589688"/>
                <a:gd name="connsiteY27" fmla="*/ 569926 h 604351"/>
                <a:gd name="connsiteX28" fmla="*/ 148538 w 589688"/>
                <a:gd name="connsiteY28" fmla="*/ 570564 h 604351"/>
                <a:gd name="connsiteX29" fmla="*/ 170213 w 589688"/>
                <a:gd name="connsiteY29" fmla="*/ 604351 h 604351"/>
                <a:gd name="connsiteX30" fmla="*/ 473026 w 589688"/>
                <a:gd name="connsiteY30" fmla="*/ 566738 h 604351"/>
                <a:gd name="connsiteX31" fmla="*/ 482589 w 589688"/>
                <a:gd name="connsiteY31" fmla="*/ 589689 h 604351"/>
                <a:gd name="connsiteX32" fmla="*/ 492788 w 589688"/>
                <a:gd name="connsiteY32" fmla="*/ 539963 h 604351"/>
                <a:gd name="connsiteX33" fmla="*/ 510001 w 589688"/>
                <a:gd name="connsiteY33" fmla="*/ 526576 h 604351"/>
                <a:gd name="connsiteX34" fmla="*/ 554626 w 589688"/>
                <a:gd name="connsiteY34" fmla="*/ 529126 h 604351"/>
                <a:gd name="connsiteX35" fmla="*/ 554626 w 589688"/>
                <a:gd name="connsiteY35" fmla="*/ 529126 h 604351"/>
                <a:gd name="connsiteX36" fmla="*/ 550801 w 589688"/>
                <a:gd name="connsiteY36" fmla="*/ 459638 h 604351"/>
                <a:gd name="connsiteX37" fmla="*/ 559089 w 589688"/>
                <a:gd name="connsiteY37" fmla="*/ 444976 h 604351"/>
                <a:gd name="connsiteX38" fmla="*/ 554626 w 589688"/>
                <a:gd name="connsiteY38" fmla="*/ 416926 h 604351"/>
                <a:gd name="connsiteX39" fmla="*/ 564189 w 589688"/>
                <a:gd name="connsiteY39" fmla="*/ 390150 h 604351"/>
                <a:gd name="connsiteX40" fmla="*/ 577576 w 589688"/>
                <a:gd name="connsiteY40" fmla="*/ 375488 h 604351"/>
                <a:gd name="connsiteX41" fmla="*/ 567376 w 589688"/>
                <a:gd name="connsiteY41" fmla="*/ 365926 h 604351"/>
                <a:gd name="connsiteX42" fmla="*/ 589689 w 589688"/>
                <a:gd name="connsiteY42" fmla="*/ 337876 h 604351"/>
                <a:gd name="connsiteX43" fmla="*/ 589051 w 589688"/>
                <a:gd name="connsiteY43" fmla="*/ 337876 h 604351"/>
                <a:gd name="connsiteX44" fmla="*/ 550801 w 589688"/>
                <a:gd name="connsiteY44" fmla="*/ 302175 h 604351"/>
                <a:gd name="connsiteX45" fmla="*/ 497888 w 589688"/>
                <a:gd name="connsiteY45" fmla="*/ 226950 h 604351"/>
                <a:gd name="connsiteX46" fmla="*/ 468563 w 589688"/>
                <a:gd name="connsiteY46" fmla="*/ 213563 h 604351"/>
                <a:gd name="connsiteX47" fmla="*/ 344888 w 589688"/>
                <a:gd name="connsiteY47" fmla="*/ 109650 h 604351"/>
                <a:gd name="connsiteX48" fmla="*/ 314288 w 589688"/>
                <a:gd name="connsiteY48" fmla="*/ 71400 h 604351"/>
                <a:gd name="connsiteX49" fmla="*/ 256276 w 589688"/>
                <a:gd name="connsiteY49" fmla="*/ 47175 h 604351"/>
                <a:gd name="connsiteX50" fmla="*/ 253088 w 589688"/>
                <a:gd name="connsiteY50" fmla="*/ 34425 h 604351"/>
                <a:gd name="connsiteX51" fmla="*/ 270301 w 589688"/>
                <a:gd name="connsiteY51" fmla="*/ 0 h 604351"/>
                <a:gd name="connsiteX52" fmla="*/ 270301 w 589688"/>
                <a:gd name="connsiteY52" fmla="*/ 0 h 604351"/>
                <a:gd name="connsiteX53" fmla="*/ 270301 w 589688"/>
                <a:gd name="connsiteY53" fmla="*/ 0 h 60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89688" h="604351">
                  <a:moveTo>
                    <a:pt x="564189" y="434138"/>
                  </a:moveTo>
                  <a:lnTo>
                    <a:pt x="563551" y="415013"/>
                  </a:lnTo>
                  <a:lnTo>
                    <a:pt x="559089" y="431588"/>
                  </a:lnTo>
                  <a:lnTo>
                    <a:pt x="564189" y="434138"/>
                  </a:lnTo>
                  <a:lnTo>
                    <a:pt x="564189" y="434138"/>
                  </a:lnTo>
                  <a:close/>
                  <a:moveTo>
                    <a:pt x="571201" y="404813"/>
                  </a:moveTo>
                  <a:lnTo>
                    <a:pt x="568651" y="390150"/>
                  </a:lnTo>
                  <a:lnTo>
                    <a:pt x="566739" y="399713"/>
                  </a:lnTo>
                  <a:lnTo>
                    <a:pt x="571201" y="404813"/>
                  </a:lnTo>
                  <a:close/>
                  <a:moveTo>
                    <a:pt x="270301" y="0"/>
                  </a:moveTo>
                  <a:lnTo>
                    <a:pt x="262013" y="1912"/>
                  </a:lnTo>
                  <a:lnTo>
                    <a:pt x="237788" y="7012"/>
                  </a:lnTo>
                  <a:lnTo>
                    <a:pt x="147900" y="25500"/>
                  </a:lnTo>
                  <a:lnTo>
                    <a:pt x="139613" y="27412"/>
                  </a:lnTo>
                  <a:lnTo>
                    <a:pt x="130050" y="28688"/>
                  </a:lnTo>
                  <a:lnTo>
                    <a:pt x="79688" y="38887"/>
                  </a:lnTo>
                  <a:lnTo>
                    <a:pt x="66300" y="41438"/>
                  </a:lnTo>
                  <a:lnTo>
                    <a:pt x="11475" y="52275"/>
                  </a:lnTo>
                  <a:lnTo>
                    <a:pt x="0" y="53550"/>
                  </a:lnTo>
                  <a:lnTo>
                    <a:pt x="637" y="54825"/>
                  </a:lnTo>
                  <a:lnTo>
                    <a:pt x="86700" y="316838"/>
                  </a:lnTo>
                  <a:lnTo>
                    <a:pt x="135150" y="400351"/>
                  </a:lnTo>
                  <a:lnTo>
                    <a:pt x="123675" y="413101"/>
                  </a:lnTo>
                  <a:lnTo>
                    <a:pt x="116663" y="463463"/>
                  </a:lnTo>
                  <a:lnTo>
                    <a:pt x="130688" y="488963"/>
                  </a:lnTo>
                  <a:lnTo>
                    <a:pt x="131963" y="536138"/>
                  </a:lnTo>
                  <a:lnTo>
                    <a:pt x="149175" y="569289"/>
                  </a:lnTo>
                  <a:lnTo>
                    <a:pt x="149175" y="569926"/>
                  </a:lnTo>
                  <a:lnTo>
                    <a:pt x="148538" y="570564"/>
                  </a:lnTo>
                  <a:lnTo>
                    <a:pt x="170213" y="604351"/>
                  </a:lnTo>
                  <a:lnTo>
                    <a:pt x="473026" y="566738"/>
                  </a:lnTo>
                  <a:lnTo>
                    <a:pt x="482589" y="589689"/>
                  </a:lnTo>
                  <a:lnTo>
                    <a:pt x="492788" y="539963"/>
                  </a:lnTo>
                  <a:lnTo>
                    <a:pt x="510001" y="526576"/>
                  </a:lnTo>
                  <a:lnTo>
                    <a:pt x="554626" y="529126"/>
                  </a:lnTo>
                  <a:lnTo>
                    <a:pt x="554626" y="529126"/>
                  </a:lnTo>
                  <a:lnTo>
                    <a:pt x="550801" y="459638"/>
                  </a:lnTo>
                  <a:lnTo>
                    <a:pt x="559089" y="444976"/>
                  </a:lnTo>
                  <a:lnTo>
                    <a:pt x="554626" y="416926"/>
                  </a:lnTo>
                  <a:lnTo>
                    <a:pt x="564189" y="390150"/>
                  </a:lnTo>
                  <a:lnTo>
                    <a:pt x="577576" y="375488"/>
                  </a:lnTo>
                  <a:lnTo>
                    <a:pt x="567376" y="365926"/>
                  </a:lnTo>
                  <a:lnTo>
                    <a:pt x="589689" y="337876"/>
                  </a:lnTo>
                  <a:lnTo>
                    <a:pt x="589051" y="337876"/>
                  </a:lnTo>
                  <a:lnTo>
                    <a:pt x="550801" y="302175"/>
                  </a:lnTo>
                  <a:lnTo>
                    <a:pt x="497888" y="226950"/>
                  </a:lnTo>
                  <a:lnTo>
                    <a:pt x="468563" y="213563"/>
                  </a:lnTo>
                  <a:lnTo>
                    <a:pt x="344888" y="109650"/>
                  </a:lnTo>
                  <a:lnTo>
                    <a:pt x="314288" y="71400"/>
                  </a:lnTo>
                  <a:lnTo>
                    <a:pt x="256276" y="47175"/>
                  </a:lnTo>
                  <a:lnTo>
                    <a:pt x="253088" y="34425"/>
                  </a:lnTo>
                  <a:lnTo>
                    <a:pt x="270301" y="0"/>
                  </a:lnTo>
                  <a:lnTo>
                    <a:pt x="270301" y="0"/>
                  </a:lnTo>
                  <a:lnTo>
                    <a:pt x="270301" y="0"/>
                  </a:lnTo>
                  <a:close/>
                </a:path>
              </a:pathLst>
            </a:custGeom>
            <a:solidFill>
              <a:schemeClr val="bg2"/>
            </a:solidFill>
            <a:ln w="6350" cap="flat">
              <a:solidFill>
                <a:schemeClr val="bg1">
                  <a:lumMod val="95000"/>
                </a:schemeClr>
              </a:solidFill>
              <a:prstDash val="solid"/>
              <a:miter/>
            </a:ln>
          </p:spPr>
          <p:txBody>
            <a:bodyPr rtlCol="0" anchor="ctr"/>
            <a:lstStyle/>
            <a:p>
              <a:endParaRPr lang="en-KR" sz="1350"/>
            </a:p>
          </p:txBody>
        </p:sp>
        <p:sp>
          <p:nvSpPr>
            <p:cNvPr id="1244" name="Freeform 26">
              <a:extLst>
                <a:ext uri="{FF2B5EF4-FFF2-40B4-BE49-F238E27FC236}">
                  <a16:creationId xmlns:a16="http://schemas.microsoft.com/office/drawing/2014/main" id="{5C348297-DF38-AF0D-1650-BE0F096DACCC}"/>
                </a:ext>
              </a:extLst>
            </p:cNvPr>
            <p:cNvSpPr/>
            <p:nvPr/>
          </p:nvSpPr>
          <p:spPr>
            <a:xfrm>
              <a:off x="1902496" y="1937348"/>
              <a:ext cx="890589" cy="1456690"/>
            </a:xfrm>
            <a:custGeom>
              <a:avLst/>
              <a:gdLst>
                <a:gd name="connsiteX0" fmla="*/ 368476 w 890589"/>
                <a:gd name="connsiteY0" fmla="*/ 1331103 h 1456690"/>
                <a:gd name="connsiteX1" fmla="*/ 371026 w 890589"/>
                <a:gd name="connsiteY1" fmla="*/ 1345128 h 1456690"/>
                <a:gd name="connsiteX2" fmla="*/ 371026 w 890589"/>
                <a:gd name="connsiteY2" fmla="*/ 1347678 h 1456690"/>
                <a:gd name="connsiteX3" fmla="*/ 368476 w 890589"/>
                <a:gd name="connsiteY3" fmla="*/ 1331103 h 1456690"/>
                <a:gd name="connsiteX4" fmla="*/ 368476 w 890589"/>
                <a:gd name="connsiteY4" fmla="*/ 1331103 h 1456690"/>
                <a:gd name="connsiteX5" fmla="*/ 273488 w 890589"/>
                <a:gd name="connsiteY5" fmla="*/ 1275640 h 1456690"/>
                <a:gd name="connsiteX6" fmla="*/ 277951 w 890589"/>
                <a:gd name="connsiteY6" fmla="*/ 1285840 h 1456690"/>
                <a:gd name="connsiteX7" fmla="*/ 280501 w 890589"/>
                <a:gd name="connsiteY7" fmla="*/ 1285202 h 1456690"/>
                <a:gd name="connsiteX8" fmla="*/ 273488 w 890589"/>
                <a:gd name="connsiteY8" fmla="*/ 1275640 h 1456690"/>
                <a:gd name="connsiteX9" fmla="*/ 273488 w 890589"/>
                <a:gd name="connsiteY9" fmla="*/ 1275640 h 1456690"/>
                <a:gd name="connsiteX10" fmla="*/ 386326 w 890589"/>
                <a:gd name="connsiteY10" fmla="*/ 1273728 h 1456690"/>
                <a:gd name="connsiteX11" fmla="*/ 388238 w 890589"/>
                <a:gd name="connsiteY11" fmla="*/ 1290302 h 1456690"/>
                <a:gd name="connsiteX12" fmla="*/ 399713 w 890589"/>
                <a:gd name="connsiteY12" fmla="*/ 1298590 h 1456690"/>
                <a:gd name="connsiteX13" fmla="*/ 386326 w 890589"/>
                <a:gd name="connsiteY13" fmla="*/ 1273728 h 1456690"/>
                <a:gd name="connsiteX14" fmla="*/ 308551 w 890589"/>
                <a:gd name="connsiteY14" fmla="*/ 1182565 h 1456690"/>
                <a:gd name="connsiteX15" fmla="*/ 301538 w 890589"/>
                <a:gd name="connsiteY15" fmla="*/ 1180652 h 1456690"/>
                <a:gd name="connsiteX16" fmla="*/ 307276 w 890589"/>
                <a:gd name="connsiteY16" fmla="*/ 1183202 h 1456690"/>
                <a:gd name="connsiteX17" fmla="*/ 308551 w 890589"/>
                <a:gd name="connsiteY17" fmla="*/ 1182565 h 1456690"/>
                <a:gd name="connsiteX18" fmla="*/ 308551 w 890589"/>
                <a:gd name="connsiteY18" fmla="*/ 1182565 h 1456690"/>
                <a:gd name="connsiteX19" fmla="*/ 237150 w 890589"/>
                <a:gd name="connsiteY19" fmla="*/ 1162802 h 1456690"/>
                <a:gd name="connsiteX20" fmla="*/ 219938 w 890589"/>
                <a:gd name="connsiteY20" fmla="*/ 1173640 h 1456690"/>
                <a:gd name="connsiteX21" fmla="*/ 224400 w 890589"/>
                <a:gd name="connsiteY21" fmla="*/ 1178102 h 1456690"/>
                <a:gd name="connsiteX22" fmla="*/ 237150 w 890589"/>
                <a:gd name="connsiteY22" fmla="*/ 1162802 h 1456690"/>
                <a:gd name="connsiteX23" fmla="*/ 204000 w 890589"/>
                <a:gd name="connsiteY23" fmla="*/ 1151327 h 1456690"/>
                <a:gd name="connsiteX24" fmla="*/ 202725 w 890589"/>
                <a:gd name="connsiteY24" fmla="*/ 1156427 h 1456690"/>
                <a:gd name="connsiteX25" fmla="*/ 208463 w 890589"/>
                <a:gd name="connsiteY25" fmla="*/ 1157702 h 1456690"/>
                <a:gd name="connsiteX26" fmla="*/ 204000 w 890589"/>
                <a:gd name="connsiteY26" fmla="*/ 1151327 h 1456690"/>
                <a:gd name="connsiteX27" fmla="*/ 204000 w 890589"/>
                <a:gd name="connsiteY27" fmla="*/ 1151327 h 1456690"/>
                <a:gd name="connsiteX28" fmla="*/ 260738 w 890589"/>
                <a:gd name="connsiteY28" fmla="*/ 1163440 h 1456690"/>
                <a:gd name="connsiteX29" fmla="*/ 289426 w 890589"/>
                <a:gd name="connsiteY29" fmla="*/ 1179377 h 1456690"/>
                <a:gd name="connsiteX30" fmla="*/ 294526 w 890589"/>
                <a:gd name="connsiteY30" fmla="*/ 1174915 h 1456690"/>
                <a:gd name="connsiteX31" fmla="*/ 260738 w 890589"/>
                <a:gd name="connsiteY31" fmla="*/ 1163440 h 1456690"/>
                <a:gd name="connsiteX32" fmla="*/ 41438 w 890589"/>
                <a:gd name="connsiteY32" fmla="*/ 597976 h 1456690"/>
                <a:gd name="connsiteX33" fmla="*/ 41438 w 890589"/>
                <a:gd name="connsiteY33" fmla="*/ 597976 h 1456690"/>
                <a:gd name="connsiteX34" fmla="*/ 41438 w 890589"/>
                <a:gd name="connsiteY34" fmla="*/ 597976 h 1456690"/>
                <a:gd name="connsiteX35" fmla="*/ 41438 w 890589"/>
                <a:gd name="connsiteY35" fmla="*/ 597976 h 1456690"/>
                <a:gd name="connsiteX36" fmla="*/ 110288 w 890589"/>
                <a:gd name="connsiteY36" fmla="*/ 601164 h 1456690"/>
                <a:gd name="connsiteX37" fmla="*/ 109650 w 890589"/>
                <a:gd name="connsiteY37" fmla="*/ 599251 h 1456690"/>
                <a:gd name="connsiteX38" fmla="*/ 110288 w 890589"/>
                <a:gd name="connsiteY38" fmla="*/ 601164 h 1456690"/>
                <a:gd name="connsiteX39" fmla="*/ 110288 w 890589"/>
                <a:gd name="connsiteY39" fmla="*/ 601164 h 1456690"/>
                <a:gd name="connsiteX40" fmla="*/ 110288 w 890589"/>
                <a:gd name="connsiteY40" fmla="*/ 601164 h 1456690"/>
                <a:gd name="connsiteX41" fmla="*/ 480676 w 890589"/>
                <a:gd name="connsiteY41" fmla="*/ 113475 h 1456690"/>
                <a:gd name="connsiteX42" fmla="*/ 455813 w 890589"/>
                <a:gd name="connsiteY42" fmla="*/ 107100 h 1456690"/>
                <a:gd name="connsiteX43" fmla="*/ 181050 w 890589"/>
                <a:gd name="connsiteY43" fmla="*/ 31238 h 1456690"/>
                <a:gd name="connsiteX44" fmla="*/ 79050 w 890589"/>
                <a:gd name="connsiteY44" fmla="*/ 0 h 1456690"/>
                <a:gd name="connsiteX45" fmla="*/ 79050 w 890589"/>
                <a:gd name="connsiteY45" fmla="*/ 2550 h 1456690"/>
                <a:gd name="connsiteX46" fmla="*/ 73313 w 890589"/>
                <a:gd name="connsiteY46" fmla="*/ 66300 h 1456690"/>
                <a:gd name="connsiteX47" fmla="*/ 45900 w 890589"/>
                <a:gd name="connsiteY47" fmla="*/ 141525 h 1456690"/>
                <a:gd name="connsiteX48" fmla="*/ 638 w 890589"/>
                <a:gd name="connsiteY48" fmla="*/ 196988 h 1456690"/>
                <a:gd name="connsiteX49" fmla="*/ 0 w 890589"/>
                <a:gd name="connsiteY49" fmla="*/ 225038 h 1456690"/>
                <a:gd name="connsiteX50" fmla="*/ 21675 w 890589"/>
                <a:gd name="connsiteY50" fmla="*/ 263926 h 1456690"/>
                <a:gd name="connsiteX51" fmla="*/ 33150 w 890589"/>
                <a:gd name="connsiteY51" fmla="*/ 315563 h 1456690"/>
                <a:gd name="connsiteX52" fmla="*/ 17850 w 890589"/>
                <a:gd name="connsiteY52" fmla="*/ 357001 h 1456690"/>
                <a:gd name="connsiteX53" fmla="*/ 20400 w 890589"/>
                <a:gd name="connsiteY53" fmla="*/ 398438 h 1456690"/>
                <a:gd name="connsiteX54" fmla="*/ 12750 w 890589"/>
                <a:gd name="connsiteY54" fmla="*/ 415651 h 1456690"/>
                <a:gd name="connsiteX55" fmla="*/ 39525 w 890589"/>
                <a:gd name="connsiteY55" fmla="*/ 472388 h 1456690"/>
                <a:gd name="connsiteX56" fmla="*/ 56100 w 890589"/>
                <a:gd name="connsiteY56" fmla="*/ 494064 h 1456690"/>
                <a:gd name="connsiteX57" fmla="*/ 54825 w 890589"/>
                <a:gd name="connsiteY57" fmla="*/ 556539 h 1456690"/>
                <a:gd name="connsiteX58" fmla="*/ 94350 w 890589"/>
                <a:gd name="connsiteY58" fmla="*/ 594151 h 1456690"/>
                <a:gd name="connsiteX59" fmla="*/ 117300 w 890589"/>
                <a:gd name="connsiteY59" fmla="*/ 555901 h 1456690"/>
                <a:gd name="connsiteX60" fmla="*/ 142163 w 890589"/>
                <a:gd name="connsiteY60" fmla="*/ 575664 h 1456690"/>
                <a:gd name="connsiteX61" fmla="*/ 152363 w 890589"/>
                <a:gd name="connsiteY61" fmla="*/ 566101 h 1456690"/>
                <a:gd name="connsiteX62" fmla="*/ 117938 w 890589"/>
                <a:gd name="connsiteY62" fmla="*/ 572476 h 1456690"/>
                <a:gd name="connsiteX63" fmla="*/ 117300 w 890589"/>
                <a:gd name="connsiteY63" fmla="*/ 605626 h 1456690"/>
                <a:gd name="connsiteX64" fmla="*/ 124313 w 890589"/>
                <a:gd name="connsiteY64" fmla="*/ 646426 h 1456690"/>
                <a:gd name="connsiteX65" fmla="*/ 103913 w 890589"/>
                <a:gd name="connsiteY65" fmla="*/ 629214 h 1456690"/>
                <a:gd name="connsiteX66" fmla="*/ 92438 w 890589"/>
                <a:gd name="connsiteY66" fmla="*/ 604351 h 1456690"/>
                <a:gd name="connsiteX67" fmla="*/ 89250 w 890589"/>
                <a:gd name="connsiteY67" fmla="*/ 638776 h 1456690"/>
                <a:gd name="connsiteX68" fmla="*/ 98813 w 890589"/>
                <a:gd name="connsiteY68" fmla="*/ 707626 h 1456690"/>
                <a:gd name="connsiteX69" fmla="*/ 134513 w 890589"/>
                <a:gd name="connsiteY69" fmla="*/ 752252 h 1456690"/>
                <a:gd name="connsiteX70" fmla="*/ 110925 w 890589"/>
                <a:gd name="connsiteY70" fmla="*/ 783489 h 1456690"/>
                <a:gd name="connsiteX71" fmla="*/ 114750 w 890589"/>
                <a:gd name="connsiteY71" fmla="*/ 822377 h 1456690"/>
                <a:gd name="connsiteX72" fmla="*/ 140250 w 890589"/>
                <a:gd name="connsiteY72" fmla="*/ 861902 h 1456690"/>
                <a:gd name="connsiteX73" fmla="*/ 185513 w 890589"/>
                <a:gd name="connsiteY73" fmla="*/ 984939 h 1456690"/>
                <a:gd name="connsiteX74" fmla="*/ 199538 w 890589"/>
                <a:gd name="connsiteY74" fmla="*/ 992590 h 1456690"/>
                <a:gd name="connsiteX75" fmla="*/ 195075 w 890589"/>
                <a:gd name="connsiteY75" fmla="*/ 1078015 h 1456690"/>
                <a:gd name="connsiteX76" fmla="*/ 202088 w 890589"/>
                <a:gd name="connsiteY76" fmla="*/ 1088852 h 1456690"/>
                <a:gd name="connsiteX77" fmla="*/ 298988 w 890589"/>
                <a:gd name="connsiteY77" fmla="*/ 1123277 h 1456690"/>
                <a:gd name="connsiteX78" fmla="*/ 328951 w 890589"/>
                <a:gd name="connsiteY78" fmla="*/ 1155152 h 1456690"/>
                <a:gd name="connsiteX79" fmla="*/ 339788 w 890589"/>
                <a:gd name="connsiteY79" fmla="*/ 1175552 h 1456690"/>
                <a:gd name="connsiteX80" fmla="*/ 368476 w 890589"/>
                <a:gd name="connsiteY80" fmla="*/ 1191490 h 1456690"/>
                <a:gd name="connsiteX81" fmla="*/ 399713 w 890589"/>
                <a:gd name="connsiteY81" fmla="*/ 1197227 h 1456690"/>
                <a:gd name="connsiteX82" fmla="*/ 412463 w 890589"/>
                <a:gd name="connsiteY82" fmla="*/ 1232290 h 1456690"/>
                <a:gd name="connsiteX83" fmla="*/ 437963 w 890589"/>
                <a:gd name="connsiteY83" fmla="*/ 1244403 h 1456690"/>
                <a:gd name="connsiteX84" fmla="*/ 476213 w 890589"/>
                <a:gd name="connsiteY84" fmla="*/ 1290302 h 1456690"/>
                <a:gd name="connsiteX85" fmla="*/ 511914 w 890589"/>
                <a:gd name="connsiteY85" fmla="*/ 1349590 h 1456690"/>
                <a:gd name="connsiteX86" fmla="*/ 509363 w 890589"/>
                <a:gd name="connsiteY86" fmla="*/ 1404415 h 1456690"/>
                <a:gd name="connsiteX87" fmla="*/ 529126 w 890589"/>
                <a:gd name="connsiteY87" fmla="*/ 1431190 h 1456690"/>
                <a:gd name="connsiteX88" fmla="*/ 791777 w 890589"/>
                <a:gd name="connsiteY88" fmla="*/ 1456690 h 1456690"/>
                <a:gd name="connsiteX89" fmla="*/ 791777 w 890589"/>
                <a:gd name="connsiteY89" fmla="*/ 1456690 h 1456690"/>
                <a:gd name="connsiteX90" fmla="*/ 814727 w 890589"/>
                <a:gd name="connsiteY90" fmla="*/ 1455415 h 1456690"/>
                <a:gd name="connsiteX91" fmla="*/ 825564 w 890589"/>
                <a:gd name="connsiteY91" fmla="*/ 1426728 h 1456690"/>
                <a:gd name="connsiteX92" fmla="*/ 805802 w 890589"/>
                <a:gd name="connsiteY92" fmla="*/ 1412065 h 1456690"/>
                <a:gd name="connsiteX93" fmla="*/ 806439 w 890589"/>
                <a:gd name="connsiteY93" fmla="*/ 1364890 h 1456690"/>
                <a:gd name="connsiteX94" fmla="*/ 817914 w 890589"/>
                <a:gd name="connsiteY94" fmla="*/ 1362340 h 1456690"/>
                <a:gd name="connsiteX95" fmla="*/ 840864 w 890589"/>
                <a:gd name="connsiteY95" fmla="*/ 1306240 h 1456690"/>
                <a:gd name="connsiteX96" fmla="*/ 854889 w 890589"/>
                <a:gd name="connsiteY96" fmla="*/ 1279465 h 1456690"/>
                <a:gd name="connsiteX97" fmla="*/ 890589 w 890589"/>
                <a:gd name="connsiteY97" fmla="*/ 1258427 h 1456690"/>
                <a:gd name="connsiteX98" fmla="*/ 870827 w 890589"/>
                <a:gd name="connsiteY98" fmla="*/ 1231015 h 1456690"/>
                <a:gd name="connsiteX99" fmla="*/ 848514 w 890589"/>
                <a:gd name="connsiteY99" fmla="*/ 1171090 h 1456690"/>
                <a:gd name="connsiteX100" fmla="*/ 849789 w 890589"/>
                <a:gd name="connsiteY100" fmla="*/ 1155152 h 1456690"/>
                <a:gd name="connsiteX101" fmla="*/ 849789 w 890589"/>
                <a:gd name="connsiteY101" fmla="*/ 1154515 h 1456690"/>
                <a:gd name="connsiteX102" fmla="*/ 833214 w 890589"/>
                <a:gd name="connsiteY102" fmla="*/ 1132202 h 1456690"/>
                <a:gd name="connsiteX103" fmla="*/ 781577 w 890589"/>
                <a:gd name="connsiteY103" fmla="*/ 1063352 h 1456690"/>
                <a:gd name="connsiteX104" fmla="*/ 682126 w 890589"/>
                <a:gd name="connsiteY104" fmla="*/ 923102 h 1456690"/>
                <a:gd name="connsiteX105" fmla="*/ 541876 w 890589"/>
                <a:gd name="connsiteY105" fmla="*/ 725476 h 1456690"/>
                <a:gd name="connsiteX106" fmla="*/ 464101 w 890589"/>
                <a:gd name="connsiteY106" fmla="*/ 617739 h 1456690"/>
                <a:gd name="connsiteX107" fmla="*/ 388238 w 890589"/>
                <a:gd name="connsiteY107" fmla="*/ 508726 h 1456690"/>
                <a:gd name="connsiteX108" fmla="*/ 475576 w 890589"/>
                <a:gd name="connsiteY108" fmla="*/ 138338 h 1456690"/>
                <a:gd name="connsiteX109" fmla="*/ 480676 w 890589"/>
                <a:gd name="connsiteY109" fmla="*/ 113475 h 1456690"/>
                <a:gd name="connsiteX110" fmla="*/ 480676 w 890589"/>
                <a:gd name="connsiteY110" fmla="*/ 113475 h 14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90589" h="1456690">
                  <a:moveTo>
                    <a:pt x="368476" y="1331103"/>
                  </a:moveTo>
                  <a:lnTo>
                    <a:pt x="371026" y="1345128"/>
                  </a:lnTo>
                  <a:lnTo>
                    <a:pt x="371026" y="1347678"/>
                  </a:lnTo>
                  <a:lnTo>
                    <a:pt x="368476" y="1331103"/>
                  </a:lnTo>
                  <a:lnTo>
                    <a:pt x="368476" y="1331103"/>
                  </a:lnTo>
                  <a:close/>
                  <a:moveTo>
                    <a:pt x="273488" y="1275640"/>
                  </a:moveTo>
                  <a:lnTo>
                    <a:pt x="277951" y="1285840"/>
                  </a:lnTo>
                  <a:lnTo>
                    <a:pt x="280501" y="1285202"/>
                  </a:lnTo>
                  <a:lnTo>
                    <a:pt x="273488" y="1275640"/>
                  </a:lnTo>
                  <a:lnTo>
                    <a:pt x="273488" y="1275640"/>
                  </a:lnTo>
                  <a:close/>
                  <a:moveTo>
                    <a:pt x="386326" y="1273728"/>
                  </a:moveTo>
                  <a:lnTo>
                    <a:pt x="388238" y="1290302"/>
                  </a:lnTo>
                  <a:lnTo>
                    <a:pt x="399713" y="1298590"/>
                  </a:lnTo>
                  <a:lnTo>
                    <a:pt x="386326" y="1273728"/>
                  </a:lnTo>
                  <a:close/>
                  <a:moveTo>
                    <a:pt x="308551" y="1182565"/>
                  </a:moveTo>
                  <a:lnTo>
                    <a:pt x="301538" y="1180652"/>
                  </a:lnTo>
                  <a:lnTo>
                    <a:pt x="307276" y="1183202"/>
                  </a:lnTo>
                  <a:lnTo>
                    <a:pt x="308551" y="1182565"/>
                  </a:lnTo>
                  <a:lnTo>
                    <a:pt x="308551" y="1182565"/>
                  </a:lnTo>
                  <a:close/>
                  <a:moveTo>
                    <a:pt x="237150" y="1162802"/>
                  </a:moveTo>
                  <a:lnTo>
                    <a:pt x="219938" y="1173640"/>
                  </a:lnTo>
                  <a:lnTo>
                    <a:pt x="224400" y="1178102"/>
                  </a:lnTo>
                  <a:lnTo>
                    <a:pt x="237150" y="1162802"/>
                  </a:lnTo>
                  <a:close/>
                  <a:moveTo>
                    <a:pt x="204000" y="1151327"/>
                  </a:moveTo>
                  <a:lnTo>
                    <a:pt x="202725" y="1156427"/>
                  </a:lnTo>
                  <a:lnTo>
                    <a:pt x="208463" y="1157702"/>
                  </a:lnTo>
                  <a:lnTo>
                    <a:pt x="204000" y="1151327"/>
                  </a:lnTo>
                  <a:lnTo>
                    <a:pt x="204000" y="1151327"/>
                  </a:lnTo>
                  <a:close/>
                  <a:moveTo>
                    <a:pt x="260738" y="1163440"/>
                  </a:moveTo>
                  <a:lnTo>
                    <a:pt x="289426" y="1179377"/>
                  </a:lnTo>
                  <a:lnTo>
                    <a:pt x="294526" y="1174915"/>
                  </a:lnTo>
                  <a:lnTo>
                    <a:pt x="260738" y="1163440"/>
                  </a:lnTo>
                  <a:close/>
                  <a:moveTo>
                    <a:pt x="41438" y="597976"/>
                  </a:moveTo>
                  <a:lnTo>
                    <a:pt x="41438" y="597976"/>
                  </a:lnTo>
                  <a:lnTo>
                    <a:pt x="41438" y="597976"/>
                  </a:lnTo>
                  <a:lnTo>
                    <a:pt x="41438" y="597976"/>
                  </a:lnTo>
                  <a:close/>
                  <a:moveTo>
                    <a:pt x="110288" y="601164"/>
                  </a:moveTo>
                  <a:lnTo>
                    <a:pt x="109650" y="599251"/>
                  </a:lnTo>
                  <a:lnTo>
                    <a:pt x="110288" y="601164"/>
                  </a:lnTo>
                  <a:lnTo>
                    <a:pt x="110288" y="601164"/>
                  </a:lnTo>
                  <a:lnTo>
                    <a:pt x="110288" y="601164"/>
                  </a:lnTo>
                  <a:close/>
                  <a:moveTo>
                    <a:pt x="480676" y="113475"/>
                  </a:moveTo>
                  <a:lnTo>
                    <a:pt x="455813" y="107100"/>
                  </a:lnTo>
                  <a:lnTo>
                    <a:pt x="181050" y="31238"/>
                  </a:lnTo>
                  <a:lnTo>
                    <a:pt x="79050" y="0"/>
                  </a:lnTo>
                  <a:lnTo>
                    <a:pt x="79050" y="2550"/>
                  </a:lnTo>
                  <a:lnTo>
                    <a:pt x="73313" y="66300"/>
                  </a:lnTo>
                  <a:lnTo>
                    <a:pt x="45900" y="141525"/>
                  </a:lnTo>
                  <a:lnTo>
                    <a:pt x="638" y="196988"/>
                  </a:lnTo>
                  <a:lnTo>
                    <a:pt x="0" y="225038"/>
                  </a:lnTo>
                  <a:lnTo>
                    <a:pt x="21675" y="263926"/>
                  </a:lnTo>
                  <a:lnTo>
                    <a:pt x="33150" y="315563"/>
                  </a:lnTo>
                  <a:lnTo>
                    <a:pt x="17850" y="357001"/>
                  </a:lnTo>
                  <a:lnTo>
                    <a:pt x="20400" y="398438"/>
                  </a:lnTo>
                  <a:lnTo>
                    <a:pt x="12750" y="415651"/>
                  </a:lnTo>
                  <a:lnTo>
                    <a:pt x="39525" y="472388"/>
                  </a:lnTo>
                  <a:lnTo>
                    <a:pt x="56100" y="494064"/>
                  </a:lnTo>
                  <a:lnTo>
                    <a:pt x="54825" y="556539"/>
                  </a:lnTo>
                  <a:lnTo>
                    <a:pt x="94350" y="594151"/>
                  </a:lnTo>
                  <a:lnTo>
                    <a:pt x="117300" y="555901"/>
                  </a:lnTo>
                  <a:lnTo>
                    <a:pt x="142163" y="575664"/>
                  </a:lnTo>
                  <a:lnTo>
                    <a:pt x="152363" y="566101"/>
                  </a:lnTo>
                  <a:lnTo>
                    <a:pt x="117938" y="572476"/>
                  </a:lnTo>
                  <a:lnTo>
                    <a:pt x="117300" y="605626"/>
                  </a:lnTo>
                  <a:lnTo>
                    <a:pt x="124313" y="646426"/>
                  </a:lnTo>
                  <a:lnTo>
                    <a:pt x="103913" y="629214"/>
                  </a:lnTo>
                  <a:lnTo>
                    <a:pt x="92438" y="604351"/>
                  </a:lnTo>
                  <a:lnTo>
                    <a:pt x="89250" y="638776"/>
                  </a:lnTo>
                  <a:lnTo>
                    <a:pt x="98813" y="707626"/>
                  </a:lnTo>
                  <a:lnTo>
                    <a:pt x="134513" y="752252"/>
                  </a:lnTo>
                  <a:lnTo>
                    <a:pt x="110925" y="783489"/>
                  </a:lnTo>
                  <a:lnTo>
                    <a:pt x="114750" y="822377"/>
                  </a:lnTo>
                  <a:lnTo>
                    <a:pt x="140250" y="861902"/>
                  </a:lnTo>
                  <a:lnTo>
                    <a:pt x="185513" y="984939"/>
                  </a:lnTo>
                  <a:lnTo>
                    <a:pt x="199538" y="992590"/>
                  </a:lnTo>
                  <a:lnTo>
                    <a:pt x="195075" y="1078015"/>
                  </a:lnTo>
                  <a:lnTo>
                    <a:pt x="202088" y="1088852"/>
                  </a:lnTo>
                  <a:lnTo>
                    <a:pt x="298988" y="1123277"/>
                  </a:lnTo>
                  <a:lnTo>
                    <a:pt x="328951" y="1155152"/>
                  </a:lnTo>
                  <a:lnTo>
                    <a:pt x="339788" y="1175552"/>
                  </a:lnTo>
                  <a:lnTo>
                    <a:pt x="368476" y="1191490"/>
                  </a:lnTo>
                  <a:lnTo>
                    <a:pt x="399713" y="1197227"/>
                  </a:lnTo>
                  <a:lnTo>
                    <a:pt x="412463" y="1232290"/>
                  </a:lnTo>
                  <a:lnTo>
                    <a:pt x="437963" y="1244403"/>
                  </a:lnTo>
                  <a:lnTo>
                    <a:pt x="476213" y="1290302"/>
                  </a:lnTo>
                  <a:lnTo>
                    <a:pt x="511914" y="1349590"/>
                  </a:lnTo>
                  <a:lnTo>
                    <a:pt x="509363" y="1404415"/>
                  </a:lnTo>
                  <a:lnTo>
                    <a:pt x="529126" y="1431190"/>
                  </a:lnTo>
                  <a:lnTo>
                    <a:pt x="791777" y="1456690"/>
                  </a:lnTo>
                  <a:lnTo>
                    <a:pt x="791777" y="1456690"/>
                  </a:lnTo>
                  <a:lnTo>
                    <a:pt x="814727" y="1455415"/>
                  </a:lnTo>
                  <a:lnTo>
                    <a:pt x="825564" y="1426728"/>
                  </a:lnTo>
                  <a:lnTo>
                    <a:pt x="805802" y="1412065"/>
                  </a:lnTo>
                  <a:lnTo>
                    <a:pt x="806439" y="1364890"/>
                  </a:lnTo>
                  <a:lnTo>
                    <a:pt x="817914" y="1362340"/>
                  </a:lnTo>
                  <a:lnTo>
                    <a:pt x="840864" y="1306240"/>
                  </a:lnTo>
                  <a:lnTo>
                    <a:pt x="854889" y="1279465"/>
                  </a:lnTo>
                  <a:lnTo>
                    <a:pt x="890589" y="1258427"/>
                  </a:lnTo>
                  <a:lnTo>
                    <a:pt x="870827" y="1231015"/>
                  </a:lnTo>
                  <a:lnTo>
                    <a:pt x="848514" y="1171090"/>
                  </a:lnTo>
                  <a:lnTo>
                    <a:pt x="849789" y="1155152"/>
                  </a:lnTo>
                  <a:lnTo>
                    <a:pt x="849789" y="1154515"/>
                  </a:lnTo>
                  <a:lnTo>
                    <a:pt x="833214" y="1132202"/>
                  </a:lnTo>
                  <a:lnTo>
                    <a:pt x="781577" y="1063352"/>
                  </a:lnTo>
                  <a:lnTo>
                    <a:pt x="682126" y="923102"/>
                  </a:lnTo>
                  <a:lnTo>
                    <a:pt x="541876" y="725476"/>
                  </a:lnTo>
                  <a:lnTo>
                    <a:pt x="464101" y="617739"/>
                  </a:lnTo>
                  <a:lnTo>
                    <a:pt x="388238" y="508726"/>
                  </a:lnTo>
                  <a:lnTo>
                    <a:pt x="475576" y="138338"/>
                  </a:lnTo>
                  <a:lnTo>
                    <a:pt x="480676" y="113475"/>
                  </a:lnTo>
                  <a:lnTo>
                    <a:pt x="480676" y="113475"/>
                  </a:lnTo>
                  <a:close/>
                </a:path>
              </a:pathLst>
            </a:custGeom>
            <a:solidFill>
              <a:schemeClr val="bg2"/>
            </a:solidFill>
            <a:ln w="28575" cap="flat">
              <a:solidFill>
                <a:schemeClr val="accent5"/>
              </a:solidFill>
              <a:prstDash val="solid"/>
              <a:miter/>
            </a:ln>
          </p:spPr>
          <p:txBody>
            <a:bodyPr rtlCol="0" anchor="ctr"/>
            <a:lstStyle/>
            <a:p>
              <a:endParaRPr lang="en-KR" sz="1350"/>
            </a:p>
          </p:txBody>
        </p:sp>
      </p:grpSp>
      <p:pic>
        <p:nvPicPr>
          <p:cNvPr id="1038" name="Picture 1037">
            <a:extLst>
              <a:ext uri="{FF2B5EF4-FFF2-40B4-BE49-F238E27FC236}">
                <a16:creationId xmlns:a16="http://schemas.microsoft.com/office/drawing/2014/main" id="{7FF03D4A-7866-EAE3-F0D0-DDFE1C8F1BD9}"/>
              </a:ext>
            </a:extLst>
          </p:cNvPr>
          <p:cNvPicPr>
            <a:picLocks noChangeAspect="1"/>
          </p:cNvPicPr>
          <p:nvPr/>
        </p:nvPicPr>
        <p:blipFill>
          <a:blip r:embed="rId2"/>
          <a:stretch>
            <a:fillRect/>
          </a:stretch>
        </p:blipFill>
        <p:spPr>
          <a:xfrm>
            <a:off x="149154" y="2155389"/>
            <a:ext cx="3080049" cy="1732746"/>
          </a:xfrm>
          <a:prstGeom prst="rect">
            <a:avLst/>
          </a:prstGeom>
          <a:ln>
            <a:solidFill>
              <a:schemeClr val="tx1"/>
            </a:solidFill>
          </a:ln>
        </p:spPr>
      </p:pic>
    </p:spTree>
    <p:extLst>
      <p:ext uri="{BB962C8B-B14F-4D97-AF65-F5344CB8AC3E}">
        <p14:creationId xmlns:p14="http://schemas.microsoft.com/office/powerpoint/2010/main" val="3431500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Google Shape;965;p2">
            <a:extLst>
              <a:ext uri="{FF2B5EF4-FFF2-40B4-BE49-F238E27FC236}">
                <a16:creationId xmlns:a16="http://schemas.microsoft.com/office/drawing/2014/main" id="{2E41FEFE-2866-1CBB-61C6-52B591B3DC64}"/>
              </a:ext>
            </a:extLst>
          </p:cNvPr>
          <p:cNvCxnSpPr>
            <a:cxnSpLocks/>
          </p:cNvCxnSpPr>
          <p:nvPr/>
        </p:nvCxnSpPr>
        <p:spPr>
          <a:xfrm>
            <a:off x="4757933" y="3174888"/>
            <a:ext cx="0" cy="1588962"/>
          </a:xfrm>
          <a:prstGeom prst="straightConnector1">
            <a:avLst/>
          </a:prstGeom>
          <a:noFill/>
          <a:ln w="12700" cap="flat" cmpd="sng">
            <a:solidFill>
              <a:schemeClr val="dk1"/>
            </a:solidFill>
            <a:prstDash val="dot"/>
            <a:miter lim="800000"/>
            <a:headEnd type="none" w="sm" len="sm"/>
            <a:tailEnd type="none" w="sm" len="sm"/>
          </a:ln>
        </p:spPr>
      </p:cxnSp>
      <p:sp>
        <p:nvSpPr>
          <p:cNvPr id="51" name="Text Placeholder 50">
            <a:extLst>
              <a:ext uri="{FF2B5EF4-FFF2-40B4-BE49-F238E27FC236}">
                <a16:creationId xmlns:a16="http://schemas.microsoft.com/office/drawing/2014/main" id="{D33F7BAB-3A3D-A4B2-06F3-F60AA26D15BD}"/>
              </a:ext>
            </a:extLst>
          </p:cNvPr>
          <p:cNvSpPr>
            <a:spLocks noGrp="1"/>
          </p:cNvSpPr>
          <p:nvPr>
            <p:ph type="body" sz="quarter" idx="23"/>
          </p:nvPr>
        </p:nvSpPr>
        <p:spPr>
          <a:xfrm>
            <a:off x="7106405" y="1603151"/>
            <a:ext cx="1749187" cy="1546577"/>
          </a:xfrm>
        </p:spPr>
        <p:txBody>
          <a:bodyPr wrap="square" anchor="ctr">
            <a:spAutoFit/>
          </a:bodyPr>
          <a:lstStyle/>
          <a:p>
            <a:pPr algn="ctr" defTabSz="685783">
              <a:spcAft>
                <a:spcPts val="0"/>
              </a:spcAft>
              <a:buClr>
                <a:srgbClr val="1A1A1A"/>
              </a:buClr>
              <a:buSzPts val="900"/>
              <a:defRPr/>
            </a:pPr>
            <a:r>
              <a:rPr lang="en-US" sz="1350" b="0">
                <a:latin typeface="Georgia" panose="02040502050405020303" pitchFamily="18" charset="0"/>
              </a:rPr>
              <a:t>Expanding geographical coverage to combine all state lines, forming a </a:t>
            </a:r>
            <a:r>
              <a:rPr lang="en-US" sz="1350" i="1">
                <a:latin typeface="Georgia" panose="02040502050405020303" pitchFamily="18" charset="0"/>
              </a:rPr>
              <a:t>national-level open state measure       by Q2 2024</a:t>
            </a:r>
            <a:endParaRPr lang="en-US" sz="1350" i="1">
              <a:latin typeface="Georgia" panose="02040502050405020303" pitchFamily="18" charset="0"/>
              <a:sym typeface="Montserrat"/>
            </a:endParaRPr>
          </a:p>
        </p:txBody>
      </p:sp>
      <p:sp>
        <p:nvSpPr>
          <p:cNvPr id="52" name="Text Placeholder 51">
            <a:extLst>
              <a:ext uri="{FF2B5EF4-FFF2-40B4-BE49-F238E27FC236}">
                <a16:creationId xmlns:a16="http://schemas.microsoft.com/office/drawing/2014/main" id="{E2EB70A2-E7DB-E6F5-430A-493DDDDD9CBF}"/>
              </a:ext>
            </a:extLst>
          </p:cNvPr>
          <p:cNvSpPr>
            <a:spLocks noGrp="1"/>
          </p:cNvSpPr>
          <p:nvPr>
            <p:ph type="body" sz="quarter" idx="24"/>
          </p:nvPr>
        </p:nvSpPr>
        <p:spPr/>
        <p:txBody>
          <a:bodyPr/>
          <a:lstStyle/>
          <a:p>
            <a:r>
              <a:rPr lang="en-US">
                <a:solidFill>
                  <a:schemeClr val="bg2"/>
                </a:solidFill>
              </a:rPr>
              <a:t>Discover</a:t>
            </a:r>
            <a:r>
              <a:rPr lang="en-US"/>
              <a:t> new opportunities in the liquor channel</a:t>
            </a:r>
          </a:p>
        </p:txBody>
      </p:sp>
      <p:sp>
        <p:nvSpPr>
          <p:cNvPr id="32" name="Text Placeholder 31">
            <a:extLst>
              <a:ext uri="{FF2B5EF4-FFF2-40B4-BE49-F238E27FC236}">
                <a16:creationId xmlns:a16="http://schemas.microsoft.com/office/drawing/2014/main" id="{B8CFA5C1-D07B-A4A9-4CDC-00D1931AD0A9}"/>
              </a:ext>
            </a:extLst>
          </p:cNvPr>
          <p:cNvSpPr>
            <a:spLocks noGrp="1"/>
          </p:cNvSpPr>
          <p:nvPr>
            <p:ph type="body" sz="quarter" idx="15"/>
          </p:nvPr>
        </p:nvSpPr>
        <p:spPr/>
        <p:txBody>
          <a:bodyPr/>
          <a:lstStyle/>
          <a:p>
            <a:pPr defTabSz="685783">
              <a:spcAft>
                <a:spcPts val="0"/>
              </a:spcAft>
              <a:defRPr/>
            </a:pPr>
            <a:r>
              <a:rPr lang="en-US"/>
              <a:t>With increased coverage of key geographical areas</a:t>
            </a:r>
          </a:p>
        </p:txBody>
      </p:sp>
      <p:sp>
        <p:nvSpPr>
          <p:cNvPr id="53" name="Text Placeholder 124">
            <a:extLst>
              <a:ext uri="{FF2B5EF4-FFF2-40B4-BE49-F238E27FC236}">
                <a16:creationId xmlns:a16="http://schemas.microsoft.com/office/drawing/2014/main" id="{B8D44765-B950-F31B-4388-BF8F173E5C76}"/>
              </a:ext>
            </a:extLst>
          </p:cNvPr>
          <p:cNvSpPr>
            <a:spLocks noGrp="1"/>
          </p:cNvSpPr>
          <p:nvPr>
            <p:ph type="body" sz="quarter" idx="16"/>
          </p:nvPr>
        </p:nvSpPr>
        <p:spPr/>
        <p:txBody>
          <a:bodyPr/>
          <a:lstStyle/>
          <a:p>
            <a:r>
              <a:rPr lang="en-US"/>
              <a:t>What is it</a:t>
            </a:r>
          </a:p>
        </p:txBody>
      </p:sp>
      <p:sp>
        <p:nvSpPr>
          <p:cNvPr id="54" name="Content Placeholder 125">
            <a:extLst>
              <a:ext uri="{FF2B5EF4-FFF2-40B4-BE49-F238E27FC236}">
                <a16:creationId xmlns:a16="http://schemas.microsoft.com/office/drawing/2014/main" id="{B2E3A92B-8468-251A-339D-653B490E5740}"/>
              </a:ext>
            </a:extLst>
          </p:cNvPr>
          <p:cNvSpPr>
            <a:spLocks noGrp="1"/>
          </p:cNvSpPr>
          <p:nvPr>
            <p:ph sz="quarter" idx="18"/>
          </p:nvPr>
        </p:nvSpPr>
        <p:spPr>
          <a:xfrm>
            <a:off x="1067991" y="3012282"/>
            <a:ext cx="1636519" cy="1870615"/>
          </a:xfrm>
        </p:spPr>
        <p:txBody>
          <a:bodyPr/>
          <a:lstStyle/>
          <a:p>
            <a:pPr marL="0" indent="0">
              <a:buNone/>
            </a:pPr>
            <a:r>
              <a:rPr lang="en-US" sz="788"/>
              <a:t>NIQ is </a:t>
            </a:r>
            <a:r>
              <a:rPr lang="en-US" sz="788" b="1"/>
              <a:t>enhancing our liquor channel measurement </a:t>
            </a:r>
            <a:r>
              <a:rPr lang="en-US" sz="788"/>
              <a:t>by expanding geographical coverage to provide the best view in the market with more expansive, granular, high-quality data trusted by Wall Street, top distributors, manufacturers and retailers.</a:t>
            </a:r>
          </a:p>
          <a:p>
            <a:pPr marL="0" indent="0">
              <a:buNone/>
            </a:pPr>
            <a:r>
              <a:rPr lang="en-US" sz="788"/>
              <a:t>With NIQ’s significant commitment and investment in the beverage alcohol industry, this new channel will </a:t>
            </a:r>
            <a:r>
              <a:rPr lang="en-US" sz="788" b="1"/>
              <a:t>combine new state line coverage to form a national-level open state measure</a:t>
            </a:r>
            <a:r>
              <a:rPr lang="en-US" sz="788"/>
              <a:t>,</a:t>
            </a:r>
            <a:r>
              <a:rPr lang="en-US" sz="788" b="1"/>
              <a:t> </a:t>
            </a:r>
            <a:r>
              <a:rPr lang="en-US" sz="788"/>
              <a:t>with total universe projection updates.</a:t>
            </a:r>
          </a:p>
        </p:txBody>
      </p:sp>
      <p:sp>
        <p:nvSpPr>
          <p:cNvPr id="55" name="Text Placeholder 126">
            <a:extLst>
              <a:ext uri="{FF2B5EF4-FFF2-40B4-BE49-F238E27FC236}">
                <a16:creationId xmlns:a16="http://schemas.microsoft.com/office/drawing/2014/main" id="{BC01837E-C41B-F62A-361D-8F7A3231D3C6}"/>
              </a:ext>
            </a:extLst>
          </p:cNvPr>
          <p:cNvSpPr>
            <a:spLocks noGrp="1"/>
          </p:cNvSpPr>
          <p:nvPr>
            <p:ph type="body" sz="quarter" idx="19"/>
          </p:nvPr>
        </p:nvSpPr>
        <p:spPr/>
        <p:txBody>
          <a:bodyPr/>
          <a:lstStyle/>
          <a:p>
            <a:r>
              <a:rPr lang="en-US"/>
              <a:t>How it works</a:t>
            </a:r>
          </a:p>
        </p:txBody>
      </p:sp>
      <p:sp>
        <p:nvSpPr>
          <p:cNvPr id="56" name="Content Placeholder 127">
            <a:extLst>
              <a:ext uri="{FF2B5EF4-FFF2-40B4-BE49-F238E27FC236}">
                <a16:creationId xmlns:a16="http://schemas.microsoft.com/office/drawing/2014/main" id="{35A458CC-5555-81AA-0056-02C02B88D0FD}"/>
              </a:ext>
            </a:extLst>
          </p:cNvPr>
          <p:cNvSpPr>
            <a:spLocks noGrp="1"/>
          </p:cNvSpPr>
          <p:nvPr>
            <p:ph sz="quarter" idx="20"/>
          </p:nvPr>
        </p:nvSpPr>
        <p:spPr>
          <a:xfrm>
            <a:off x="2832497" y="3012282"/>
            <a:ext cx="1650725" cy="1870615"/>
          </a:xfrm>
        </p:spPr>
        <p:txBody>
          <a:bodyPr/>
          <a:lstStyle/>
          <a:p>
            <a:pPr marL="0" indent="0">
              <a:buNone/>
            </a:pPr>
            <a:r>
              <a:rPr lang="en-US" sz="788"/>
              <a:t>NIQ’s new </a:t>
            </a:r>
            <a:r>
              <a:rPr lang="en-US" sz="788" b="1"/>
              <a:t>Total US Liquor Open State channel will be replacing </a:t>
            </a:r>
            <a:r>
              <a:rPr lang="en-US" sz="788"/>
              <a:t>Total US Combined Liquor Plus channel.</a:t>
            </a:r>
          </a:p>
          <a:p>
            <a:pPr marL="0" indent="0">
              <a:buNone/>
            </a:pPr>
            <a:r>
              <a:rPr lang="en-US" sz="788"/>
              <a:t>Clients are </a:t>
            </a:r>
            <a:r>
              <a:rPr lang="en-US" sz="788" b="1"/>
              <a:t>required to upgrade </a:t>
            </a:r>
            <a:r>
              <a:rPr lang="en-US" sz="788"/>
              <a:t>to this new, enhanced liquor channel to ensure you continue receiving the most complete, clear view of the market available – with same high-quality data you can trust from NIQ. </a:t>
            </a:r>
          </a:p>
          <a:p>
            <a:pPr marL="0" indent="0">
              <a:buNone/>
            </a:pPr>
            <a:r>
              <a:rPr lang="en-US" sz="788"/>
              <a:t>Access NIQ liquor channel data via your preferred platform or delivery method. </a:t>
            </a:r>
          </a:p>
          <a:p>
            <a:pPr marL="0" indent="0">
              <a:buNone/>
            </a:pPr>
            <a:endParaRPr lang="en-US" sz="150"/>
          </a:p>
        </p:txBody>
      </p:sp>
      <p:sp>
        <p:nvSpPr>
          <p:cNvPr id="57" name="Text Placeholder 128">
            <a:extLst>
              <a:ext uri="{FF2B5EF4-FFF2-40B4-BE49-F238E27FC236}">
                <a16:creationId xmlns:a16="http://schemas.microsoft.com/office/drawing/2014/main" id="{EBAEE67D-CCC3-164A-0B7A-32FB418609EA}"/>
              </a:ext>
            </a:extLst>
          </p:cNvPr>
          <p:cNvSpPr>
            <a:spLocks noGrp="1"/>
          </p:cNvSpPr>
          <p:nvPr>
            <p:ph type="body" sz="quarter" idx="21"/>
          </p:nvPr>
        </p:nvSpPr>
        <p:spPr/>
        <p:txBody>
          <a:bodyPr/>
          <a:lstStyle/>
          <a:p>
            <a:r>
              <a:rPr lang="en-US"/>
              <a:t>Key benefits</a:t>
            </a:r>
          </a:p>
        </p:txBody>
      </p:sp>
      <p:sp>
        <p:nvSpPr>
          <p:cNvPr id="60" name="Text Placeholder 59">
            <a:extLst>
              <a:ext uri="{FF2B5EF4-FFF2-40B4-BE49-F238E27FC236}">
                <a16:creationId xmlns:a16="http://schemas.microsoft.com/office/drawing/2014/main" id="{73B79822-C455-E2CA-2F06-C012EC218CB0}"/>
              </a:ext>
            </a:extLst>
          </p:cNvPr>
          <p:cNvSpPr>
            <a:spLocks noGrp="1"/>
          </p:cNvSpPr>
          <p:nvPr>
            <p:ph type="body" sz="quarter" idx="13"/>
          </p:nvPr>
        </p:nvSpPr>
        <p:spPr/>
        <p:txBody>
          <a:bodyPr/>
          <a:lstStyle/>
          <a:p>
            <a:r>
              <a:rPr lang="en-US" b="1"/>
              <a:t>NIQ Liquor Channel Enhancement</a:t>
            </a:r>
          </a:p>
        </p:txBody>
      </p:sp>
      <p:sp>
        <p:nvSpPr>
          <p:cNvPr id="3" name="Text Placeholder 2">
            <a:extLst>
              <a:ext uri="{FF2B5EF4-FFF2-40B4-BE49-F238E27FC236}">
                <a16:creationId xmlns:a16="http://schemas.microsoft.com/office/drawing/2014/main" id="{8CF0CE5E-15ED-4E2E-D95D-B40FCFC5CB97}"/>
              </a:ext>
            </a:extLst>
          </p:cNvPr>
          <p:cNvSpPr>
            <a:spLocks noGrp="1"/>
          </p:cNvSpPr>
          <p:nvPr>
            <p:ph type="body" sz="quarter" idx="11"/>
          </p:nvPr>
        </p:nvSpPr>
        <p:spPr>
          <a:xfrm>
            <a:off x="5877009" y="580306"/>
            <a:ext cx="2613334" cy="250031"/>
          </a:xfrm>
        </p:spPr>
        <p:txBody>
          <a:bodyPr/>
          <a:lstStyle/>
          <a:p>
            <a:r>
              <a:rPr lang="en-US"/>
              <a:t>For more information about the Liquor Channel Enhancement, please reach out to your NIQ representative.</a:t>
            </a:r>
          </a:p>
        </p:txBody>
      </p:sp>
      <p:sp>
        <p:nvSpPr>
          <p:cNvPr id="9" name="TextBox 8">
            <a:extLst>
              <a:ext uri="{FF2B5EF4-FFF2-40B4-BE49-F238E27FC236}">
                <a16:creationId xmlns:a16="http://schemas.microsoft.com/office/drawing/2014/main" id="{FBA8B208-B91A-5995-509F-4EF6DA771871}"/>
              </a:ext>
            </a:extLst>
          </p:cNvPr>
          <p:cNvSpPr txBox="1"/>
          <p:nvPr/>
        </p:nvSpPr>
        <p:spPr>
          <a:xfrm>
            <a:off x="4993481" y="2991987"/>
            <a:ext cx="1526381" cy="456087"/>
          </a:xfrm>
          <a:prstGeom prst="rect">
            <a:avLst/>
          </a:prstGeom>
          <a:noFill/>
        </p:spPr>
        <p:txBody>
          <a:bodyPr wrap="square" lIns="0" rIns="0" rtlCol="0" anchor="ctr">
            <a:spAutoFit/>
          </a:bodyPr>
          <a:lstStyle/>
          <a:p>
            <a:pPr>
              <a:spcAft>
                <a:spcPts val="450"/>
              </a:spcAft>
            </a:pPr>
            <a:r>
              <a:rPr lang="en-US" sz="788">
                <a:latin typeface="Georgia" panose="02040502050405020303" pitchFamily="18" charset="0"/>
              </a:rPr>
              <a:t>Gain </a:t>
            </a:r>
            <a:r>
              <a:rPr lang="en-US" sz="788" b="1">
                <a:latin typeface="Georgia" panose="02040502050405020303" pitchFamily="18" charset="0"/>
              </a:rPr>
              <a:t>visibility into market-critical insights </a:t>
            </a:r>
            <a:r>
              <a:rPr lang="en-US" sz="788">
                <a:latin typeface="Georgia" panose="02040502050405020303" pitchFamily="18" charset="0"/>
              </a:rPr>
              <a:t>with enhanced market granularity and coverage</a:t>
            </a:r>
          </a:p>
        </p:txBody>
      </p:sp>
      <p:sp>
        <p:nvSpPr>
          <p:cNvPr id="10" name="TextBox 9">
            <a:extLst>
              <a:ext uri="{FF2B5EF4-FFF2-40B4-BE49-F238E27FC236}">
                <a16:creationId xmlns:a16="http://schemas.microsoft.com/office/drawing/2014/main" id="{74C75D5F-0382-3A5A-4D33-A2249EA98318}"/>
              </a:ext>
            </a:extLst>
          </p:cNvPr>
          <p:cNvSpPr txBox="1"/>
          <p:nvPr/>
        </p:nvSpPr>
        <p:spPr>
          <a:xfrm>
            <a:off x="4993481" y="3460386"/>
            <a:ext cx="1526381" cy="456087"/>
          </a:xfrm>
          <a:prstGeom prst="rect">
            <a:avLst/>
          </a:prstGeom>
          <a:noFill/>
        </p:spPr>
        <p:txBody>
          <a:bodyPr wrap="square" lIns="0" rIns="0" rtlCol="0" anchor="ctr">
            <a:spAutoFit/>
          </a:bodyPr>
          <a:lstStyle/>
          <a:p>
            <a:r>
              <a:rPr lang="en-US" sz="788">
                <a:latin typeface="Georgia" panose="02040502050405020303" pitchFamily="18" charset="0"/>
              </a:rPr>
              <a:t>Capitalize on </a:t>
            </a:r>
            <a:r>
              <a:rPr lang="en-US" sz="788" b="1">
                <a:latin typeface="Georgia" panose="02040502050405020303" pitchFamily="18" charset="0"/>
              </a:rPr>
              <a:t>white space opportunities </a:t>
            </a:r>
            <a:r>
              <a:rPr lang="en-US" sz="788">
                <a:latin typeface="Georgia" panose="02040502050405020303" pitchFamily="18" charset="0"/>
              </a:rPr>
              <a:t>with increased liquor channel coverage</a:t>
            </a:r>
          </a:p>
        </p:txBody>
      </p:sp>
      <p:sp>
        <p:nvSpPr>
          <p:cNvPr id="11" name="TextBox 10">
            <a:extLst>
              <a:ext uri="{FF2B5EF4-FFF2-40B4-BE49-F238E27FC236}">
                <a16:creationId xmlns:a16="http://schemas.microsoft.com/office/drawing/2014/main" id="{D5ADC2D4-C212-7403-2174-57830F3D4CFE}"/>
              </a:ext>
            </a:extLst>
          </p:cNvPr>
          <p:cNvSpPr txBox="1"/>
          <p:nvPr/>
        </p:nvSpPr>
        <p:spPr>
          <a:xfrm>
            <a:off x="4993481" y="3989409"/>
            <a:ext cx="1526381" cy="334835"/>
          </a:xfrm>
          <a:prstGeom prst="rect">
            <a:avLst/>
          </a:prstGeom>
          <a:noFill/>
        </p:spPr>
        <p:txBody>
          <a:bodyPr wrap="square" lIns="0" rIns="0" rtlCol="0" anchor="ctr">
            <a:spAutoFit/>
          </a:bodyPr>
          <a:lstStyle/>
          <a:p>
            <a:r>
              <a:rPr lang="en-US" sz="788">
                <a:latin typeface="Georgia" panose="02040502050405020303" pitchFamily="18" charset="0"/>
              </a:rPr>
              <a:t>Better</a:t>
            </a:r>
            <a:r>
              <a:rPr lang="en-US" sz="788" b="1">
                <a:latin typeface="Georgia" panose="02040502050405020303" pitchFamily="18" charset="0"/>
              </a:rPr>
              <a:t> understand competitive threats</a:t>
            </a:r>
            <a:r>
              <a:rPr lang="en-US" sz="788">
                <a:latin typeface="Georgia" panose="02040502050405020303" pitchFamily="18" charset="0"/>
              </a:rPr>
              <a:t> across key liquor markets</a:t>
            </a:r>
          </a:p>
        </p:txBody>
      </p:sp>
      <p:sp>
        <p:nvSpPr>
          <p:cNvPr id="12" name="TextBox 11">
            <a:extLst>
              <a:ext uri="{FF2B5EF4-FFF2-40B4-BE49-F238E27FC236}">
                <a16:creationId xmlns:a16="http://schemas.microsoft.com/office/drawing/2014/main" id="{88EDD29D-6CD9-9717-9D7F-482E926B18CE}"/>
              </a:ext>
            </a:extLst>
          </p:cNvPr>
          <p:cNvSpPr txBox="1"/>
          <p:nvPr/>
        </p:nvSpPr>
        <p:spPr>
          <a:xfrm>
            <a:off x="4993481" y="4454888"/>
            <a:ext cx="1526381" cy="456087"/>
          </a:xfrm>
          <a:prstGeom prst="rect">
            <a:avLst/>
          </a:prstGeom>
          <a:noFill/>
        </p:spPr>
        <p:txBody>
          <a:bodyPr wrap="square" lIns="0" rIns="0" rtlCol="0" anchor="ctr">
            <a:spAutoFit/>
          </a:bodyPr>
          <a:lstStyle/>
          <a:p>
            <a:r>
              <a:rPr lang="en-US" sz="788">
                <a:latin typeface="Georgia" panose="02040502050405020303" pitchFamily="18" charset="0"/>
              </a:rPr>
              <a:t>Unlock insights with the </a:t>
            </a:r>
            <a:r>
              <a:rPr lang="en-US" sz="788" b="1">
                <a:latin typeface="Georgia" panose="02040502050405020303" pitchFamily="18" charset="0"/>
              </a:rPr>
              <a:t>expansion of independent </a:t>
            </a:r>
            <a:r>
              <a:rPr lang="en-US" sz="788">
                <a:latin typeface="Georgia" panose="02040502050405020303" pitchFamily="18" charset="0"/>
              </a:rPr>
              <a:t>liquor store coverage</a:t>
            </a:r>
          </a:p>
        </p:txBody>
      </p:sp>
      <p:pic>
        <p:nvPicPr>
          <p:cNvPr id="21" name="Picture 20">
            <a:extLst>
              <a:ext uri="{FF2B5EF4-FFF2-40B4-BE49-F238E27FC236}">
                <a16:creationId xmlns:a16="http://schemas.microsoft.com/office/drawing/2014/main" id="{E4090496-7AA7-06BC-23E4-BFC329FF6CAA}"/>
              </a:ext>
            </a:extLst>
          </p:cNvPr>
          <p:cNvPicPr>
            <a:picLocks noChangeAspect="1"/>
          </p:cNvPicPr>
          <p:nvPr/>
        </p:nvPicPr>
        <p:blipFill>
          <a:blip r:embed="rId3"/>
          <a:stretch>
            <a:fillRect/>
          </a:stretch>
        </p:blipFill>
        <p:spPr>
          <a:xfrm>
            <a:off x="4623741" y="3101679"/>
            <a:ext cx="280566" cy="240485"/>
          </a:xfrm>
          <a:prstGeom prst="rect">
            <a:avLst/>
          </a:prstGeom>
        </p:spPr>
      </p:pic>
      <p:pic>
        <p:nvPicPr>
          <p:cNvPr id="25" name="Picture 24">
            <a:extLst>
              <a:ext uri="{FF2B5EF4-FFF2-40B4-BE49-F238E27FC236}">
                <a16:creationId xmlns:a16="http://schemas.microsoft.com/office/drawing/2014/main" id="{C8C832E5-68D1-F902-A204-A52F738CFD21}"/>
              </a:ext>
            </a:extLst>
          </p:cNvPr>
          <p:cNvPicPr>
            <a:picLocks noChangeAspect="1"/>
          </p:cNvPicPr>
          <p:nvPr/>
        </p:nvPicPr>
        <p:blipFill>
          <a:blip r:embed="rId4"/>
          <a:stretch>
            <a:fillRect/>
          </a:stretch>
        </p:blipFill>
        <p:spPr>
          <a:xfrm>
            <a:off x="4611209" y="4023688"/>
            <a:ext cx="305631" cy="261969"/>
          </a:xfrm>
          <a:prstGeom prst="rect">
            <a:avLst/>
          </a:prstGeom>
        </p:spPr>
      </p:pic>
      <p:pic>
        <p:nvPicPr>
          <p:cNvPr id="27" name="Picture 26">
            <a:extLst>
              <a:ext uri="{FF2B5EF4-FFF2-40B4-BE49-F238E27FC236}">
                <a16:creationId xmlns:a16="http://schemas.microsoft.com/office/drawing/2014/main" id="{846C05C0-C08B-8FC4-42F1-7BF8BF09D481}"/>
              </a:ext>
            </a:extLst>
          </p:cNvPr>
          <p:cNvPicPr>
            <a:picLocks noChangeAspect="1"/>
          </p:cNvPicPr>
          <p:nvPr/>
        </p:nvPicPr>
        <p:blipFill>
          <a:blip r:embed="rId5"/>
          <a:stretch>
            <a:fillRect/>
          </a:stretch>
        </p:blipFill>
        <p:spPr>
          <a:xfrm>
            <a:off x="4623741" y="4549063"/>
            <a:ext cx="280566" cy="240485"/>
          </a:xfrm>
          <a:prstGeom prst="rect">
            <a:avLst/>
          </a:prstGeom>
        </p:spPr>
      </p:pic>
      <p:grpSp>
        <p:nvGrpSpPr>
          <p:cNvPr id="171" name="Group 170">
            <a:extLst>
              <a:ext uri="{FF2B5EF4-FFF2-40B4-BE49-F238E27FC236}">
                <a16:creationId xmlns:a16="http://schemas.microsoft.com/office/drawing/2014/main" id="{5B479C16-BF32-71A5-9525-E436DF21A7FF}"/>
              </a:ext>
            </a:extLst>
          </p:cNvPr>
          <p:cNvGrpSpPr>
            <a:grpSpLocks/>
          </p:cNvGrpSpPr>
          <p:nvPr/>
        </p:nvGrpSpPr>
        <p:grpSpPr>
          <a:xfrm>
            <a:off x="7035231" y="3378234"/>
            <a:ext cx="1895053" cy="1184456"/>
            <a:chOff x="1902496" y="1004683"/>
            <a:chExt cx="5501636" cy="3438682"/>
          </a:xfrm>
        </p:grpSpPr>
        <p:sp>
          <p:nvSpPr>
            <p:cNvPr id="4" name="Freeform 18">
              <a:extLst>
                <a:ext uri="{FF2B5EF4-FFF2-40B4-BE49-F238E27FC236}">
                  <a16:creationId xmlns:a16="http://schemas.microsoft.com/office/drawing/2014/main" id="{05883B9F-D681-FE04-E07A-3258F28C1980}"/>
                </a:ext>
              </a:extLst>
            </p:cNvPr>
            <p:cNvSpPr/>
            <p:nvPr/>
          </p:nvSpPr>
          <p:spPr>
            <a:xfrm>
              <a:off x="6942581" y="1666410"/>
              <a:ext cx="355088" cy="208462"/>
            </a:xfrm>
            <a:custGeom>
              <a:avLst/>
              <a:gdLst>
                <a:gd name="connsiteX0" fmla="*/ 293251 w 355088"/>
                <a:gd name="connsiteY0" fmla="*/ 207825 h 208462"/>
                <a:gd name="connsiteX1" fmla="*/ 291338 w 355088"/>
                <a:gd name="connsiteY1" fmla="*/ 206550 h 208462"/>
                <a:gd name="connsiteX2" fmla="*/ 291338 w 355088"/>
                <a:gd name="connsiteY2" fmla="*/ 208463 h 208462"/>
                <a:gd name="connsiteX3" fmla="*/ 293251 w 355088"/>
                <a:gd name="connsiteY3" fmla="*/ 207825 h 208462"/>
                <a:gd name="connsiteX4" fmla="*/ 293251 w 355088"/>
                <a:gd name="connsiteY4" fmla="*/ 207825 h 208462"/>
                <a:gd name="connsiteX5" fmla="*/ 274126 w 355088"/>
                <a:gd name="connsiteY5" fmla="*/ 189975 h 208462"/>
                <a:gd name="connsiteX6" fmla="*/ 278588 w 355088"/>
                <a:gd name="connsiteY6" fmla="*/ 188063 h 208462"/>
                <a:gd name="connsiteX7" fmla="*/ 278588 w 355088"/>
                <a:gd name="connsiteY7" fmla="*/ 185513 h 208462"/>
                <a:gd name="connsiteX8" fmla="*/ 274126 w 355088"/>
                <a:gd name="connsiteY8" fmla="*/ 189975 h 208462"/>
                <a:gd name="connsiteX9" fmla="*/ 274126 w 355088"/>
                <a:gd name="connsiteY9" fmla="*/ 189975 h 208462"/>
                <a:gd name="connsiteX10" fmla="*/ 353813 w 355088"/>
                <a:gd name="connsiteY10" fmla="*/ 140250 h 208462"/>
                <a:gd name="connsiteX11" fmla="*/ 353176 w 355088"/>
                <a:gd name="connsiteY11" fmla="*/ 130688 h 208462"/>
                <a:gd name="connsiteX12" fmla="*/ 351901 w 355088"/>
                <a:gd name="connsiteY12" fmla="*/ 125588 h 208462"/>
                <a:gd name="connsiteX13" fmla="*/ 353813 w 355088"/>
                <a:gd name="connsiteY13" fmla="*/ 140250 h 208462"/>
                <a:gd name="connsiteX14" fmla="*/ 73313 w 355088"/>
                <a:gd name="connsiteY14" fmla="*/ 73950 h 208462"/>
                <a:gd name="connsiteX15" fmla="*/ 68850 w 355088"/>
                <a:gd name="connsiteY15" fmla="*/ 75863 h 208462"/>
                <a:gd name="connsiteX16" fmla="*/ 32513 w 355088"/>
                <a:gd name="connsiteY16" fmla="*/ 87338 h 208462"/>
                <a:gd name="connsiteX17" fmla="*/ 19763 w 355088"/>
                <a:gd name="connsiteY17" fmla="*/ 91800 h 208462"/>
                <a:gd name="connsiteX18" fmla="*/ 5100 w 355088"/>
                <a:gd name="connsiteY18" fmla="*/ 96263 h 208462"/>
                <a:gd name="connsiteX19" fmla="*/ 0 w 355088"/>
                <a:gd name="connsiteY19" fmla="*/ 98175 h 208462"/>
                <a:gd name="connsiteX20" fmla="*/ 0 w 355088"/>
                <a:gd name="connsiteY20" fmla="*/ 100088 h 208462"/>
                <a:gd name="connsiteX21" fmla="*/ 1913 w 355088"/>
                <a:gd name="connsiteY21" fmla="*/ 133238 h 208462"/>
                <a:gd name="connsiteX22" fmla="*/ 3825 w 355088"/>
                <a:gd name="connsiteY22" fmla="*/ 164475 h 208462"/>
                <a:gd name="connsiteX23" fmla="*/ 5738 w 355088"/>
                <a:gd name="connsiteY23" fmla="*/ 193163 h 208462"/>
                <a:gd name="connsiteX24" fmla="*/ 8925 w 355088"/>
                <a:gd name="connsiteY24" fmla="*/ 195075 h 208462"/>
                <a:gd name="connsiteX25" fmla="*/ 20400 w 355088"/>
                <a:gd name="connsiteY25" fmla="*/ 191888 h 208462"/>
                <a:gd name="connsiteX26" fmla="*/ 72675 w 355088"/>
                <a:gd name="connsiteY26" fmla="*/ 176588 h 208462"/>
                <a:gd name="connsiteX27" fmla="*/ 73950 w 355088"/>
                <a:gd name="connsiteY27" fmla="*/ 179775 h 208462"/>
                <a:gd name="connsiteX28" fmla="*/ 166388 w 355088"/>
                <a:gd name="connsiteY28" fmla="*/ 144713 h 208462"/>
                <a:gd name="connsiteX29" fmla="*/ 167025 w 355088"/>
                <a:gd name="connsiteY29" fmla="*/ 145988 h 208462"/>
                <a:gd name="connsiteX30" fmla="*/ 175313 w 355088"/>
                <a:gd name="connsiteY30" fmla="*/ 142800 h 208462"/>
                <a:gd name="connsiteX31" fmla="*/ 205275 w 355088"/>
                <a:gd name="connsiteY31" fmla="*/ 131325 h 208462"/>
                <a:gd name="connsiteX32" fmla="*/ 233963 w 355088"/>
                <a:gd name="connsiteY32" fmla="*/ 165113 h 208462"/>
                <a:gd name="connsiteX33" fmla="*/ 233963 w 355088"/>
                <a:gd name="connsiteY33" fmla="*/ 165113 h 208462"/>
                <a:gd name="connsiteX34" fmla="*/ 237788 w 355088"/>
                <a:gd name="connsiteY34" fmla="*/ 161925 h 208462"/>
                <a:gd name="connsiteX35" fmla="*/ 239701 w 355088"/>
                <a:gd name="connsiteY35" fmla="*/ 151725 h 208462"/>
                <a:gd name="connsiteX36" fmla="*/ 239063 w 355088"/>
                <a:gd name="connsiteY36" fmla="*/ 167025 h 208462"/>
                <a:gd name="connsiteX37" fmla="*/ 239063 w 355088"/>
                <a:gd name="connsiteY37" fmla="*/ 167025 h 208462"/>
                <a:gd name="connsiteX38" fmla="*/ 245438 w 355088"/>
                <a:gd name="connsiteY38" fmla="*/ 167025 h 208462"/>
                <a:gd name="connsiteX39" fmla="*/ 247351 w 355088"/>
                <a:gd name="connsiteY39" fmla="*/ 174675 h 208462"/>
                <a:gd name="connsiteX40" fmla="*/ 253088 w 355088"/>
                <a:gd name="connsiteY40" fmla="*/ 186150 h 208462"/>
                <a:gd name="connsiteX41" fmla="*/ 253088 w 355088"/>
                <a:gd name="connsiteY41" fmla="*/ 186150 h 208462"/>
                <a:gd name="connsiteX42" fmla="*/ 283688 w 355088"/>
                <a:gd name="connsiteY42" fmla="*/ 149813 h 208462"/>
                <a:gd name="connsiteX43" fmla="*/ 308551 w 355088"/>
                <a:gd name="connsiteY43" fmla="*/ 158100 h 208462"/>
                <a:gd name="connsiteX44" fmla="*/ 314288 w 355088"/>
                <a:gd name="connsiteY44" fmla="*/ 145350 h 208462"/>
                <a:gd name="connsiteX45" fmla="*/ 355088 w 355088"/>
                <a:gd name="connsiteY45" fmla="*/ 123675 h 208462"/>
                <a:gd name="connsiteX46" fmla="*/ 337876 w 355088"/>
                <a:gd name="connsiteY46" fmla="*/ 89888 h 208462"/>
                <a:gd name="connsiteX47" fmla="*/ 342338 w 355088"/>
                <a:gd name="connsiteY47" fmla="*/ 111563 h 208462"/>
                <a:gd name="connsiteX48" fmla="*/ 321301 w 355088"/>
                <a:gd name="connsiteY48" fmla="*/ 127500 h 208462"/>
                <a:gd name="connsiteX49" fmla="*/ 297713 w 355088"/>
                <a:gd name="connsiteY49" fmla="*/ 129413 h 208462"/>
                <a:gd name="connsiteX50" fmla="*/ 249901 w 355088"/>
                <a:gd name="connsiteY50" fmla="*/ 78413 h 208462"/>
                <a:gd name="connsiteX51" fmla="*/ 228863 w 355088"/>
                <a:gd name="connsiteY51" fmla="*/ 45900 h 208462"/>
                <a:gd name="connsiteX52" fmla="*/ 249901 w 355088"/>
                <a:gd name="connsiteY52" fmla="*/ 23587 h 208462"/>
                <a:gd name="connsiteX53" fmla="*/ 228226 w 355088"/>
                <a:gd name="connsiteY53" fmla="*/ 22313 h 208462"/>
                <a:gd name="connsiteX54" fmla="*/ 218663 w 355088"/>
                <a:gd name="connsiteY54" fmla="*/ 1275 h 208462"/>
                <a:gd name="connsiteX55" fmla="*/ 218026 w 355088"/>
                <a:gd name="connsiteY55" fmla="*/ 0 h 208462"/>
                <a:gd name="connsiteX56" fmla="*/ 181688 w 355088"/>
                <a:gd name="connsiteY56" fmla="*/ 39525 h 208462"/>
                <a:gd name="connsiteX57" fmla="*/ 100726 w 355088"/>
                <a:gd name="connsiteY57" fmla="*/ 66938 h 208462"/>
                <a:gd name="connsiteX58" fmla="*/ 73313 w 355088"/>
                <a:gd name="connsiteY58" fmla="*/ 73950 h 208462"/>
                <a:gd name="connsiteX59" fmla="*/ 73313 w 355088"/>
                <a:gd name="connsiteY59" fmla="*/ 73950 h 2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5088" h="208462">
                  <a:moveTo>
                    <a:pt x="293251" y="207825"/>
                  </a:moveTo>
                  <a:lnTo>
                    <a:pt x="291338" y="206550"/>
                  </a:lnTo>
                  <a:lnTo>
                    <a:pt x="291338" y="208463"/>
                  </a:lnTo>
                  <a:lnTo>
                    <a:pt x="293251" y="207825"/>
                  </a:lnTo>
                  <a:lnTo>
                    <a:pt x="293251" y="207825"/>
                  </a:lnTo>
                  <a:close/>
                  <a:moveTo>
                    <a:pt x="274126" y="189975"/>
                  </a:moveTo>
                  <a:lnTo>
                    <a:pt x="278588" y="188063"/>
                  </a:lnTo>
                  <a:lnTo>
                    <a:pt x="278588" y="185513"/>
                  </a:lnTo>
                  <a:lnTo>
                    <a:pt x="274126" y="189975"/>
                  </a:lnTo>
                  <a:lnTo>
                    <a:pt x="274126" y="189975"/>
                  </a:lnTo>
                  <a:close/>
                  <a:moveTo>
                    <a:pt x="353813" y="140250"/>
                  </a:moveTo>
                  <a:lnTo>
                    <a:pt x="353176" y="130688"/>
                  </a:lnTo>
                  <a:lnTo>
                    <a:pt x="351901" y="125588"/>
                  </a:lnTo>
                  <a:lnTo>
                    <a:pt x="353813" y="140250"/>
                  </a:lnTo>
                  <a:close/>
                  <a:moveTo>
                    <a:pt x="73313" y="73950"/>
                  </a:moveTo>
                  <a:lnTo>
                    <a:pt x="68850" y="75863"/>
                  </a:lnTo>
                  <a:lnTo>
                    <a:pt x="32513" y="87338"/>
                  </a:lnTo>
                  <a:lnTo>
                    <a:pt x="19763" y="91800"/>
                  </a:lnTo>
                  <a:lnTo>
                    <a:pt x="5100" y="96263"/>
                  </a:lnTo>
                  <a:lnTo>
                    <a:pt x="0" y="98175"/>
                  </a:lnTo>
                  <a:lnTo>
                    <a:pt x="0" y="100088"/>
                  </a:lnTo>
                  <a:lnTo>
                    <a:pt x="1913" y="133238"/>
                  </a:lnTo>
                  <a:lnTo>
                    <a:pt x="3825" y="164475"/>
                  </a:lnTo>
                  <a:lnTo>
                    <a:pt x="5738" y="193163"/>
                  </a:lnTo>
                  <a:lnTo>
                    <a:pt x="8925" y="195075"/>
                  </a:lnTo>
                  <a:lnTo>
                    <a:pt x="20400" y="191888"/>
                  </a:lnTo>
                  <a:lnTo>
                    <a:pt x="72675" y="176588"/>
                  </a:lnTo>
                  <a:lnTo>
                    <a:pt x="73950" y="179775"/>
                  </a:lnTo>
                  <a:lnTo>
                    <a:pt x="166388" y="144713"/>
                  </a:lnTo>
                  <a:lnTo>
                    <a:pt x="167025" y="145988"/>
                  </a:lnTo>
                  <a:lnTo>
                    <a:pt x="175313" y="142800"/>
                  </a:lnTo>
                  <a:lnTo>
                    <a:pt x="205275" y="131325"/>
                  </a:lnTo>
                  <a:lnTo>
                    <a:pt x="233963" y="165113"/>
                  </a:lnTo>
                  <a:lnTo>
                    <a:pt x="233963" y="165113"/>
                  </a:lnTo>
                  <a:lnTo>
                    <a:pt x="237788" y="161925"/>
                  </a:lnTo>
                  <a:lnTo>
                    <a:pt x="239701" y="151725"/>
                  </a:lnTo>
                  <a:lnTo>
                    <a:pt x="239063" y="167025"/>
                  </a:lnTo>
                  <a:lnTo>
                    <a:pt x="239063" y="167025"/>
                  </a:lnTo>
                  <a:lnTo>
                    <a:pt x="245438" y="167025"/>
                  </a:lnTo>
                  <a:lnTo>
                    <a:pt x="247351" y="174675"/>
                  </a:lnTo>
                  <a:lnTo>
                    <a:pt x="253088" y="186150"/>
                  </a:lnTo>
                  <a:lnTo>
                    <a:pt x="253088" y="186150"/>
                  </a:lnTo>
                  <a:lnTo>
                    <a:pt x="283688" y="149813"/>
                  </a:lnTo>
                  <a:lnTo>
                    <a:pt x="308551" y="158100"/>
                  </a:lnTo>
                  <a:lnTo>
                    <a:pt x="314288" y="145350"/>
                  </a:lnTo>
                  <a:lnTo>
                    <a:pt x="355088" y="123675"/>
                  </a:lnTo>
                  <a:lnTo>
                    <a:pt x="337876" y="89888"/>
                  </a:lnTo>
                  <a:lnTo>
                    <a:pt x="342338" y="111563"/>
                  </a:lnTo>
                  <a:lnTo>
                    <a:pt x="321301" y="127500"/>
                  </a:lnTo>
                  <a:lnTo>
                    <a:pt x="297713" y="129413"/>
                  </a:lnTo>
                  <a:lnTo>
                    <a:pt x="249901" y="78413"/>
                  </a:lnTo>
                  <a:lnTo>
                    <a:pt x="228863" y="45900"/>
                  </a:lnTo>
                  <a:lnTo>
                    <a:pt x="249901" y="23587"/>
                  </a:lnTo>
                  <a:lnTo>
                    <a:pt x="228226" y="22313"/>
                  </a:lnTo>
                  <a:lnTo>
                    <a:pt x="218663" y="1275"/>
                  </a:lnTo>
                  <a:lnTo>
                    <a:pt x="218026" y="0"/>
                  </a:lnTo>
                  <a:lnTo>
                    <a:pt x="181688" y="39525"/>
                  </a:lnTo>
                  <a:lnTo>
                    <a:pt x="100726" y="66938"/>
                  </a:lnTo>
                  <a:lnTo>
                    <a:pt x="73313" y="73950"/>
                  </a:lnTo>
                  <a:lnTo>
                    <a:pt x="73313" y="739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5" name="Freeform 19">
              <a:extLst>
                <a:ext uri="{FF2B5EF4-FFF2-40B4-BE49-F238E27FC236}">
                  <a16:creationId xmlns:a16="http://schemas.microsoft.com/office/drawing/2014/main" id="{F77D7355-6C8A-1C20-2E69-629D1268656B}"/>
                </a:ext>
              </a:extLst>
            </p:cNvPr>
            <p:cNvSpPr/>
            <p:nvPr/>
          </p:nvSpPr>
          <p:spPr>
            <a:xfrm>
              <a:off x="4603589" y="1289009"/>
              <a:ext cx="687863" cy="796876"/>
            </a:xfrm>
            <a:custGeom>
              <a:avLst/>
              <a:gdLst>
                <a:gd name="connsiteX0" fmla="*/ 0 w 687863"/>
                <a:gd name="connsiteY0" fmla="*/ 60563 h 796876"/>
                <a:gd name="connsiteX1" fmla="*/ 12750 w 687863"/>
                <a:gd name="connsiteY1" fmla="*/ 106463 h 796876"/>
                <a:gd name="connsiteX2" fmla="*/ 40163 w 687863"/>
                <a:gd name="connsiteY2" fmla="*/ 270301 h 796876"/>
                <a:gd name="connsiteX3" fmla="*/ 52913 w 687863"/>
                <a:gd name="connsiteY3" fmla="*/ 335963 h 796876"/>
                <a:gd name="connsiteX4" fmla="*/ 56737 w 687863"/>
                <a:gd name="connsiteY4" fmla="*/ 393338 h 796876"/>
                <a:gd name="connsiteX5" fmla="*/ 71400 w 687863"/>
                <a:gd name="connsiteY5" fmla="*/ 427763 h 796876"/>
                <a:gd name="connsiteX6" fmla="*/ 74588 w 687863"/>
                <a:gd name="connsiteY6" fmla="*/ 457726 h 796876"/>
                <a:gd name="connsiteX7" fmla="*/ 77138 w 687863"/>
                <a:gd name="connsiteY7" fmla="*/ 467926 h 796876"/>
                <a:gd name="connsiteX8" fmla="*/ 76500 w 687863"/>
                <a:gd name="connsiteY8" fmla="*/ 469839 h 796876"/>
                <a:gd name="connsiteX9" fmla="*/ 51000 w 687863"/>
                <a:gd name="connsiteY9" fmla="*/ 511913 h 796876"/>
                <a:gd name="connsiteX10" fmla="*/ 67575 w 687863"/>
                <a:gd name="connsiteY10" fmla="*/ 540601 h 796876"/>
                <a:gd name="connsiteX11" fmla="*/ 100088 w 687863"/>
                <a:gd name="connsiteY11" fmla="*/ 766914 h 796876"/>
                <a:gd name="connsiteX12" fmla="*/ 101362 w 687863"/>
                <a:gd name="connsiteY12" fmla="*/ 796877 h 796876"/>
                <a:gd name="connsiteX13" fmla="*/ 133875 w 687863"/>
                <a:gd name="connsiteY13" fmla="*/ 794964 h 796876"/>
                <a:gd name="connsiteX14" fmla="*/ 260100 w 687863"/>
                <a:gd name="connsiteY14" fmla="*/ 787952 h 796876"/>
                <a:gd name="connsiteX15" fmla="*/ 576301 w 687863"/>
                <a:gd name="connsiteY15" fmla="*/ 761177 h 796876"/>
                <a:gd name="connsiteX16" fmla="*/ 608176 w 687863"/>
                <a:gd name="connsiteY16" fmla="*/ 757989 h 796876"/>
                <a:gd name="connsiteX17" fmla="*/ 608176 w 687863"/>
                <a:gd name="connsiteY17" fmla="*/ 754801 h 796876"/>
                <a:gd name="connsiteX18" fmla="*/ 598613 w 687863"/>
                <a:gd name="connsiteY18" fmla="*/ 705076 h 796876"/>
                <a:gd name="connsiteX19" fmla="*/ 559726 w 687863"/>
                <a:gd name="connsiteY19" fmla="*/ 685314 h 796876"/>
                <a:gd name="connsiteX20" fmla="*/ 528488 w 687863"/>
                <a:gd name="connsiteY20" fmla="*/ 652801 h 796876"/>
                <a:gd name="connsiteX21" fmla="*/ 479401 w 687863"/>
                <a:gd name="connsiteY21" fmla="*/ 622839 h 796876"/>
                <a:gd name="connsiteX22" fmla="*/ 464101 w 687863"/>
                <a:gd name="connsiteY22" fmla="*/ 621564 h 796876"/>
                <a:gd name="connsiteX23" fmla="*/ 440513 w 687863"/>
                <a:gd name="connsiteY23" fmla="*/ 604989 h 796876"/>
                <a:gd name="connsiteX24" fmla="*/ 446888 w 687863"/>
                <a:gd name="connsiteY24" fmla="*/ 516376 h 796876"/>
                <a:gd name="connsiteX25" fmla="*/ 424576 w 687863"/>
                <a:gd name="connsiteY25" fmla="*/ 495976 h 796876"/>
                <a:gd name="connsiteX26" fmla="*/ 432226 w 687863"/>
                <a:gd name="connsiteY26" fmla="*/ 460276 h 796876"/>
                <a:gd name="connsiteX27" fmla="*/ 473026 w 687863"/>
                <a:gd name="connsiteY27" fmla="*/ 423301 h 796876"/>
                <a:gd name="connsiteX28" fmla="*/ 466013 w 687863"/>
                <a:gd name="connsiteY28" fmla="*/ 346801 h 796876"/>
                <a:gd name="connsiteX29" fmla="*/ 480676 w 687863"/>
                <a:gd name="connsiteY29" fmla="*/ 330226 h 796876"/>
                <a:gd name="connsiteX30" fmla="*/ 480676 w 687863"/>
                <a:gd name="connsiteY30" fmla="*/ 330226 h 796876"/>
                <a:gd name="connsiteX31" fmla="*/ 531039 w 687863"/>
                <a:gd name="connsiteY31" fmla="*/ 277313 h 796876"/>
                <a:gd name="connsiteX32" fmla="*/ 587776 w 687863"/>
                <a:gd name="connsiteY32" fmla="*/ 204000 h 796876"/>
                <a:gd name="connsiteX33" fmla="*/ 609451 w 687863"/>
                <a:gd name="connsiteY33" fmla="*/ 188700 h 796876"/>
                <a:gd name="connsiteX34" fmla="*/ 647701 w 687863"/>
                <a:gd name="connsiteY34" fmla="*/ 170213 h 796876"/>
                <a:gd name="connsiteX35" fmla="*/ 687864 w 687863"/>
                <a:gd name="connsiteY35" fmla="*/ 139613 h 796876"/>
                <a:gd name="connsiteX36" fmla="*/ 660451 w 687863"/>
                <a:gd name="connsiteY36" fmla="*/ 144713 h 796876"/>
                <a:gd name="connsiteX37" fmla="*/ 644514 w 687863"/>
                <a:gd name="connsiteY37" fmla="*/ 132600 h 796876"/>
                <a:gd name="connsiteX38" fmla="*/ 582676 w 687863"/>
                <a:gd name="connsiteY38" fmla="*/ 140888 h 796876"/>
                <a:gd name="connsiteX39" fmla="*/ 572476 w 687863"/>
                <a:gd name="connsiteY39" fmla="*/ 129413 h 796876"/>
                <a:gd name="connsiteX40" fmla="*/ 517651 w 687863"/>
                <a:gd name="connsiteY40" fmla="*/ 151725 h 796876"/>
                <a:gd name="connsiteX41" fmla="*/ 473026 w 687863"/>
                <a:gd name="connsiteY41" fmla="*/ 133238 h 796876"/>
                <a:gd name="connsiteX42" fmla="*/ 460913 w 687863"/>
                <a:gd name="connsiteY42" fmla="*/ 118575 h 796876"/>
                <a:gd name="connsiteX43" fmla="*/ 425851 w 687863"/>
                <a:gd name="connsiteY43" fmla="*/ 121125 h 796876"/>
                <a:gd name="connsiteX44" fmla="*/ 402263 w 687863"/>
                <a:gd name="connsiteY44" fmla="*/ 109013 h 796876"/>
                <a:gd name="connsiteX45" fmla="*/ 409913 w 687863"/>
                <a:gd name="connsiteY45" fmla="*/ 99450 h 796876"/>
                <a:gd name="connsiteX46" fmla="*/ 379313 w 687863"/>
                <a:gd name="connsiteY46" fmla="*/ 89250 h 796876"/>
                <a:gd name="connsiteX47" fmla="*/ 351901 w 687863"/>
                <a:gd name="connsiteY47" fmla="*/ 89250 h 796876"/>
                <a:gd name="connsiteX48" fmla="*/ 309188 w 687863"/>
                <a:gd name="connsiteY48" fmla="*/ 107738 h 796876"/>
                <a:gd name="connsiteX49" fmla="*/ 300901 w 687863"/>
                <a:gd name="connsiteY49" fmla="*/ 94988 h 796876"/>
                <a:gd name="connsiteX50" fmla="*/ 233325 w 687863"/>
                <a:gd name="connsiteY50" fmla="*/ 82875 h 796876"/>
                <a:gd name="connsiteX51" fmla="*/ 210375 w 687863"/>
                <a:gd name="connsiteY51" fmla="*/ 25500 h 796876"/>
                <a:gd name="connsiteX52" fmla="*/ 207825 w 687863"/>
                <a:gd name="connsiteY52" fmla="*/ 8287 h 796876"/>
                <a:gd name="connsiteX53" fmla="*/ 177863 w 687863"/>
                <a:gd name="connsiteY53" fmla="*/ 0 h 796876"/>
                <a:gd name="connsiteX54" fmla="*/ 180413 w 687863"/>
                <a:gd name="connsiteY54" fmla="*/ 49725 h 796876"/>
                <a:gd name="connsiteX55" fmla="*/ 102638 w 687863"/>
                <a:gd name="connsiteY55" fmla="*/ 55463 h 796876"/>
                <a:gd name="connsiteX56" fmla="*/ 5100 w 687863"/>
                <a:gd name="connsiteY56" fmla="*/ 59288 h 796876"/>
                <a:gd name="connsiteX57" fmla="*/ 0 w 687863"/>
                <a:gd name="connsiteY57" fmla="*/ 59288 h 796876"/>
                <a:gd name="connsiteX58" fmla="*/ 0 w 687863"/>
                <a:gd name="connsiteY58" fmla="*/ 60563 h 79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87863" h="796876">
                  <a:moveTo>
                    <a:pt x="0" y="60563"/>
                  </a:moveTo>
                  <a:lnTo>
                    <a:pt x="12750" y="106463"/>
                  </a:lnTo>
                  <a:lnTo>
                    <a:pt x="40163" y="270301"/>
                  </a:lnTo>
                  <a:lnTo>
                    <a:pt x="52913" y="335963"/>
                  </a:lnTo>
                  <a:lnTo>
                    <a:pt x="56737" y="393338"/>
                  </a:lnTo>
                  <a:lnTo>
                    <a:pt x="71400" y="427763"/>
                  </a:lnTo>
                  <a:lnTo>
                    <a:pt x="74588" y="457726"/>
                  </a:lnTo>
                  <a:lnTo>
                    <a:pt x="77138" y="467926"/>
                  </a:lnTo>
                  <a:lnTo>
                    <a:pt x="76500" y="469839"/>
                  </a:lnTo>
                  <a:lnTo>
                    <a:pt x="51000" y="511913"/>
                  </a:lnTo>
                  <a:lnTo>
                    <a:pt x="67575" y="540601"/>
                  </a:lnTo>
                  <a:lnTo>
                    <a:pt x="100088" y="766914"/>
                  </a:lnTo>
                  <a:lnTo>
                    <a:pt x="101362" y="796877"/>
                  </a:lnTo>
                  <a:lnTo>
                    <a:pt x="133875" y="794964"/>
                  </a:lnTo>
                  <a:lnTo>
                    <a:pt x="260100" y="787952"/>
                  </a:lnTo>
                  <a:lnTo>
                    <a:pt x="576301" y="761177"/>
                  </a:lnTo>
                  <a:lnTo>
                    <a:pt x="608176" y="757989"/>
                  </a:lnTo>
                  <a:lnTo>
                    <a:pt x="608176" y="754801"/>
                  </a:lnTo>
                  <a:lnTo>
                    <a:pt x="598613" y="705076"/>
                  </a:lnTo>
                  <a:lnTo>
                    <a:pt x="559726" y="685314"/>
                  </a:lnTo>
                  <a:lnTo>
                    <a:pt x="528488" y="652801"/>
                  </a:lnTo>
                  <a:lnTo>
                    <a:pt x="479401" y="622839"/>
                  </a:lnTo>
                  <a:lnTo>
                    <a:pt x="464101" y="621564"/>
                  </a:lnTo>
                  <a:lnTo>
                    <a:pt x="440513" y="604989"/>
                  </a:lnTo>
                  <a:lnTo>
                    <a:pt x="446888" y="516376"/>
                  </a:lnTo>
                  <a:lnTo>
                    <a:pt x="424576" y="495976"/>
                  </a:lnTo>
                  <a:lnTo>
                    <a:pt x="432226" y="460276"/>
                  </a:lnTo>
                  <a:lnTo>
                    <a:pt x="473026" y="423301"/>
                  </a:lnTo>
                  <a:lnTo>
                    <a:pt x="466013" y="346801"/>
                  </a:lnTo>
                  <a:lnTo>
                    <a:pt x="480676" y="330226"/>
                  </a:lnTo>
                  <a:lnTo>
                    <a:pt x="480676" y="330226"/>
                  </a:lnTo>
                  <a:lnTo>
                    <a:pt x="531039" y="277313"/>
                  </a:lnTo>
                  <a:lnTo>
                    <a:pt x="587776" y="204000"/>
                  </a:lnTo>
                  <a:lnTo>
                    <a:pt x="609451" y="188700"/>
                  </a:lnTo>
                  <a:lnTo>
                    <a:pt x="647701" y="170213"/>
                  </a:lnTo>
                  <a:lnTo>
                    <a:pt x="687864" y="139613"/>
                  </a:lnTo>
                  <a:lnTo>
                    <a:pt x="660451" y="144713"/>
                  </a:lnTo>
                  <a:lnTo>
                    <a:pt x="644514" y="132600"/>
                  </a:lnTo>
                  <a:lnTo>
                    <a:pt x="582676" y="140888"/>
                  </a:lnTo>
                  <a:lnTo>
                    <a:pt x="572476" y="129413"/>
                  </a:lnTo>
                  <a:lnTo>
                    <a:pt x="517651" y="151725"/>
                  </a:lnTo>
                  <a:lnTo>
                    <a:pt x="473026" y="133238"/>
                  </a:lnTo>
                  <a:lnTo>
                    <a:pt x="460913" y="118575"/>
                  </a:lnTo>
                  <a:lnTo>
                    <a:pt x="425851" y="121125"/>
                  </a:lnTo>
                  <a:lnTo>
                    <a:pt x="402263" y="109013"/>
                  </a:lnTo>
                  <a:lnTo>
                    <a:pt x="409913" y="99450"/>
                  </a:lnTo>
                  <a:lnTo>
                    <a:pt x="379313" y="89250"/>
                  </a:lnTo>
                  <a:lnTo>
                    <a:pt x="351901" y="89250"/>
                  </a:lnTo>
                  <a:lnTo>
                    <a:pt x="309188" y="107738"/>
                  </a:lnTo>
                  <a:lnTo>
                    <a:pt x="300901" y="94988"/>
                  </a:lnTo>
                  <a:lnTo>
                    <a:pt x="233325" y="82875"/>
                  </a:lnTo>
                  <a:lnTo>
                    <a:pt x="210375" y="25500"/>
                  </a:lnTo>
                  <a:lnTo>
                    <a:pt x="207825" y="8287"/>
                  </a:lnTo>
                  <a:lnTo>
                    <a:pt x="177863" y="0"/>
                  </a:lnTo>
                  <a:lnTo>
                    <a:pt x="180413" y="49725"/>
                  </a:lnTo>
                  <a:lnTo>
                    <a:pt x="102638" y="55463"/>
                  </a:lnTo>
                  <a:lnTo>
                    <a:pt x="5100" y="59288"/>
                  </a:lnTo>
                  <a:lnTo>
                    <a:pt x="0" y="59288"/>
                  </a:lnTo>
                  <a:lnTo>
                    <a:pt x="0" y="605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6" name="Freeform 20">
              <a:extLst>
                <a:ext uri="{FF2B5EF4-FFF2-40B4-BE49-F238E27FC236}">
                  <a16:creationId xmlns:a16="http://schemas.microsoft.com/office/drawing/2014/main" id="{9D03DCD4-A935-ADCC-1AEB-362A6C11EC07}"/>
                </a:ext>
              </a:extLst>
            </p:cNvPr>
            <p:cNvSpPr/>
            <p:nvPr/>
          </p:nvSpPr>
          <p:spPr>
            <a:xfrm>
              <a:off x="2925686" y="1211234"/>
              <a:ext cx="1075464" cy="673201"/>
            </a:xfrm>
            <a:custGeom>
              <a:avLst/>
              <a:gdLst>
                <a:gd name="connsiteX0" fmla="*/ 1063990 w 1075464"/>
                <a:gd name="connsiteY0" fmla="*/ 132600 h 673201"/>
                <a:gd name="connsiteX1" fmla="*/ 851702 w 1075464"/>
                <a:gd name="connsiteY1" fmla="*/ 118575 h 673201"/>
                <a:gd name="connsiteX2" fmla="*/ 696789 w 1075464"/>
                <a:gd name="connsiteY2" fmla="*/ 103913 h 673201"/>
                <a:gd name="connsiteX3" fmla="*/ 542514 w 1075464"/>
                <a:gd name="connsiteY3" fmla="*/ 86063 h 673201"/>
                <a:gd name="connsiteX4" fmla="*/ 446251 w 1075464"/>
                <a:gd name="connsiteY4" fmla="*/ 73313 h 673201"/>
                <a:gd name="connsiteX5" fmla="*/ 293251 w 1075464"/>
                <a:gd name="connsiteY5" fmla="*/ 49725 h 673201"/>
                <a:gd name="connsiteX6" fmla="*/ 216750 w 1075464"/>
                <a:gd name="connsiteY6" fmla="*/ 36975 h 673201"/>
                <a:gd name="connsiteX7" fmla="*/ 45900 w 1075464"/>
                <a:gd name="connsiteY7" fmla="*/ 3825 h 673201"/>
                <a:gd name="connsiteX8" fmla="*/ 28050 w 1075464"/>
                <a:gd name="connsiteY8" fmla="*/ 0 h 673201"/>
                <a:gd name="connsiteX9" fmla="*/ 0 w 1075464"/>
                <a:gd name="connsiteY9" fmla="*/ 130050 h 673201"/>
                <a:gd name="connsiteX10" fmla="*/ 12112 w 1075464"/>
                <a:gd name="connsiteY10" fmla="*/ 153638 h 673201"/>
                <a:gd name="connsiteX11" fmla="*/ 22313 w 1075464"/>
                <a:gd name="connsiteY11" fmla="*/ 189975 h 673201"/>
                <a:gd name="connsiteX12" fmla="*/ 16575 w 1075464"/>
                <a:gd name="connsiteY12" fmla="*/ 195075 h 673201"/>
                <a:gd name="connsiteX13" fmla="*/ 28688 w 1075464"/>
                <a:gd name="connsiteY13" fmla="*/ 228225 h 673201"/>
                <a:gd name="connsiteX14" fmla="*/ 45263 w 1075464"/>
                <a:gd name="connsiteY14" fmla="*/ 242250 h 673201"/>
                <a:gd name="connsiteX15" fmla="*/ 93075 w 1075464"/>
                <a:gd name="connsiteY15" fmla="*/ 321938 h 673201"/>
                <a:gd name="connsiteX16" fmla="*/ 97538 w 1075464"/>
                <a:gd name="connsiteY16" fmla="*/ 335326 h 673201"/>
                <a:gd name="connsiteX17" fmla="*/ 116663 w 1075464"/>
                <a:gd name="connsiteY17" fmla="*/ 334051 h 673201"/>
                <a:gd name="connsiteX18" fmla="*/ 94350 w 1075464"/>
                <a:gd name="connsiteY18" fmla="*/ 439238 h 673201"/>
                <a:gd name="connsiteX19" fmla="*/ 84788 w 1075464"/>
                <a:gd name="connsiteY19" fmla="*/ 441788 h 673201"/>
                <a:gd name="connsiteX20" fmla="*/ 72675 w 1075464"/>
                <a:gd name="connsiteY20" fmla="*/ 476851 h 673201"/>
                <a:gd name="connsiteX21" fmla="*/ 136425 w 1075464"/>
                <a:gd name="connsiteY21" fmla="*/ 481313 h 673201"/>
                <a:gd name="connsiteX22" fmla="*/ 141525 w 1075464"/>
                <a:gd name="connsiteY22" fmla="*/ 511276 h 673201"/>
                <a:gd name="connsiteX23" fmla="*/ 177225 w 1075464"/>
                <a:gd name="connsiteY23" fmla="*/ 599251 h 673201"/>
                <a:gd name="connsiteX24" fmla="*/ 183600 w 1075464"/>
                <a:gd name="connsiteY24" fmla="*/ 604351 h 673201"/>
                <a:gd name="connsiteX25" fmla="*/ 208463 w 1075464"/>
                <a:gd name="connsiteY25" fmla="*/ 655989 h 673201"/>
                <a:gd name="connsiteX26" fmla="*/ 214838 w 1075464"/>
                <a:gd name="connsiteY26" fmla="*/ 650889 h 673201"/>
                <a:gd name="connsiteX27" fmla="*/ 268388 w 1075464"/>
                <a:gd name="connsiteY27" fmla="*/ 650251 h 673201"/>
                <a:gd name="connsiteX28" fmla="*/ 335963 w 1075464"/>
                <a:gd name="connsiteY28" fmla="*/ 657264 h 673201"/>
                <a:gd name="connsiteX29" fmla="*/ 352538 w 1075464"/>
                <a:gd name="connsiteY29" fmla="*/ 635589 h 673201"/>
                <a:gd name="connsiteX30" fmla="*/ 372301 w 1075464"/>
                <a:gd name="connsiteY30" fmla="*/ 671289 h 673201"/>
                <a:gd name="connsiteX31" fmla="*/ 376126 w 1075464"/>
                <a:gd name="connsiteY31" fmla="*/ 673201 h 673201"/>
                <a:gd name="connsiteX32" fmla="*/ 376763 w 1075464"/>
                <a:gd name="connsiteY32" fmla="*/ 669376 h 673201"/>
                <a:gd name="connsiteX33" fmla="*/ 386326 w 1075464"/>
                <a:gd name="connsiteY33" fmla="*/ 606264 h 673201"/>
                <a:gd name="connsiteX34" fmla="*/ 606264 w 1075464"/>
                <a:gd name="connsiteY34" fmla="*/ 633676 h 673201"/>
                <a:gd name="connsiteX35" fmla="*/ 781577 w 1075464"/>
                <a:gd name="connsiteY35" fmla="*/ 650251 h 673201"/>
                <a:gd name="connsiteX36" fmla="*/ 874014 w 1075464"/>
                <a:gd name="connsiteY36" fmla="*/ 657901 h 673201"/>
                <a:gd name="connsiteX37" fmla="*/ 1038490 w 1075464"/>
                <a:gd name="connsiteY37" fmla="*/ 668101 h 673201"/>
                <a:gd name="connsiteX38" fmla="*/ 1046777 w 1075464"/>
                <a:gd name="connsiteY38" fmla="*/ 668739 h 673201"/>
                <a:gd name="connsiteX39" fmla="*/ 1048690 w 1075464"/>
                <a:gd name="connsiteY39" fmla="*/ 668739 h 673201"/>
                <a:gd name="connsiteX40" fmla="*/ 1049327 w 1075464"/>
                <a:gd name="connsiteY40" fmla="*/ 659176 h 673201"/>
                <a:gd name="connsiteX41" fmla="*/ 1051240 w 1075464"/>
                <a:gd name="connsiteY41" fmla="*/ 614551 h 673201"/>
                <a:gd name="connsiteX42" fmla="*/ 1053790 w 1075464"/>
                <a:gd name="connsiteY42" fmla="*/ 556539 h 673201"/>
                <a:gd name="connsiteX43" fmla="*/ 1054427 w 1075464"/>
                <a:gd name="connsiteY43" fmla="*/ 541876 h 673201"/>
                <a:gd name="connsiteX44" fmla="*/ 1055702 w 1075464"/>
                <a:gd name="connsiteY44" fmla="*/ 516376 h 673201"/>
                <a:gd name="connsiteX45" fmla="*/ 1066540 w 1075464"/>
                <a:gd name="connsiteY45" fmla="*/ 314288 h 673201"/>
                <a:gd name="connsiteX46" fmla="*/ 1074827 w 1075464"/>
                <a:gd name="connsiteY46" fmla="*/ 157463 h 673201"/>
                <a:gd name="connsiteX47" fmla="*/ 1075465 w 1075464"/>
                <a:gd name="connsiteY47" fmla="*/ 131963 h 673201"/>
                <a:gd name="connsiteX48" fmla="*/ 1063990 w 1075464"/>
                <a:gd name="connsiteY48" fmla="*/ 132600 h 673201"/>
                <a:gd name="connsiteX49" fmla="*/ 1063990 w 1075464"/>
                <a:gd name="connsiteY49" fmla="*/ 132600 h 6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75464" h="673201">
                  <a:moveTo>
                    <a:pt x="1063990" y="132600"/>
                  </a:moveTo>
                  <a:lnTo>
                    <a:pt x="851702" y="118575"/>
                  </a:lnTo>
                  <a:lnTo>
                    <a:pt x="696789" y="103913"/>
                  </a:lnTo>
                  <a:lnTo>
                    <a:pt x="542514" y="86063"/>
                  </a:lnTo>
                  <a:lnTo>
                    <a:pt x="446251" y="73313"/>
                  </a:lnTo>
                  <a:lnTo>
                    <a:pt x="293251" y="49725"/>
                  </a:lnTo>
                  <a:lnTo>
                    <a:pt x="216750" y="36975"/>
                  </a:lnTo>
                  <a:lnTo>
                    <a:pt x="45900" y="3825"/>
                  </a:lnTo>
                  <a:lnTo>
                    <a:pt x="28050" y="0"/>
                  </a:lnTo>
                  <a:lnTo>
                    <a:pt x="0" y="130050"/>
                  </a:lnTo>
                  <a:lnTo>
                    <a:pt x="12112" y="153638"/>
                  </a:lnTo>
                  <a:lnTo>
                    <a:pt x="22313" y="189975"/>
                  </a:lnTo>
                  <a:lnTo>
                    <a:pt x="16575" y="195075"/>
                  </a:lnTo>
                  <a:lnTo>
                    <a:pt x="28688" y="228225"/>
                  </a:lnTo>
                  <a:lnTo>
                    <a:pt x="45263" y="242250"/>
                  </a:lnTo>
                  <a:lnTo>
                    <a:pt x="93075" y="321938"/>
                  </a:lnTo>
                  <a:lnTo>
                    <a:pt x="97538" y="335326"/>
                  </a:lnTo>
                  <a:lnTo>
                    <a:pt x="116663" y="334051"/>
                  </a:lnTo>
                  <a:lnTo>
                    <a:pt x="94350" y="439238"/>
                  </a:lnTo>
                  <a:lnTo>
                    <a:pt x="84788" y="441788"/>
                  </a:lnTo>
                  <a:lnTo>
                    <a:pt x="72675" y="476851"/>
                  </a:lnTo>
                  <a:lnTo>
                    <a:pt x="136425" y="481313"/>
                  </a:lnTo>
                  <a:lnTo>
                    <a:pt x="141525" y="511276"/>
                  </a:lnTo>
                  <a:lnTo>
                    <a:pt x="177225" y="599251"/>
                  </a:lnTo>
                  <a:lnTo>
                    <a:pt x="183600" y="604351"/>
                  </a:lnTo>
                  <a:lnTo>
                    <a:pt x="208463" y="655989"/>
                  </a:lnTo>
                  <a:lnTo>
                    <a:pt x="214838" y="650889"/>
                  </a:lnTo>
                  <a:lnTo>
                    <a:pt x="268388" y="650251"/>
                  </a:lnTo>
                  <a:lnTo>
                    <a:pt x="335963" y="657264"/>
                  </a:lnTo>
                  <a:lnTo>
                    <a:pt x="352538" y="635589"/>
                  </a:lnTo>
                  <a:lnTo>
                    <a:pt x="372301" y="671289"/>
                  </a:lnTo>
                  <a:lnTo>
                    <a:pt x="376126" y="673201"/>
                  </a:lnTo>
                  <a:lnTo>
                    <a:pt x="376763" y="669376"/>
                  </a:lnTo>
                  <a:lnTo>
                    <a:pt x="386326" y="606264"/>
                  </a:lnTo>
                  <a:lnTo>
                    <a:pt x="606264" y="633676"/>
                  </a:lnTo>
                  <a:lnTo>
                    <a:pt x="781577" y="650251"/>
                  </a:lnTo>
                  <a:lnTo>
                    <a:pt x="874014" y="657901"/>
                  </a:lnTo>
                  <a:lnTo>
                    <a:pt x="1038490" y="668101"/>
                  </a:lnTo>
                  <a:lnTo>
                    <a:pt x="1046777" y="668739"/>
                  </a:lnTo>
                  <a:lnTo>
                    <a:pt x="1048690" y="668739"/>
                  </a:lnTo>
                  <a:lnTo>
                    <a:pt x="1049327" y="659176"/>
                  </a:lnTo>
                  <a:lnTo>
                    <a:pt x="1051240" y="614551"/>
                  </a:lnTo>
                  <a:lnTo>
                    <a:pt x="1053790" y="556539"/>
                  </a:lnTo>
                  <a:lnTo>
                    <a:pt x="1054427" y="541876"/>
                  </a:lnTo>
                  <a:lnTo>
                    <a:pt x="1055702" y="516376"/>
                  </a:lnTo>
                  <a:lnTo>
                    <a:pt x="1066540" y="314288"/>
                  </a:lnTo>
                  <a:lnTo>
                    <a:pt x="1074827" y="157463"/>
                  </a:lnTo>
                  <a:lnTo>
                    <a:pt x="1075465" y="131963"/>
                  </a:lnTo>
                  <a:lnTo>
                    <a:pt x="1063990" y="132600"/>
                  </a:lnTo>
                  <a:lnTo>
                    <a:pt x="1063990" y="1326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7" name="Freeform 21">
              <a:extLst>
                <a:ext uri="{FF2B5EF4-FFF2-40B4-BE49-F238E27FC236}">
                  <a16:creationId xmlns:a16="http://schemas.microsoft.com/office/drawing/2014/main" id="{EA9B4849-1654-E722-A5B9-C96D0EA3BAE3}"/>
                </a:ext>
              </a:extLst>
            </p:cNvPr>
            <p:cNvSpPr/>
            <p:nvPr/>
          </p:nvSpPr>
          <p:spPr>
            <a:xfrm>
              <a:off x="3979475" y="1344472"/>
              <a:ext cx="699338" cy="418838"/>
            </a:xfrm>
            <a:custGeom>
              <a:avLst/>
              <a:gdLst>
                <a:gd name="connsiteX0" fmla="*/ 610726 w 699338"/>
                <a:gd name="connsiteY0" fmla="*/ 5100 h 418838"/>
                <a:gd name="connsiteX1" fmla="*/ 416926 w 699338"/>
                <a:gd name="connsiteY1" fmla="*/ 8925 h 418838"/>
                <a:gd name="connsiteX2" fmla="*/ 281138 w 699338"/>
                <a:gd name="connsiteY2" fmla="*/ 8287 h 418838"/>
                <a:gd name="connsiteX3" fmla="*/ 164475 w 699338"/>
                <a:gd name="connsiteY3" fmla="*/ 5737 h 418838"/>
                <a:gd name="connsiteX4" fmla="*/ 28050 w 699338"/>
                <a:gd name="connsiteY4" fmla="*/ 637 h 418838"/>
                <a:gd name="connsiteX5" fmla="*/ 21038 w 699338"/>
                <a:gd name="connsiteY5" fmla="*/ 0 h 418838"/>
                <a:gd name="connsiteX6" fmla="*/ 20400 w 699338"/>
                <a:gd name="connsiteY6" fmla="*/ 25500 h 418838"/>
                <a:gd name="connsiteX7" fmla="*/ 12113 w 699338"/>
                <a:gd name="connsiteY7" fmla="*/ 182325 h 418838"/>
                <a:gd name="connsiteX8" fmla="*/ 1275 w 699338"/>
                <a:gd name="connsiteY8" fmla="*/ 384413 h 418838"/>
                <a:gd name="connsiteX9" fmla="*/ 0 w 699338"/>
                <a:gd name="connsiteY9" fmla="*/ 409913 h 418838"/>
                <a:gd name="connsiteX10" fmla="*/ 24863 w 699338"/>
                <a:gd name="connsiteY10" fmla="*/ 411188 h 418838"/>
                <a:gd name="connsiteX11" fmla="*/ 307913 w 699338"/>
                <a:gd name="connsiteY11" fmla="*/ 418838 h 418838"/>
                <a:gd name="connsiteX12" fmla="*/ 569289 w 699338"/>
                <a:gd name="connsiteY12" fmla="*/ 416926 h 418838"/>
                <a:gd name="connsiteX13" fmla="*/ 677664 w 699338"/>
                <a:gd name="connsiteY13" fmla="*/ 413738 h 418838"/>
                <a:gd name="connsiteX14" fmla="*/ 699339 w 699338"/>
                <a:gd name="connsiteY14" fmla="*/ 412463 h 418838"/>
                <a:gd name="connsiteX15" fmla="*/ 696789 w 699338"/>
                <a:gd name="connsiteY15" fmla="*/ 402263 h 418838"/>
                <a:gd name="connsiteX16" fmla="*/ 693601 w 699338"/>
                <a:gd name="connsiteY16" fmla="*/ 372301 h 418838"/>
                <a:gd name="connsiteX17" fmla="*/ 678939 w 699338"/>
                <a:gd name="connsiteY17" fmla="*/ 337876 h 418838"/>
                <a:gd name="connsiteX18" fmla="*/ 675114 w 699338"/>
                <a:gd name="connsiteY18" fmla="*/ 280501 h 418838"/>
                <a:gd name="connsiteX19" fmla="*/ 662364 w 699338"/>
                <a:gd name="connsiteY19" fmla="*/ 214838 h 418838"/>
                <a:gd name="connsiteX20" fmla="*/ 634952 w 699338"/>
                <a:gd name="connsiteY20" fmla="*/ 51000 h 418838"/>
                <a:gd name="connsiteX21" fmla="*/ 622202 w 699338"/>
                <a:gd name="connsiteY21" fmla="*/ 5100 h 418838"/>
                <a:gd name="connsiteX22" fmla="*/ 610726 w 699338"/>
                <a:gd name="connsiteY22" fmla="*/ 5100 h 418838"/>
                <a:gd name="connsiteX23" fmla="*/ 610726 w 699338"/>
                <a:gd name="connsiteY23" fmla="*/ 5100 h 41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338" h="418838">
                  <a:moveTo>
                    <a:pt x="610726" y="5100"/>
                  </a:moveTo>
                  <a:lnTo>
                    <a:pt x="416926" y="8925"/>
                  </a:lnTo>
                  <a:lnTo>
                    <a:pt x="281138" y="8287"/>
                  </a:lnTo>
                  <a:lnTo>
                    <a:pt x="164475" y="5737"/>
                  </a:lnTo>
                  <a:lnTo>
                    <a:pt x="28050" y="637"/>
                  </a:lnTo>
                  <a:lnTo>
                    <a:pt x="21038" y="0"/>
                  </a:lnTo>
                  <a:lnTo>
                    <a:pt x="20400" y="25500"/>
                  </a:lnTo>
                  <a:lnTo>
                    <a:pt x="12113" y="182325"/>
                  </a:lnTo>
                  <a:lnTo>
                    <a:pt x="1275" y="384413"/>
                  </a:lnTo>
                  <a:lnTo>
                    <a:pt x="0" y="409913"/>
                  </a:lnTo>
                  <a:lnTo>
                    <a:pt x="24863" y="411188"/>
                  </a:lnTo>
                  <a:lnTo>
                    <a:pt x="307913" y="418838"/>
                  </a:lnTo>
                  <a:lnTo>
                    <a:pt x="569289" y="416926"/>
                  </a:lnTo>
                  <a:lnTo>
                    <a:pt x="677664" y="413738"/>
                  </a:lnTo>
                  <a:lnTo>
                    <a:pt x="699339" y="412463"/>
                  </a:lnTo>
                  <a:lnTo>
                    <a:pt x="696789" y="402263"/>
                  </a:lnTo>
                  <a:lnTo>
                    <a:pt x="693601" y="372301"/>
                  </a:lnTo>
                  <a:lnTo>
                    <a:pt x="678939" y="337876"/>
                  </a:lnTo>
                  <a:lnTo>
                    <a:pt x="675114" y="280501"/>
                  </a:lnTo>
                  <a:lnTo>
                    <a:pt x="662364" y="214838"/>
                  </a:lnTo>
                  <a:lnTo>
                    <a:pt x="634952" y="51000"/>
                  </a:lnTo>
                  <a:lnTo>
                    <a:pt x="622202" y="5100"/>
                  </a:lnTo>
                  <a:lnTo>
                    <a:pt x="610726" y="5100"/>
                  </a:lnTo>
                  <a:lnTo>
                    <a:pt x="610726" y="51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 name="Freeform 23">
              <a:extLst>
                <a:ext uri="{FF2B5EF4-FFF2-40B4-BE49-F238E27FC236}">
                  <a16:creationId xmlns:a16="http://schemas.microsoft.com/office/drawing/2014/main" id="{4F319A7B-BFD4-7F72-2FCE-85DF416866C2}"/>
                </a:ext>
              </a:extLst>
            </p:cNvPr>
            <p:cNvSpPr/>
            <p:nvPr/>
          </p:nvSpPr>
          <p:spPr>
            <a:xfrm>
              <a:off x="2673235" y="1193384"/>
              <a:ext cx="629213" cy="1025739"/>
            </a:xfrm>
            <a:custGeom>
              <a:avLst/>
              <a:gdLst>
                <a:gd name="connsiteX0" fmla="*/ 279863 w 629213"/>
                <a:gd name="connsiteY0" fmla="*/ 17850 h 1025739"/>
                <a:gd name="connsiteX1" fmla="*/ 223125 w 629213"/>
                <a:gd name="connsiteY1" fmla="*/ 6375 h 1025739"/>
                <a:gd name="connsiteX2" fmla="*/ 204638 w 629213"/>
                <a:gd name="connsiteY2" fmla="*/ 1913 h 1025739"/>
                <a:gd name="connsiteX3" fmla="*/ 196351 w 629213"/>
                <a:gd name="connsiteY3" fmla="*/ 0 h 1025739"/>
                <a:gd name="connsiteX4" fmla="*/ 121763 w 629213"/>
                <a:gd name="connsiteY4" fmla="*/ 335326 h 1025739"/>
                <a:gd name="connsiteX5" fmla="*/ 124950 w 629213"/>
                <a:gd name="connsiteY5" fmla="*/ 363376 h 1025739"/>
                <a:gd name="connsiteX6" fmla="*/ 122400 w 629213"/>
                <a:gd name="connsiteY6" fmla="*/ 392701 h 1025739"/>
                <a:gd name="connsiteX7" fmla="*/ 123675 w 629213"/>
                <a:gd name="connsiteY7" fmla="*/ 399076 h 1025739"/>
                <a:gd name="connsiteX8" fmla="*/ 123675 w 629213"/>
                <a:gd name="connsiteY8" fmla="*/ 399713 h 1025739"/>
                <a:gd name="connsiteX9" fmla="*/ 124313 w 629213"/>
                <a:gd name="connsiteY9" fmla="*/ 411826 h 1025739"/>
                <a:gd name="connsiteX10" fmla="*/ 145988 w 629213"/>
                <a:gd name="connsiteY10" fmla="*/ 435413 h 1025739"/>
                <a:gd name="connsiteX11" fmla="*/ 114113 w 629213"/>
                <a:gd name="connsiteY11" fmla="*/ 514464 h 1025739"/>
                <a:gd name="connsiteX12" fmla="*/ 47813 w 629213"/>
                <a:gd name="connsiteY12" fmla="*/ 601164 h 1025739"/>
                <a:gd name="connsiteX13" fmla="*/ 45900 w 629213"/>
                <a:gd name="connsiteY13" fmla="*/ 617101 h 1025739"/>
                <a:gd name="connsiteX14" fmla="*/ 63113 w 629213"/>
                <a:gd name="connsiteY14" fmla="*/ 657901 h 1025739"/>
                <a:gd name="connsiteX15" fmla="*/ 2550 w 629213"/>
                <a:gd name="connsiteY15" fmla="*/ 910989 h 1025739"/>
                <a:gd name="connsiteX16" fmla="*/ 0 w 629213"/>
                <a:gd name="connsiteY16" fmla="*/ 924377 h 1025739"/>
                <a:gd name="connsiteX17" fmla="*/ 17850 w 629213"/>
                <a:gd name="connsiteY17" fmla="*/ 928202 h 1025739"/>
                <a:gd name="connsiteX18" fmla="*/ 199538 w 629213"/>
                <a:gd name="connsiteY18" fmla="*/ 963902 h 1025739"/>
                <a:gd name="connsiteX19" fmla="*/ 272213 w 629213"/>
                <a:gd name="connsiteY19" fmla="*/ 977289 h 1025739"/>
                <a:gd name="connsiteX20" fmla="*/ 290701 w 629213"/>
                <a:gd name="connsiteY20" fmla="*/ 980477 h 1025739"/>
                <a:gd name="connsiteX21" fmla="*/ 308551 w 629213"/>
                <a:gd name="connsiteY21" fmla="*/ 983664 h 1025739"/>
                <a:gd name="connsiteX22" fmla="*/ 400988 w 629213"/>
                <a:gd name="connsiteY22" fmla="*/ 998327 h 1025739"/>
                <a:gd name="connsiteX23" fmla="*/ 566739 w 629213"/>
                <a:gd name="connsiteY23" fmla="*/ 1023190 h 1025739"/>
                <a:gd name="connsiteX24" fmla="*/ 585226 w 629213"/>
                <a:gd name="connsiteY24" fmla="*/ 1025740 h 1025739"/>
                <a:gd name="connsiteX25" fmla="*/ 587776 w 629213"/>
                <a:gd name="connsiteY25" fmla="*/ 1004702 h 1025739"/>
                <a:gd name="connsiteX26" fmla="*/ 593514 w 629213"/>
                <a:gd name="connsiteY26" fmla="*/ 963264 h 1025739"/>
                <a:gd name="connsiteX27" fmla="*/ 615189 w 629213"/>
                <a:gd name="connsiteY27" fmla="*/ 796239 h 1025739"/>
                <a:gd name="connsiteX28" fmla="*/ 626664 w 629213"/>
                <a:gd name="connsiteY28" fmla="*/ 713364 h 1025739"/>
                <a:gd name="connsiteX29" fmla="*/ 629214 w 629213"/>
                <a:gd name="connsiteY29" fmla="*/ 692326 h 1025739"/>
                <a:gd name="connsiteX30" fmla="*/ 625389 w 629213"/>
                <a:gd name="connsiteY30" fmla="*/ 690414 h 1025739"/>
                <a:gd name="connsiteX31" fmla="*/ 605626 w 629213"/>
                <a:gd name="connsiteY31" fmla="*/ 654714 h 1025739"/>
                <a:gd name="connsiteX32" fmla="*/ 589051 w 629213"/>
                <a:gd name="connsiteY32" fmla="*/ 676389 h 1025739"/>
                <a:gd name="connsiteX33" fmla="*/ 521476 w 629213"/>
                <a:gd name="connsiteY33" fmla="*/ 669376 h 1025739"/>
                <a:gd name="connsiteX34" fmla="*/ 467926 w 629213"/>
                <a:gd name="connsiteY34" fmla="*/ 670014 h 1025739"/>
                <a:gd name="connsiteX35" fmla="*/ 461551 w 629213"/>
                <a:gd name="connsiteY35" fmla="*/ 675114 h 1025739"/>
                <a:gd name="connsiteX36" fmla="*/ 436688 w 629213"/>
                <a:gd name="connsiteY36" fmla="*/ 623476 h 1025739"/>
                <a:gd name="connsiteX37" fmla="*/ 430313 w 629213"/>
                <a:gd name="connsiteY37" fmla="*/ 618376 h 1025739"/>
                <a:gd name="connsiteX38" fmla="*/ 394613 w 629213"/>
                <a:gd name="connsiteY38" fmla="*/ 530401 h 1025739"/>
                <a:gd name="connsiteX39" fmla="*/ 389513 w 629213"/>
                <a:gd name="connsiteY39" fmla="*/ 500439 h 1025739"/>
                <a:gd name="connsiteX40" fmla="*/ 325763 w 629213"/>
                <a:gd name="connsiteY40" fmla="*/ 495976 h 1025739"/>
                <a:gd name="connsiteX41" fmla="*/ 337876 w 629213"/>
                <a:gd name="connsiteY41" fmla="*/ 460913 h 1025739"/>
                <a:gd name="connsiteX42" fmla="*/ 347438 w 629213"/>
                <a:gd name="connsiteY42" fmla="*/ 458363 h 1025739"/>
                <a:gd name="connsiteX43" fmla="*/ 369751 w 629213"/>
                <a:gd name="connsiteY43" fmla="*/ 353176 h 1025739"/>
                <a:gd name="connsiteX44" fmla="*/ 350626 w 629213"/>
                <a:gd name="connsiteY44" fmla="*/ 354451 h 1025739"/>
                <a:gd name="connsiteX45" fmla="*/ 346163 w 629213"/>
                <a:gd name="connsiteY45" fmla="*/ 341063 h 1025739"/>
                <a:gd name="connsiteX46" fmla="*/ 298351 w 629213"/>
                <a:gd name="connsiteY46" fmla="*/ 261376 h 1025739"/>
                <a:gd name="connsiteX47" fmla="*/ 281776 w 629213"/>
                <a:gd name="connsiteY47" fmla="*/ 247350 h 1025739"/>
                <a:gd name="connsiteX48" fmla="*/ 269663 w 629213"/>
                <a:gd name="connsiteY48" fmla="*/ 214200 h 1025739"/>
                <a:gd name="connsiteX49" fmla="*/ 275401 w 629213"/>
                <a:gd name="connsiteY49" fmla="*/ 209100 h 1025739"/>
                <a:gd name="connsiteX50" fmla="*/ 265201 w 629213"/>
                <a:gd name="connsiteY50" fmla="*/ 172763 h 1025739"/>
                <a:gd name="connsiteX51" fmla="*/ 253088 w 629213"/>
                <a:gd name="connsiteY51" fmla="*/ 149175 h 1025739"/>
                <a:gd name="connsiteX52" fmla="*/ 279863 w 629213"/>
                <a:gd name="connsiteY52" fmla="*/ 17850 h 1025739"/>
                <a:gd name="connsiteX53" fmla="*/ 279863 w 629213"/>
                <a:gd name="connsiteY53" fmla="*/ 17850 h 1025739"/>
                <a:gd name="connsiteX54" fmla="*/ 279863 w 629213"/>
                <a:gd name="connsiteY54" fmla="*/ 17850 h 10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29213" h="1025739">
                  <a:moveTo>
                    <a:pt x="279863" y="17850"/>
                  </a:moveTo>
                  <a:lnTo>
                    <a:pt x="223125" y="6375"/>
                  </a:lnTo>
                  <a:lnTo>
                    <a:pt x="204638" y="1913"/>
                  </a:lnTo>
                  <a:lnTo>
                    <a:pt x="196351" y="0"/>
                  </a:lnTo>
                  <a:lnTo>
                    <a:pt x="121763" y="335326"/>
                  </a:lnTo>
                  <a:lnTo>
                    <a:pt x="124950" y="363376"/>
                  </a:lnTo>
                  <a:lnTo>
                    <a:pt x="122400" y="392701"/>
                  </a:lnTo>
                  <a:lnTo>
                    <a:pt x="123675" y="399076"/>
                  </a:lnTo>
                  <a:lnTo>
                    <a:pt x="123675" y="399713"/>
                  </a:lnTo>
                  <a:lnTo>
                    <a:pt x="124313" y="411826"/>
                  </a:lnTo>
                  <a:lnTo>
                    <a:pt x="145988" y="435413"/>
                  </a:lnTo>
                  <a:lnTo>
                    <a:pt x="114113" y="514464"/>
                  </a:lnTo>
                  <a:lnTo>
                    <a:pt x="47813" y="601164"/>
                  </a:lnTo>
                  <a:lnTo>
                    <a:pt x="45900" y="617101"/>
                  </a:lnTo>
                  <a:lnTo>
                    <a:pt x="63113" y="657901"/>
                  </a:lnTo>
                  <a:lnTo>
                    <a:pt x="2550" y="910989"/>
                  </a:lnTo>
                  <a:lnTo>
                    <a:pt x="0" y="924377"/>
                  </a:lnTo>
                  <a:lnTo>
                    <a:pt x="17850" y="928202"/>
                  </a:lnTo>
                  <a:lnTo>
                    <a:pt x="199538" y="963902"/>
                  </a:lnTo>
                  <a:lnTo>
                    <a:pt x="272213" y="977289"/>
                  </a:lnTo>
                  <a:lnTo>
                    <a:pt x="290701" y="980477"/>
                  </a:lnTo>
                  <a:lnTo>
                    <a:pt x="308551" y="983664"/>
                  </a:lnTo>
                  <a:lnTo>
                    <a:pt x="400988" y="998327"/>
                  </a:lnTo>
                  <a:lnTo>
                    <a:pt x="566739" y="1023190"/>
                  </a:lnTo>
                  <a:lnTo>
                    <a:pt x="585226" y="1025740"/>
                  </a:lnTo>
                  <a:lnTo>
                    <a:pt x="587776" y="1004702"/>
                  </a:lnTo>
                  <a:lnTo>
                    <a:pt x="593514" y="963264"/>
                  </a:lnTo>
                  <a:lnTo>
                    <a:pt x="615189" y="796239"/>
                  </a:lnTo>
                  <a:lnTo>
                    <a:pt x="626664" y="713364"/>
                  </a:lnTo>
                  <a:lnTo>
                    <a:pt x="629214" y="692326"/>
                  </a:lnTo>
                  <a:lnTo>
                    <a:pt x="625389" y="690414"/>
                  </a:lnTo>
                  <a:lnTo>
                    <a:pt x="605626" y="654714"/>
                  </a:lnTo>
                  <a:lnTo>
                    <a:pt x="589051" y="676389"/>
                  </a:lnTo>
                  <a:lnTo>
                    <a:pt x="521476" y="669376"/>
                  </a:lnTo>
                  <a:lnTo>
                    <a:pt x="467926" y="670014"/>
                  </a:lnTo>
                  <a:lnTo>
                    <a:pt x="461551" y="675114"/>
                  </a:lnTo>
                  <a:lnTo>
                    <a:pt x="436688" y="623476"/>
                  </a:lnTo>
                  <a:lnTo>
                    <a:pt x="430313" y="618376"/>
                  </a:lnTo>
                  <a:lnTo>
                    <a:pt x="394613" y="530401"/>
                  </a:lnTo>
                  <a:lnTo>
                    <a:pt x="389513" y="500439"/>
                  </a:lnTo>
                  <a:lnTo>
                    <a:pt x="325763" y="495976"/>
                  </a:lnTo>
                  <a:lnTo>
                    <a:pt x="337876" y="460913"/>
                  </a:lnTo>
                  <a:lnTo>
                    <a:pt x="347438" y="458363"/>
                  </a:lnTo>
                  <a:lnTo>
                    <a:pt x="369751" y="353176"/>
                  </a:lnTo>
                  <a:lnTo>
                    <a:pt x="350626" y="354451"/>
                  </a:lnTo>
                  <a:lnTo>
                    <a:pt x="346163" y="341063"/>
                  </a:lnTo>
                  <a:lnTo>
                    <a:pt x="298351" y="261376"/>
                  </a:lnTo>
                  <a:lnTo>
                    <a:pt x="281776" y="247350"/>
                  </a:lnTo>
                  <a:lnTo>
                    <a:pt x="269663" y="214200"/>
                  </a:lnTo>
                  <a:lnTo>
                    <a:pt x="275401" y="209100"/>
                  </a:lnTo>
                  <a:lnTo>
                    <a:pt x="265201" y="172763"/>
                  </a:lnTo>
                  <a:lnTo>
                    <a:pt x="253088" y="149175"/>
                  </a:lnTo>
                  <a:lnTo>
                    <a:pt x="279863" y="17850"/>
                  </a:lnTo>
                  <a:lnTo>
                    <a:pt x="279863" y="17850"/>
                  </a:lnTo>
                  <a:lnTo>
                    <a:pt x="279863" y="178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 name="Freeform 24">
              <a:extLst>
                <a:ext uri="{FF2B5EF4-FFF2-40B4-BE49-F238E27FC236}">
                  <a16:creationId xmlns:a16="http://schemas.microsoft.com/office/drawing/2014/main" id="{DAED46B0-60AE-AC11-8455-BB1F9256F7DE}"/>
                </a:ext>
              </a:extLst>
            </p:cNvPr>
            <p:cNvSpPr/>
            <p:nvPr/>
          </p:nvSpPr>
          <p:spPr>
            <a:xfrm>
              <a:off x="2166422" y="1069709"/>
              <a:ext cx="703801" cy="521475"/>
            </a:xfrm>
            <a:custGeom>
              <a:avLst/>
              <a:gdLst>
                <a:gd name="connsiteX0" fmla="*/ 12750 w 703801"/>
                <a:gd name="connsiteY0" fmla="*/ 301538 h 521475"/>
                <a:gd name="connsiteX1" fmla="*/ 13388 w 703801"/>
                <a:gd name="connsiteY1" fmla="*/ 290063 h 521475"/>
                <a:gd name="connsiteX2" fmla="*/ 12113 w 703801"/>
                <a:gd name="connsiteY2" fmla="*/ 290701 h 521475"/>
                <a:gd name="connsiteX3" fmla="*/ 12750 w 703801"/>
                <a:gd name="connsiteY3" fmla="*/ 301538 h 521475"/>
                <a:gd name="connsiteX4" fmla="*/ 12750 w 703801"/>
                <a:gd name="connsiteY4" fmla="*/ 301538 h 521475"/>
                <a:gd name="connsiteX5" fmla="*/ 149175 w 703801"/>
                <a:gd name="connsiteY5" fmla="*/ 242888 h 521475"/>
                <a:gd name="connsiteX6" fmla="*/ 153000 w 703801"/>
                <a:gd name="connsiteY6" fmla="*/ 236513 h 521475"/>
                <a:gd name="connsiteX7" fmla="*/ 148538 w 703801"/>
                <a:gd name="connsiteY7" fmla="*/ 235875 h 521475"/>
                <a:gd name="connsiteX8" fmla="*/ 149175 w 703801"/>
                <a:gd name="connsiteY8" fmla="*/ 242888 h 521475"/>
                <a:gd name="connsiteX9" fmla="*/ 149175 w 703801"/>
                <a:gd name="connsiteY9" fmla="*/ 242888 h 521475"/>
                <a:gd name="connsiteX10" fmla="*/ 137700 w 703801"/>
                <a:gd name="connsiteY10" fmla="*/ 231413 h 521475"/>
                <a:gd name="connsiteX11" fmla="*/ 141525 w 703801"/>
                <a:gd name="connsiteY11" fmla="*/ 218663 h 521475"/>
                <a:gd name="connsiteX12" fmla="*/ 137700 w 703801"/>
                <a:gd name="connsiteY12" fmla="*/ 217388 h 521475"/>
                <a:gd name="connsiteX13" fmla="*/ 137700 w 703801"/>
                <a:gd name="connsiteY13" fmla="*/ 231413 h 521475"/>
                <a:gd name="connsiteX14" fmla="*/ 183600 w 703801"/>
                <a:gd name="connsiteY14" fmla="*/ 212925 h 521475"/>
                <a:gd name="connsiteX15" fmla="*/ 182963 w 703801"/>
                <a:gd name="connsiteY15" fmla="*/ 200175 h 521475"/>
                <a:gd name="connsiteX16" fmla="*/ 171488 w 703801"/>
                <a:gd name="connsiteY16" fmla="*/ 216750 h 521475"/>
                <a:gd name="connsiteX17" fmla="*/ 183600 w 703801"/>
                <a:gd name="connsiteY17" fmla="*/ 212925 h 521475"/>
                <a:gd name="connsiteX18" fmla="*/ 183600 w 703801"/>
                <a:gd name="connsiteY18" fmla="*/ 212925 h 521475"/>
                <a:gd name="connsiteX19" fmla="*/ 185513 w 703801"/>
                <a:gd name="connsiteY19" fmla="*/ 185513 h 521475"/>
                <a:gd name="connsiteX20" fmla="*/ 187425 w 703801"/>
                <a:gd name="connsiteY20" fmla="*/ 172763 h 521475"/>
                <a:gd name="connsiteX21" fmla="*/ 186150 w 703801"/>
                <a:gd name="connsiteY21" fmla="*/ 169575 h 521475"/>
                <a:gd name="connsiteX22" fmla="*/ 185513 w 703801"/>
                <a:gd name="connsiteY22" fmla="*/ 185513 h 521475"/>
                <a:gd name="connsiteX23" fmla="*/ 185513 w 703801"/>
                <a:gd name="connsiteY23" fmla="*/ 185513 h 521475"/>
                <a:gd name="connsiteX24" fmla="*/ 187425 w 703801"/>
                <a:gd name="connsiteY24" fmla="*/ 123038 h 521475"/>
                <a:gd name="connsiteX25" fmla="*/ 186788 w 703801"/>
                <a:gd name="connsiteY25" fmla="*/ 116025 h 521475"/>
                <a:gd name="connsiteX26" fmla="*/ 184238 w 703801"/>
                <a:gd name="connsiteY26" fmla="*/ 115388 h 521475"/>
                <a:gd name="connsiteX27" fmla="*/ 187425 w 703801"/>
                <a:gd name="connsiteY27" fmla="*/ 123038 h 521475"/>
                <a:gd name="connsiteX28" fmla="*/ 187425 w 703801"/>
                <a:gd name="connsiteY28" fmla="*/ 123038 h 521475"/>
                <a:gd name="connsiteX29" fmla="*/ 207825 w 703801"/>
                <a:gd name="connsiteY29" fmla="*/ 80325 h 521475"/>
                <a:gd name="connsiteX30" fmla="*/ 202088 w 703801"/>
                <a:gd name="connsiteY30" fmla="*/ 79688 h 521475"/>
                <a:gd name="connsiteX31" fmla="*/ 190613 w 703801"/>
                <a:gd name="connsiteY31" fmla="*/ 97538 h 521475"/>
                <a:gd name="connsiteX32" fmla="*/ 207825 w 703801"/>
                <a:gd name="connsiteY32" fmla="*/ 80325 h 521475"/>
                <a:gd name="connsiteX33" fmla="*/ 191888 w 703801"/>
                <a:gd name="connsiteY33" fmla="*/ 62475 h 521475"/>
                <a:gd name="connsiteX34" fmla="*/ 195075 w 703801"/>
                <a:gd name="connsiteY34" fmla="*/ 59925 h 521475"/>
                <a:gd name="connsiteX35" fmla="*/ 195713 w 703801"/>
                <a:gd name="connsiteY35" fmla="*/ 58013 h 521475"/>
                <a:gd name="connsiteX36" fmla="*/ 191888 w 703801"/>
                <a:gd name="connsiteY36" fmla="*/ 62475 h 521475"/>
                <a:gd name="connsiteX37" fmla="*/ 191888 w 703801"/>
                <a:gd name="connsiteY37" fmla="*/ 62475 h 521475"/>
                <a:gd name="connsiteX38" fmla="*/ 188700 w 703801"/>
                <a:gd name="connsiteY38" fmla="*/ 64388 h 521475"/>
                <a:gd name="connsiteX39" fmla="*/ 186788 w 703801"/>
                <a:gd name="connsiteY39" fmla="*/ 51638 h 521475"/>
                <a:gd name="connsiteX40" fmla="*/ 181050 w 703801"/>
                <a:gd name="connsiteY40" fmla="*/ 63113 h 521475"/>
                <a:gd name="connsiteX41" fmla="*/ 188700 w 703801"/>
                <a:gd name="connsiteY41" fmla="*/ 64388 h 521475"/>
                <a:gd name="connsiteX42" fmla="*/ 188700 w 703801"/>
                <a:gd name="connsiteY42" fmla="*/ 64388 h 521475"/>
                <a:gd name="connsiteX43" fmla="*/ 185513 w 703801"/>
                <a:gd name="connsiteY43" fmla="*/ 46538 h 521475"/>
                <a:gd name="connsiteX44" fmla="*/ 179775 w 703801"/>
                <a:gd name="connsiteY44" fmla="*/ 43988 h 521475"/>
                <a:gd name="connsiteX45" fmla="*/ 184238 w 703801"/>
                <a:gd name="connsiteY45" fmla="*/ 50363 h 521475"/>
                <a:gd name="connsiteX46" fmla="*/ 185513 w 703801"/>
                <a:gd name="connsiteY46" fmla="*/ 46538 h 521475"/>
                <a:gd name="connsiteX47" fmla="*/ 185513 w 703801"/>
                <a:gd name="connsiteY47" fmla="*/ 46538 h 521475"/>
                <a:gd name="connsiteX48" fmla="*/ 205275 w 703801"/>
                <a:gd name="connsiteY48" fmla="*/ 58013 h 521475"/>
                <a:gd name="connsiteX49" fmla="*/ 205275 w 703801"/>
                <a:gd name="connsiteY49" fmla="*/ 49725 h 521475"/>
                <a:gd name="connsiteX50" fmla="*/ 203363 w 703801"/>
                <a:gd name="connsiteY50" fmla="*/ 52913 h 521475"/>
                <a:gd name="connsiteX51" fmla="*/ 205275 w 703801"/>
                <a:gd name="connsiteY51" fmla="*/ 58013 h 521475"/>
                <a:gd name="connsiteX52" fmla="*/ 210375 w 703801"/>
                <a:gd name="connsiteY52" fmla="*/ 49088 h 521475"/>
                <a:gd name="connsiteX53" fmla="*/ 207825 w 703801"/>
                <a:gd name="connsiteY53" fmla="*/ 47175 h 521475"/>
                <a:gd name="connsiteX54" fmla="*/ 207188 w 703801"/>
                <a:gd name="connsiteY54" fmla="*/ 47175 h 521475"/>
                <a:gd name="connsiteX55" fmla="*/ 210375 w 703801"/>
                <a:gd name="connsiteY55" fmla="*/ 49088 h 521475"/>
                <a:gd name="connsiteX56" fmla="*/ 210375 w 703801"/>
                <a:gd name="connsiteY56" fmla="*/ 49088 h 521475"/>
                <a:gd name="connsiteX57" fmla="*/ 174038 w 703801"/>
                <a:gd name="connsiteY57" fmla="*/ 35700 h 521475"/>
                <a:gd name="connsiteX58" fmla="*/ 170850 w 703801"/>
                <a:gd name="connsiteY58" fmla="*/ 33150 h 521475"/>
                <a:gd name="connsiteX59" fmla="*/ 169575 w 703801"/>
                <a:gd name="connsiteY59" fmla="*/ 32513 h 521475"/>
                <a:gd name="connsiteX60" fmla="*/ 174038 w 703801"/>
                <a:gd name="connsiteY60" fmla="*/ 35700 h 521475"/>
                <a:gd name="connsiteX61" fmla="*/ 197625 w 703801"/>
                <a:gd name="connsiteY61" fmla="*/ 32513 h 521475"/>
                <a:gd name="connsiteX62" fmla="*/ 180413 w 703801"/>
                <a:gd name="connsiteY62" fmla="*/ 36975 h 521475"/>
                <a:gd name="connsiteX63" fmla="*/ 184875 w 703801"/>
                <a:gd name="connsiteY63" fmla="*/ 38250 h 521475"/>
                <a:gd name="connsiteX64" fmla="*/ 197625 w 703801"/>
                <a:gd name="connsiteY64" fmla="*/ 32513 h 521475"/>
                <a:gd name="connsiteX65" fmla="*/ 183600 w 703801"/>
                <a:gd name="connsiteY65" fmla="*/ 31238 h 521475"/>
                <a:gd name="connsiteX66" fmla="*/ 180413 w 703801"/>
                <a:gd name="connsiteY66" fmla="*/ 27412 h 521475"/>
                <a:gd name="connsiteX67" fmla="*/ 179775 w 703801"/>
                <a:gd name="connsiteY67" fmla="*/ 28050 h 521475"/>
                <a:gd name="connsiteX68" fmla="*/ 183600 w 703801"/>
                <a:gd name="connsiteY68" fmla="*/ 31238 h 521475"/>
                <a:gd name="connsiteX69" fmla="*/ 183600 w 703801"/>
                <a:gd name="connsiteY69" fmla="*/ 31238 h 521475"/>
                <a:gd name="connsiteX70" fmla="*/ 196988 w 703801"/>
                <a:gd name="connsiteY70" fmla="*/ 23588 h 521475"/>
                <a:gd name="connsiteX71" fmla="*/ 194438 w 703801"/>
                <a:gd name="connsiteY71" fmla="*/ 23588 h 521475"/>
                <a:gd name="connsiteX72" fmla="*/ 197625 w 703801"/>
                <a:gd name="connsiteY72" fmla="*/ 24863 h 521475"/>
                <a:gd name="connsiteX73" fmla="*/ 196988 w 703801"/>
                <a:gd name="connsiteY73" fmla="*/ 23588 h 521475"/>
                <a:gd name="connsiteX74" fmla="*/ 196988 w 703801"/>
                <a:gd name="connsiteY74" fmla="*/ 23588 h 521475"/>
                <a:gd name="connsiteX75" fmla="*/ 71400 w 703801"/>
                <a:gd name="connsiteY75" fmla="*/ 353176 h 521475"/>
                <a:gd name="connsiteX76" fmla="*/ 94350 w 703801"/>
                <a:gd name="connsiteY76" fmla="*/ 378038 h 521475"/>
                <a:gd name="connsiteX77" fmla="*/ 90525 w 703801"/>
                <a:gd name="connsiteY77" fmla="*/ 426488 h 521475"/>
                <a:gd name="connsiteX78" fmla="*/ 94988 w 703801"/>
                <a:gd name="connsiteY78" fmla="*/ 438601 h 521475"/>
                <a:gd name="connsiteX79" fmla="*/ 129413 w 703801"/>
                <a:gd name="connsiteY79" fmla="*/ 457088 h 521475"/>
                <a:gd name="connsiteX80" fmla="*/ 227588 w 703801"/>
                <a:gd name="connsiteY80" fmla="*/ 466651 h 521475"/>
                <a:gd name="connsiteX81" fmla="*/ 231413 w 703801"/>
                <a:gd name="connsiteY81" fmla="*/ 478126 h 521475"/>
                <a:gd name="connsiteX82" fmla="*/ 277951 w 703801"/>
                <a:gd name="connsiteY82" fmla="*/ 478764 h 521475"/>
                <a:gd name="connsiteX83" fmla="*/ 321938 w 703801"/>
                <a:gd name="connsiteY83" fmla="*/ 484501 h 521475"/>
                <a:gd name="connsiteX84" fmla="*/ 393338 w 703801"/>
                <a:gd name="connsiteY84" fmla="*/ 476851 h 521475"/>
                <a:gd name="connsiteX85" fmla="*/ 428401 w 703801"/>
                <a:gd name="connsiteY85" fmla="*/ 482588 h 521475"/>
                <a:gd name="connsiteX86" fmla="*/ 438601 w 703801"/>
                <a:gd name="connsiteY86" fmla="*/ 478126 h 521475"/>
                <a:gd name="connsiteX87" fmla="*/ 619014 w 703801"/>
                <a:gd name="connsiteY87" fmla="*/ 518926 h 521475"/>
                <a:gd name="connsiteX88" fmla="*/ 631126 w 703801"/>
                <a:gd name="connsiteY88" fmla="*/ 521476 h 521475"/>
                <a:gd name="connsiteX89" fmla="*/ 629851 w 703801"/>
                <a:gd name="connsiteY89" fmla="*/ 515101 h 521475"/>
                <a:gd name="connsiteX90" fmla="*/ 632401 w 703801"/>
                <a:gd name="connsiteY90" fmla="*/ 485776 h 521475"/>
                <a:gd name="connsiteX91" fmla="*/ 629214 w 703801"/>
                <a:gd name="connsiteY91" fmla="*/ 457726 h 521475"/>
                <a:gd name="connsiteX92" fmla="*/ 703801 w 703801"/>
                <a:gd name="connsiteY92" fmla="*/ 122400 h 521475"/>
                <a:gd name="connsiteX93" fmla="*/ 692964 w 703801"/>
                <a:gd name="connsiteY93" fmla="*/ 120488 h 521475"/>
                <a:gd name="connsiteX94" fmla="*/ 542514 w 703801"/>
                <a:gd name="connsiteY94" fmla="*/ 85425 h 521475"/>
                <a:gd name="connsiteX95" fmla="*/ 411188 w 703801"/>
                <a:gd name="connsiteY95" fmla="*/ 52275 h 521475"/>
                <a:gd name="connsiteX96" fmla="*/ 262651 w 703801"/>
                <a:gd name="connsiteY96" fmla="*/ 11475 h 521475"/>
                <a:gd name="connsiteX97" fmla="*/ 218026 w 703801"/>
                <a:gd name="connsiteY97" fmla="*/ 0 h 521475"/>
                <a:gd name="connsiteX98" fmla="*/ 228863 w 703801"/>
                <a:gd name="connsiteY98" fmla="*/ 55463 h 521475"/>
                <a:gd name="connsiteX99" fmla="*/ 218663 w 703801"/>
                <a:gd name="connsiteY99" fmla="*/ 73313 h 521475"/>
                <a:gd name="connsiteX100" fmla="*/ 201450 w 703801"/>
                <a:gd name="connsiteY100" fmla="*/ 63750 h 521475"/>
                <a:gd name="connsiteX101" fmla="*/ 218026 w 703801"/>
                <a:gd name="connsiteY101" fmla="*/ 140888 h 521475"/>
                <a:gd name="connsiteX102" fmla="*/ 200175 w 703801"/>
                <a:gd name="connsiteY102" fmla="*/ 166388 h 521475"/>
                <a:gd name="connsiteX103" fmla="*/ 191888 w 703801"/>
                <a:gd name="connsiteY103" fmla="*/ 189975 h 521475"/>
                <a:gd name="connsiteX104" fmla="*/ 191888 w 703801"/>
                <a:gd name="connsiteY104" fmla="*/ 214200 h 521475"/>
                <a:gd name="connsiteX105" fmla="*/ 154275 w 703801"/>
                <a:gd name="connsiteY105" fmla="*/ 240975 h 521475"/>
                <a:gd name="connsiteX106" fmla="*/ 138338 w 703801"/>
                <a:gd name="connsiteY106" fmla="*/ 230138 h 521475"/>
                <a:gd name="connsiteX107" fmla="*/ 123038 w 703801"/>
                <a:gd name="connsiteY107" fmla="*/ 237788 h 521475"/>
                <a:gd name="connsiteX108" fmla="*/ 151725 w 703801"/>
                <a:gd name="connsiteY108" fmla="*/ 201450 h 521475"/>
                <a:gd name="connsiteX109" fmla="*/ 144713 w 703801"/>
                <a:gd name="connsiteY109" fmla="*/ 226313 h 521475"/>
                <a:gd name="connsiteX110" fmla="*/ 160650 w 703801"/>
                <a:gd name="connsiteY110" fmla="*/ 209100 h 521475"/>
                <a:gd name="connsiteX111" fmla="*/ 173400 w 703801"/>
                <a:gd name="connsiteY111" fmla="*/ 211650 h 521475"/>
                <a:gd name="connsiteX112" fmla="*/ 169575 w 703801"/>
                <a:gd name="connsiteY112" fmla="*/ 181050 h 521475"/>
                <a:gd name="connsiteX113" fmla="*/ 177863 w 703801"/>
                <a:gd name="connsiteY113" fmla="*/ 182325 h 521475"/>
                <a:gd name="connsiteX114" fmla="*/ 195075 w 703801"/>
                <a:gd name="connsiteY114" fmla="*/ 144075 h 521475"/>
                <a:gd name="connsiteX115" fmla="*/ 189338 w 703801"/>
                <a:gd name="connsiteY115" fmla="*/ 138338 h 521475"/>
                <a:gd name="connsiteX116" fmla="*/ 167025 w 703801"/>
                <a:gd name="connsiteY116" fmla="*/ 167663 h 521475"/>
                <a:gd name="connsiteX117" fmla="*/ 152363 w 703801"/>
                <a:gd name="connsiteY117" fmla="*/ 168300 h 521475"/>
                <a:gd name="connsiteX118" fmla="*/ 168300 w 703801"/>
                <a:gd name="connsiteY118" fmla="*/ 150450 h 521475"/>
                <a:gd name="connsiteX119" fmla="*/ 186150 w 703801"/>
                <a:gd name="connsiteY119" fmla="*/ 145988 h 521475"/>
                <a:gd name="connsiteX120" fmla="*/ 179775 w 703801"/>
                <a:gd name="connsiteY120" fmla="*/ 112838 h 521475"/>
                <a:gd name="connsiteX121" fmla="*/ 161925 w 703801"/>
                <a:gd name="connsiteY121" fmla="*/ 108375 h 521475"/>
                <a:gd name="connsiteX122" fmla="*/ 152363 w 703801"/>
                <a:gd name="connsiteY122" fmla="*/ 93075 h 521475"/>
                <a:gd name="connsiteX123" fmla="*/ 140888 w 703801"/>
                <a:gd name="connsiteY123" fmla="*/ 98813 h 521475"/>
                <a:gd name="connsiteX124" fmla="*/ 82238 w 703801"/>
                <a:gd name="connsiteY124" fmla="*/ 73313 h 521475"/>
                <a:gd name="connsiteX125" fmla="*/ 29963 w 703801"/>
                <a:gd name="connsiteY125" fmla="*/ 33150 h 521475"/>
                <a:gd name="connsiteX126" fmla="*/ 15938 w 703801"/>
                <a:gd name="connsiteY126" fmla="*/ 72038 h 521475"/>
                <a:gd name="connsiteX127" fmla="*/ 14663 w 703801"/>
                <a:gd name="connsiteY127" fmla="*/ 88613 h 521475"/>
                <a:gd name="connsiteX128" fmla="*/ 26138 w 703801"/>
                <a:gd name="connsiteY128" fmla="*/ 118575 h 521475"/>
                <a:gd name="connsiteX129" fmla="*/ 19125 w 703801"/>
                <a:gd name="connsiteY129" fmla="*/ 215475 h 521475"/>
                <a:gd name="connsiteX130" fmla="*/ 14025 w 703801"/>
                <a:gd name="connsiteY130" fmla="*/ 230138 h 521475"/>
                <a:gd name="connsiteX131" fmla="*/ 43350 w 703801"/>
                <a:gd name="connsiteY131" fmla="*/ 232688 h 521475"/>
                <a:gd name="connsiteX132" fmla="*/ 14025 w 703801"/>
                <a:gd name="connsiteY132" fmla="*/ 253088 h 521475"/>
                <a:gd name="connsiteX133" fmla="*/ 29325 w 703801"/>
                <a:gd name="connsiteY133" fmla="*/ 260738 h 521475"/>
                <a:gd name="connsiteX134" fmla="*/ 17213 w 703801"/>
                <a:gd name="connsiteY134" fmla="*/ 301538 h 521475"/>
                <a:gd name="connsiteX135" fmla="*/ 11475 w 703801"/>
                <a:gd name="connsiteY135" fmla="*/ 269025 h 521475"/>
                <a:gd name="connsiteX136" fmla="*/ 0 w 703801"/>
                <a:gd name="connsiteY136" fmla="*/ 306001 h 521475"/>
                <a:gd name="connsiteX137" fmla="*/ 14663 w 703801"/>
                <a:gd name="connsiteY137" fmla="*/ 323851 h 521475"/>
                <a:gd name="connsiteX138" fmla="*/ 30600 w 703801"/>
                <a:gd name="connsiteY138" fmla="*/ 322576 h 521475"/>
                <a:gd name="connsiteX139" fmla="*/ 49725 w 703801"/>
                <a:gd name="connsiteY139" fmla="*/ 334051 h 521475"/>
                <a:gd name="connsiteX140" fmla="*/ 59925 w 703801"/>
                <a:gd name="connsiteY140" fmla="*/ 352538 h 521475"/>
                <a:gd name="connsiteX141" fmla="*/ 71400 w 703801"/>
                <a:gd name="connsiteY141" fmla="*/ 353176 h 521475"/>
                <a:gd name="connsiteX142" fmla="*/ 71400 w 703801"/>
                <a:gd name="connsiteY142" fmla="*/ 353176 h 521475"/>
                <a:gd name="connsiteX143" fmla="*/ 71400 w 703801"/>
                <a:gd name="connsiteY143" fmla="*/ 353176 h 5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703801" h="521475">
                  <a:moveTo>
                    <a:pt x="12750" y="301538"/>
                  </a:moveTo>
                  <a:lnTo>
                    <a:pt x="13388" y="290063"/>
                  </a:lnTo>
                  <a:lnTo>
                    <a:pt x="12113" y="290701"/>
                  </a:lnTo>
                  <a:lnTo>
                    <a:pt x="12750" y="301538"/>
                  </a:lnTo>
                  <a:lnTo>
                    <a:pt x="12750" y="301538"/>
                  </a:lnTo>
                  <a:close/>
                  <a:moveTo>
                    <a:pt x="149175" y="242888"/>
                  </a:moveTo>
                  <a:lnTo>
                    <a:pt x="153000" y="236513"/>
                  </a:lnTo>
                  <a:lnTo>
                    <a:pt x="148538" y="235875"/>
                  </a:lnTo>
                  <a:lnTo>
                    <a:pt x="149175" y="242888"/>
                  </a:lnTo>
                  <a:lnTo>
                    <a:pt x="149175" y="242888"/>
                  </a:lnTo>
                  <a:close/>
                  <a:moveTo>
                    <a:pt x="137700" y="231413"/>
                  </a:moveTo>
                  <a:lnTo>
                    <a:pt x="141525" y="218663"/>
                  </a:lnTo>
                  <a:lnTo>
                    <a:pt x="137700" y="217388"/>
                  </a:lnTo>
                  <a:lnTo>
                    <a:pt x="137700" y="231413"/>
                  </a:lnTo>
                  <a:close/>
                  <a:moveTo>
                    <a:pt x="183600" y="212925"/>
                  </a:moveTo>
                  <a:lnTo>
                    <a:pt x="182963" y="200175"/>
                  </a:lnTo>
                  <a:lnTo>
                    <a:pt x="171488" y="216750"/>
                  </a:lnTo>
                  <a:lnTo>
                    <a:pt x="183600" y="212925"/>
                  </a:lnTo>
                  <a:lnTo>
                    <a:pt x="183600" y="212925"/>
                  </a:lnTo>
                  <a:close/>
                  <a:moveTo>
                    <a:pt x="185513" y="185513"/>
                  </a:moveTo>
                  <a:lnTo>
                    <a:pt x="187425" y="172763"/>
                  </a:lnTo>
                  <a:lnTo>
                    <a:pt x="186150" y="169575"/>
                  </a:lnTo>
                  <a:lnTo>
                    <a:pt x="185513" y="185513"/>
                  </a:lnTo>
                  <a:lnTo>
                    <a:pt x="185513" y="185513"/>
                  </a:lnTo>
                  <a:close/>
                  <a:moveTo>
                    <a:pt x="187425" y="123038"/>
                  </a:moveTo>
                  <a:lnTo>
                    <a:pt x="186788" y="116025"/>
                  </a:lnTo>
                  <a:lnTo>
                    <a:pt x="184238" y="115388"/>
                  </a:lnTo>
                  <a:lnTo>
                    <a:pt x="187425" y="123038"/>
                  </a:lnTo>
                  <a:lnTo>
                    <a:pt x="187425" y="123038"/>
                  </a:lnTo>
                  <a:close/>
                  <a:moveTo>
                    <a:pt x="207825" y="80325"/>
                  </a:moveTo>
                  <a:lnTo>
                    <a:pt x="202088" y="79688"/>
                  </a:lnTo>
                  <a:lnTo>
                    <a:pt x="190613" y="97538"/>
                  </a:lnTo>
                  <a:lnTo>
                    <a:pt x="207825" y="80325"/>
                  </a:lnTo>
                  <a:close/>
                  <a:moveTo>
                    <a:pt x="191888" y="62475"/>
                  </a:moveTo>
                  <a:lnTo>
                    <a:pt x="195075" y="59925"/>
                  </a:lnTo>
                  <a:lnTo>
                    <a:pt x="195713" y="58013"/>
                  </a:lnTo>
                  <a:lnTo>
                    <a:pt x="191888" y="62475"/>
                  </a:lnTo>
                  <a:lnTo>
                    <a:pt x="191888" y="62475"/>
                  </a:lnTo>
                  <a:close/>
                  <a:moveTo>
                    <a:pt x="188700" y="64388"/>
                  </a:moveTo>
                  <a:lnTo>
                    <a:pt x="186788" y="51638"/>
                  </a:lnTo>
                  <a:lnTo>
                    <a:pt x="181050" y="63113"/>
                  </a:lnTo>
                  <a:lnTo>
                    <a:pt x="188700" y="64388"/>
                  </a:lnTo>
                  <a:lnTo>
                    <a:pt x="188700" y="64388"/>
                  </a:lnTo>
                  <a:close/>
                  <a:moveTo>
                    <a:pt x="185513" y="46538"/>
                  </a:moveTo>
                  <a:lnTo>
                    <a:pt x="179775" y="43988"/>
                  </a:lnTo>
                  <a:lnTo>
                    <a:pt x="184238" y="50363"/>
                  </a:lnTo>
                  <a:lnTo>
                    <a:pt x="185513" y="46538"/>
                  </a:lnTo>
                  <a:lnTo>
                    <a:pt x="185513" y="46538"/>
                  </a:lnTo>
                  <a:close/>
                  <a:moveTo>
                    <a:pt x="205275" y="58013"/>
                  </a:moveTo>
                  <a:lnTo>
                    <a:pt x="205275" y="49725"/>
                  </a:lnTo>
                  <a:lnTo>
                    <a:pt x="203363" y="52913"/>
                  </a:lnTo>
                  <a:lnTo>
                    <a:pt x="205275" y="58013"/>
                  </a:lnTo>
                  <a:close/>
                  <a:moveTo>
                    <a:pt x="210375" y="49088"/>
                  </a:moveTo>
                  <a:lnTo>
                    <a:pt x="207825" y="47175"/>
                  </a:lnTo>
                  <a:lnTo>
                    <a:pt x="207188" y="47175"/>
                  </a:lnTo>
                  <a:lnTo>
                    <a:pt x="210375" y="49088"/>
                  </a:lnTo>
                  <a:lnTo>
                    <a:pt x="210375" y="49088"/>
                  </a:lnTo>
                  <a:close/>
                  <a:moveTo>
                    <a:pt x="174038" y="35700"/>
                  </a:moveTo>
                  <a:lnTo>
                    <a:pt x="170850" y="33150"/>
                  </a:lnTo>
                  <a:lnTo>
                    <a:pt x="169575" y="32513"/>
                  </a:lnTo>
                  <a:lnTo>
                    <a:pt x="174038" y="35700"/>
                  </a:lnTo>
                  <a:close/>
                  <a:moveTo>
                    <a:pt x="197625" y="32513"/>
                  </a:moveTo>
                  <a:lnTo>
                    <a:pt x="180413" y="36975"/>
                  </a:lnTo>
                  <a:lnTo>
                    <a:pt x="184875" y="38250"/>
                  </a:lnTo>
                  <a:lnTo>
                    <a:pt x="197625" y="32513"/>
                  </a:lnTo>
                  <a:close/>
                  <a:moveTo>
                    <a:pt x="183600" y="31238"/>
                  </a:moveTo>
                  <a:lnTo>
                    <a:pt x="180413" y="27412"/>
                  </a:lnTo>
                  <a:lnTo>
                    <a:pt x="179775" y="28050"/>
                  </a:lnTo>
                  <a:lnTo>
                    <a:pt x="183600" y="31238"/>
                  </a:lnTo>
                  <a:lnTo>
                    <a:pt x="183600" y="31238"/>
                  </a:lnTo>
                  <a:close/>
                  <a:moveTo>
                    <a:pt x="196988" y="23588"/>
                  </a:moveTo>
                  <a:lnTo>
                    <a:pt x="194438" y="23588"/>
                  </a:lnTo>
                  <a:lnTo>
                    <a:pt x="197625" y="24863"/>
                  </a:lnTo>
                  <a:lnTo>
                    <a:pt x="196988" y="23588"/>
                  </a:lnTo>
                  <a:lnTo>
                    <a:pt x="196988" y="23588"/>
                  </a:lnTo>
                  <a:close/>
                  <a:moveTo>
                    <a:pt x="71400" y="353176"/>
                  </a:moveTo>
                  <a:lnTo>
                    <a:pt x="94350" y="378038"/>
                  </a:lnTo>
                  <a:lnTo>
                    <a:pt x="90525" y="426488"/>
                  </a:lnTo>
                  <a:lnTo>
                    <a:pt x="94988" y="438601"/>
                  </a:lnTo>
                  <a:lnTo>
                    <a:pt x="129413" y="457088"/>
                  </a:lnTo>
                  <a:lnTo>
                    <a:pt x="227588" y="466651"/>
                  </a:lnTo>
                  <a:lnTo>
                    <a:pt x="231413" y="478126"/>
                  </a:lnTo>
                  <a:lnTo>
                    <a:pt x="277951" y="478764"/>
                  </a:lnTo>
                  <a:lnTo>
                    <a:pt x="321938" y="484501"/>
                  </a:lnTo>
                  <a:lnTo>
                    <a:pt x="393338" y="476851"/>
                  </a:lnTo>
                  <a:lnTo>
                    <a:pt x="428401" y="482588"/>
                  </a:lnTo>
                  <a:lnTo>
                    <a:pt x="438601" y="478126"/>
                  </a:lnTo>
                  <a:lnTo>
                    <a:pt x="619014" y="518926"/>
                  </a:lnTo>
                  <a:lnTo>
                    <a:pt x="631126" y="521476"/>
                  </a:lnTo>
                  <a:lnTo>
                    <a:pt x="629851" y="515101"/>
                  </a:lnTo>
                  <a:lnTo>
                    <a:pt x="632401" y="485776"/>
                  </a:lnTo>
                  <a:lnTo>
                    <a:pt x="629214" y="457726"/>
                  </a:lnTo>
                  <a:lnTo>
                    <a:pt x="703801" y="122400"/>
                  </a:lnTo>
                  <a:lnTo>
                    <a:pt x="692964" y="120488"/>
                  </a:lnTo>
                  <a:lnTo>
                    <a:pt x="542514" y="85425"/>
                  </a:lnTo>
                  <a:lnTo>
                    <a:pt x="411188" y="52275"/>
                  </a:lnTo>
                  <a:lnTo>
                    <a:pt x="262651" y="11475"/>
                  </a:lnTo>
                  <a:lnTo>
                    <a:pt x="218026" y="0"/>
                  </a:lnTo>
                  <a:lnTo>
                    <a:pt x="228863" y="55463"/>
                  </a:lnTo>
                  <a:lnTo>
                    <a:pt x="218663" y="73313"/>
                  </a:lnTo>
                  <a:lnTo>
                    <a:pt x="201450" y="63750"/>
                  </a:lnTo>
                  <a:lnTo>
                    <a:pt x="218026" y="140888"/>
                  </a:lnTo>
                  <a:lnTo>
                    <a:pt x="200175" y="166388"/>
                  </a:lnTo>
                  <a:lnTo>
                    <a:pt x="191888" y="189975"/>
                  </a:lnTo>
                  <a:lnTo>
                    <a:pt x="191888" y="214200"/>
                  </a:lnTo>
                  <a:lnTo>
                    <a:pt x="154275" y="240975"/>
                  </a:lnTo>
                  <a:lnTo>
                    <a:pt x="138338" y="230138"/>
                  </a:lnTo>
                  <a:lnTo>
                    <a:pt x="123038" y="237788"/>
                  </a:lnTo>
                  <a:lnTo>
                    <a:pt x="151725" y="201450"/>
                  </a:lnTo>
                  <a:lnTo>
                    <a:pt x="144713" y="226313"/>
                  </a:lnTo>
                  <a:lnTo>
                    <a:pt x="160650" y="209100"/>
                  </a:lnTo>
                  <a:lnTo>
                    <a:pt x="173400" y="211650"/>
                  </a:lnTo>
                  <a:lnTo>
                    <a:pt x="169575" y="181050"/>
                  </a:lnTo>
                  <a:lnTo>
                    <a:pt x="177863" y="182325"/>
                  </a:lnTo>
                  <a:lnTo>
                    <a:pt x="195075" y="144075"/>
                  </a:lnTo>
                  <a:lnTo>
                    <a:pt x="189338" y="138338"/>
                  </a:lnTo>
                  <a:lnTo>
                    <a:pt x="167025" y="167663"/>
                  </a:lnTo>
                  <a:lnTo>
                    <a:pt x="152363" y="168300"/>
                  </a:lnTo>
                  <a:lnTo>
                    <a:pt x="168300" y="150450"/>
                  </a:lnTo>
                  <a:lnTo>
                    <a:pt x="186150" y="145988"/>
                  </a:lnTo>
                  <a:lnTo>
                    <a:pt x="179775" y="112838"/>
                  </a:lnTo>
                  <a:lnTo>
                    <a:pt x="161925" y="108375"/>
                  </a:lnTo>
                  <a:lnTo>
                    <a:pt x="152363" y="93075"/>
                  </a:lnTo>
                  <a:lnTo>
                    <a:pt x="140888" y="98813"/>
                  </a:lnTo>
                  <a:lnTo>
                    <a:pt x="82238" y="73313"/>
                  </a:lnTo>
                  <a:lnTo>
                    <a:pt x="29963" y="33150"/>
                  </a:lnTo>
                  <a:lnTo>
                    <a:pt x="15938" y="72038"/>
                  </a:lnTo>
                  <a:lnTo>
                    <a:pt x="14663" y="88613"/>
                  </a:lnTo>
                  <a:lnTo>
                    <a:pt x="26138" y="118575"/>
                  </a:lnTo>
                  <a:lnTo>
                    <a:pt x="19125" y="215475"/>
                  </a:lnTo>
                  <a:lnTo>
                    <a:pt x="14025" y="230138"/>
                  </a:lnTo>
                  <a:lnTo>
                    <a:pt x="43350" y="232688"/>
                  </a:lnTo>
                  <a:lnTo>
                    <a:pt x="14025" y="253088"/>
                  </a:lnTo>
                  <a:lnTo>
                    <a:pt x="29325" y="260738"/>
                  </a:lnTo>
                  <a:lnTo>
                    <a:pt x="17213" y="301538"/>
                  </a:lnTo>
                  <a:lnTo>
                    <a:pt x="11475" y="269025"/>
                  </a:lnTo>
                  <a:lnTo>
                    <a:pt x="0" y="306001"/>
                  </a:lnTo>
                  <a:lnTo>
                    <a:pt x="14663" y="323851"/>
                  </a:lnTo>
                  <a:lnTo>
                    <a:pt x="30600" y="322576"/>
                  </a:lnTo>
                  <a:lnTo>
                    <a:pt x="49725" y="334051"/>
                  </a:lnTo>
                  <a:lnTo>
                    <a:pt x="59925" y="352538"/>
                  </a:lnTo>
                  <a:lnTo>
                    <a:pt x="71400" y="353176"/>
                  </a:lnTo>
                  <a:lnTo>
                    <a:pt x="71400" y="353176"/>
                  </a:lnTo>
                  <a:lnTo>
                    <a:pt x="71400" y="353176"/>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8" name="Freeform 25">
              <a:extLst>
                <a:ext uri="{FF2B5EF4-FFF2-40B4-BE49-F238E27FC236}">
                  <a16:creationId xmlns:a16="http://schemas.microsoft.com/office/drawing/2014/main" id="{B2239BAD-BD49-BE97-159F-6E6CF0585B32}"/>
                </a:ext>
              </a:extLst>
            </p:cNvPr>
            <p:cNvSpPr/>
            <p:nvPr/>
          </p:nvSpPr>
          <p:spPr>
            <a:xfrm>
              <a:off x="2678336" y="2838137"/>
              <a:ext cx="708901" cy="831301"/>
            </a:xfrm>
            <a:custGeom>
              <a:avLst/>
              <a:gdLst>
                <a:gd name="connsiteX0" fmla="*/ 692326 w 708901"/>
                <a:gd name="connsiteY0" fmla="*/ 73313 h 831301"/>
                <a:gd name="connsiteX1" fmla="*/ 476213 w 708901"/>
                <a:gd name="connsiteY1" fmla="*/ 45900 h 831301"/>
                <a:gd name="connsiteX2" fmla="*/ 359551 w 708901"/>
                <a:gd name="connsiteY2" fmla="*/ 29325 h 831301"/>
                <a:gd name="connsiteX3" fmla="*/ 193800 w 708901"/>
                <a:gd name="connsiteY3" fmla="*/ 2550 h 831301"/>
                <a:gd name="connsiteX4" fmla="*/ 177225 w 708901"/>
                <a:gd name="connsiteY4" fmla="*/ 0 h 831301"/>
                <a:gd name="connsiteX5" fmla="*/ 177225 w 708901"/>
                <a:gd name="connsiteY5" fmla="*/ 1275 h 831301"/>
                <a:gd name="connsiteX6" fmla="*/ 148538 w 708901"/>
                <a:gd name="connsiteY6" fmla="*/ 125588 h 831301"/>
                <a:gd name="connsiteX7" fmla="*/ 133875 w 708901"/>
                <a:gd name="connsiteY7" fmla="*/ 124950 h 831301"/>
                <a:gd name="connsiteX8" fmla="*/ 111563 w 708901"/>
                <a:gd name="connsiteY8" fmla="*/ 105188 h 831301"/>
                <a:gd name="connsiteX9" fmla="*/ 82875 w 708901"/>
                <a:gd name="connsiteY9" fmla="*/ 128775 h 831301"/>
                <a:gd name="connsiteX10" fmla="*/ 82238 w 708901"/>
                <a:gd name="connsiteY10" fmla="*/ 230776 h 831301"/>
                <a:gd name="connsiteX11" fmla="*/ 71400 w 708901"/>
                <a:gd name="connsiteY11" fmla="*/ 252450 h 831301"/>
                <a:gd name="connsiteX12" fmla="*/ 71400 w 708901"/>
                <a:gd name="connsiteY12" fmla="*/ 254363 h 831301"/>
                <a:gd name="connsiteX13" fmla="*/ 71400 w 708901"/>
                <a:gd name="connsiteY13" fmla="*/ 255001 h 831301"/>
                <a:gd name="connsiteX14" fmla="*/ 70125 w 708901"/>
                <a:gd name="connsiteY14" fmla="*/ 270938 h 831301"/>
                <a:gd name="connsiteX15" fmla="*/ 92438 w 708901"/>
                <a:gd name="connsiteY15" fmla="*/ 330863 h 831301"/>
                <a:gd name="connsiteX16" fmla="*/ 112200 w 708901"/>
                <a:gd name="connsiteY16" fmla="*/ 358276 h 831301"/>
                <a:gd name="connsiteX17" fmla="*/ 76500 w 708901"/>
                <a:gd name="connsiteY17" fmla="*/ 379313 h 831301"/>
                <a:gd name="connsiteX18" fmla="*/ 62475 w 708901"/>
                <a:gd name="connsiteY18" fmla="*/ 406088 h 831301"/>
                <a:gd name="connsiteX19" fmla="*/ 39525 w 708901"/>
                <a:gd name="connsiteY19" fmla="*/ 462188 h 831301"/>
                <a:gd name="connsiteX20" fmla="*/ 28050 w 708901"/>
                <a:gd name="connsiteY20" fmla="*/ 464739 h 831301"/>
                <a:gd name="connsiteX21" fmla="*/ 27412 w 708901"/>
                <a:gd name="connsiteY21" fmla="*/ 511913 h 831301"/>
                <a:gd name="connsiteX22" fmla="*/ 47175 w 708901"/>
                <a:gd name="connsiteY22" fmla="*/ 526576 h 831301"/>
                <a:gd name="connsiteX23" fmla="*/ 36337 w 708901"/>
                <a:gd name="connsiteY23" fmla="*/ 555263 h 831301"/>
                <a:gd name="connsiteX24" fmla="*/ 13387 w 708901"/>
                <a:gd name="connsiteY24" fmla="*/ 556539 h 831301"/>
                <a:gd name="connsiteX25" fmla="*/ 13387 w 708901"/>
                <a:gd name="connsiteY25" fmla="*/ 556539 h 831301"/>
                <a:gd name="connsiteX26" fmla="*/ 0 w 708901"/>
                <a:gd name="connsiteY26" fmla="*/ 581401 h 831301"/>
                <a:gd name="connsiteX27" fmla="*/ 46538 w 708901"/>
                <a:gd name="connsiteY27" fmla="*/ 610726 h 831301"/>
                <a:gd name="connsiteX28" fmla="*/ 133875 w 708901"/>
                <a:gd name="connsiteY28" fmla="*/ 659814 h 831301"/>
                <a:gd name="connsiteX29" fmla="*/ 404176 w 708901"/>
                <a:gd name="connsiteY29" fmla="*/ 802614 h 831301"/>
                <a:gd name="connsiteX30" fmla="*/ 633039 w 708901"/>
                <a:gd name="connsiteY30" fmla="*/ 831302 h 831301"/>
                <a:gd name="connsiteX31" fmla="*/ 635589 w 708901"/>
                <a:gd name="connsiteY31" fmla="*/ 831302 h 831301"/>
                <a:gd name="connsiteX32" fmla="*/ 653439 w 708901"/>
                <a:gd name="connsiteY32" fmla="*/ 641964 h 831301"/>
                <a:gd name="connsiteX33" fmla="*/ 657901 w 708901"/>
                <a:gd name="connsiteY33" fmla="*/ 594789 h 831301"/>
                <a:gd name="connsiteX34" fmla="*/ 706351 w 708901"/>
                <a:gd name="connsiteY34" fmla="*/ 97538 h 831301"/>
                <a:gd name="connsiteX35" fmla="*/ 708901 w 708901"/>
                <a:gd name="connsiteY35" fmla="*/ 74588 h 831301"/>
                <a:gd name="connsiteX36" fmla="*/ 692326 w 708901"/>
                <a:gd name="connsiteY36" fmla="*/ 73313 h 831301"/>
                <a:gd name="connsiteX37" fmla="*/ 692326 w 708901"/>
                <a:gd name="connsiteY37" fmla="*/ 73313 h 83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8901" h="831301">
                  <a:moveTo>
                    <a:pt x="692326" y="73313"/>
                  </a:moveTo>
                  <a:lnTo>
                    <a:pt x="476213" y="45900"/>
                  </a:lnTo>
                  <a:lnTo>
                    <a:pt x="359551" y="29325"/>
                  </a:lnTo>
                  <a:lnTo>
                    <a:pt x="193800" y="2550"/>
                  </a:lnTo>
                  <a:lnTo>
                    <a:pt x="177225" y="0"/>
                  </a:lnTo>
                  <a:lnTo>
                    <a:pt x="177225" y="1275"/>
                  </a:lnTo>
                  <a:lnTo>
                    <a:pt x="148538" y="125588"/>
                  </a:lnTo>
                  <a:lnTo>
                    <a:pt x="133875" y="124950"/>
                  </a:lnTo>
                  <a:lnTo>
                    <a:pt x="111563" y="105188"/>
                  </a:lnTo>
                  <a:lnTo>
                    <a:pt x="82875" y="128775"/>
                  </a:lnTo>
                  <a:lnTo>
                    <a:pt x="82238" y="230776"/>
                  </a:lnTo>
                  <a:lnTo>
                    <a:pt x="71400" y="252450"/>
                  </a:lnTo>
                  <a:lnTo>
                    <a:pt x="71400" y="254363"/>
                  </a:lnTo>
                  <a:lnTo>
                    <a:pt x="71400" y="255001"/>
                  </a:lnTo>
                  <a:lnTo>
                    <a:pt x="70125" y="270938"/>
                  </a:lnTo>
                  <a:lnTo>
                    <a:pt x="92438" y="330863"/>
                  </a:lnTo>
                  <a:lnTo>
                    <a:pt x="112200" y="358276"/>
                  </a:lnTo>
                  <a:lnTo>
                    <a:pt x="76500" y="379313"/>
                  </a:lnTo>
                  <a:lnTo>
                    <a:pt x="62475" y="406088"/>
                  </a:lnTo>
                  <a:lnTo>
                    <a:pt x="39525" y="462188"/>
                  </a:lnTo>
                  <a:lnTo>
                    <a:pt x="28050" y="464739"/>
                  </a:lnTo>
                  <a:lnTo>
                    <a:pt x="27412" y="511913"/>
                  </a:lnTo>
                  <a:lnTo>
                    <a:pt x="47175" y="526576"/>
                  </a:lnTo>
                  <a:lnTo>
                    <a:pt x="36337" y="555263"/>
                  </a:lnTo>
                  <a:lnTo>
                    <a:pt x="13387" y="556539"/>
                  </a:lnTo>
                  <a:lnTo>
                    <a:pt x="13387" y="556539"/>
                  </a:lnTo>
                  <a:lnTo>
                    <a:pt x="0" y="581401"/>
                  </a:lnTo>
                  <a:lnTo>
                    <a:pt x="46538" y="610726"/>
                  </a:lnTo>
                  <a:lnTo>
                    <a:pt x="133875" y="659814"/>
                  </a:lnTo>
                  <a:lnTo>
                    <a:pt x="404176" y="802614"/>
                  </a:lnTo>
                  <a:lnTo>
                    <a:pt x="633039" y="831302"/>
                  </a:lnTo>
                  <a:lnTo>
                    <a:pt x="635589" y="831302"/>
                  </a:lnTo>
                  <a:lnTo>
                    <a:pt x="653439" y="641964"/>
                  </a:lnTo>
                  <a:lnTo>
                    <a:pt x="657901" y="594789"/>
                  </a:lnTo>
                  <a:lnTo>
                    <a:pt x="706351" y="97538"/>
                  </a:lnTo>
                  <a:lnTo>
                    <a:pt x="708901" y="74588"/>
                  </a:lnTo>
                  <a:lnTo>
                    <a:pt x="692326" y="73313"/>
                  </a:lnTo>
                  <a:lnTo>
                    <a:pt x="692326" y="7331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29" name="Freeform 28">
              <a:extLst>
                <a:ext uri="{FF2B5EF4-FFF2-40B4-BE49-F238E27FC236}">
                  <a16:creationId xmlns:a16="http://schemas.microsoft.com/office/drawing/2014/main" id="{25176034-440A-09C6-EF8E-633EB94ECA1E}"/>
                </a:ext>
              </a:extLst>
            </p:cNvPr>
            <p:cNvSpPr/>
            <p:nvPr/>
          </p:nvSpPr>
          <p:spPr>
            <a:xfrm>
              <a:off x="2290735" y="2052098"/>
              <a:ext cx="672563" cy="1042314"/>
            </a:xfrm>
            <a:custGeom>
              <a:avLst/>
              <a:gdLst>
                <a:gd name="connsiteX0" fmla="*/ 568014 w 672563"/>
                <a:gd name="connsiteY0" fmla="*/ 766276 h 1042314"/>
                <a:gd name="connsiteX1" fmla="*/ 634951 w 672563"/>
                <a:gd name="connsiteY1" fmla="*/ 350626 h 1042314"/>
                <a:gd name="connsiteX2" fmla="*/ 668739 w 672563"/>
                <a:gd name="connsiteY2" fmla="*/ 142800 h 1042314"/>
                <a:gd name="connsiteX3" fmla="*/ 672564 w 672563"/>
                <a:gd name="connsiteY3" fmla="*/ 122400 h 1042314"/>
                <a:gd name="connsiteX4" fmla="*/ 654076 w 672563"/>
                <a:gd name="connsiteY4" fmla="*/ 119213 h 1042314"/>
                <a:gd name="connsiteX5" fmla="*/ 581401 w 672563"/>
                <a:gd name="connsiteY5" fmla="*/ 105825 h 1042314"/>
                <a:gd name="connsiteX6" fmla="*/ 399713 w 672563"/>
                <a:gd name="connsiteY6" fmla="*/ 70125 h 1042314"/>
                <a:gd name="connsiteX7" fmla="*/ 381863 w 672563"/>
                <a:gd name="connsiteY7" fmla="*/ 66300 h 1042314"/>
                <a:gd name="connsiteX8" fmla="*/ 364013 w 672563"/>
                <a:gd name="connsiteY8" fmla="*/ 62475 h 1042314"/>
                <a:gd name="connsiteX9" fmla="*/ 273488 w 672563"/>
                <a:gd name="connsiteY9" fmla="*/ 42712 h 1042314"/>
                <a:gd name="connsiteX10" fmla="*/ 110925 w 672563"/>
                <a:gd name="connsiteY10" fmla="*/ 4462 h 1042314"/>
                <a:gd name="connsiteX11" fmla="*/ 93075 w 672563"/>
                <a:gd name="connsiteY11" fmla="*/ 0 h 1042314"/>
                <a:gd name="connsiteX12" fmla="*/ 87338 w 672563"/>
                <a:gd name="connsiteY12" fmla="*/ 24225 h 1042314"/>
                <a:gd name="connsiteX13" fmla="*/ 0 w 672563"/>
                <a:gd name="connsiteY13" fmla="*/ 394613 h 1042314"/>
                <a:gd name="connsiteX14" fmla="*/ 75863 w 672563"/>
                <a:gd name="connsiteY14" fmla="*/ 503626 h 1042314"/>
                <a:gd name="connsiteX15" fmla="*/ 153638 w 672563"/>
                <a:gd name="connsiteY15" fmla="*/ 612001 h 1042314"/>
                <a:gd name="connsiteX16" fmla="*/ 292613 w 672563"/>
                <a:gd name="connsiteY16" fmla="*/ 810902 h 1042314"/>
                <a:gd name="connsiteX17" fmla="*/ 392063 w 672563"/>
                <a:gd name="connsiteY17" fmla="*/ 951152 h 1042314"/>
                <a:gd name="connsiteX18" fmla="*/ 443701 w 672563"/>
                <a:gd name="connsiteY18" fmla="*/ 1020002 h 1042314"/>
                <a:gd name="connsiteX19" fmla="*/ 460276 w 672563"/>
                <a:gd name="connsiteY19" fmla="*/ 1042315 h 1042314"/>
                <a:gd name="connsiteX20" fmla="*/ 460276 w 672563"/>
                <a:gd name="connsiteY20" fmla="*/ 1041040 h 1042314"/>
                <a:gd name="connsiteX21" fmla="*/ 471113 w 672563"/>
                <a:gd name="connsiteY21" fmla="*/ 1019364 h 1042314"/>
                <a:gd name="connsiteX22" fmla="*/ 471751 w 672563"/>
                <a:gd name="connsiteY22" fmla="*/ 917364 h 1042314"/>
                <a:gd name="connsiteX23" fmla="*/ 500439 w 672563"/>
                <a:gd name="connsiteY23" fmla="*/ 893777 h 1042314"/>
                <a:gd name="connsiteX24" fmla="*/ 522751 w 672563"/>
                <a:gd name="connsiteY24" fmla="*/ 913539 h 1042314"/>
                <a:gd name="connsiteX25" fmla="*/ 537414 w 672563"/>
                <a:gd name="connsiteY25" fmla="*/ 914177 h 1042314"/>
                <a:gd name="connsiteX26" fmla="*/ 566101 w 672563"/>
                <a:gd name="connsiteY26" fmla="*/ 789864 h 1042314"/>
                <a:gd name="connsiteX27" fmla="*/ 566101 w 672563"/>
                <a:gd name="connsiteY27" fmla="*/ 788589 h 1042314"/>
                <a:gd name="connsiteX28" fmla="*/ 568014 w 672563"/>
                <a:gd name="connsiteY28" fmla="*/ 766276 h 1042314"/>
                <a:gd name="connsiteX29" fmla="*/ 568014 w 672563"/>
                <a:gd name="connsiteY29" fmla="*/ 766276 h 104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2563" h="1042314">
                  <a:moveTo>
                    <a:pt x="568014" y="766276"/>
                  </a:moveTo>
                  <a:lnTo>
                    <a:pt x="634951" y="350626"/>
                  </a:lnTo>
                  <a:lnTo>
                    <a:pt x="668739" y="142800"/>
                  </a:lnTo>
                  <a:lnTo>
                    <a:pt x="672564" y="122400"/>
                  </a:lnTo>
                  <a:lnTo>
                    <a:pt x="654076" y="119213"/>
                  </a:lnTo>
                  <a:lnTo>
                    <a:pt x="581401" y="105825"/>
                  </a:lnTo>
                  <a:lnTo>
                    <a:pt x="399713" y="70125"/>
                  </a:lnTo>
                  <a:lnTo>
                    <a:pt x="381863" y="66300"/>
                  </a:lnTo>
                  <a:lnTo>
                    <a:pt x="364013" y="62475"/>
                  </a:lnTo>
                  <a:lnTo>
                    <a:pt x="273488" y="42712"/>
                  </a:lnTo>
                  <a:lnTo>
                    <a:pt x="110925" y="4462"/>
                  </a:lnTo>
                  <a:lnTo>
                    <a:pt x="93075" y="0"/>
                  </a:lnTo>
                  <a:lnTo>
                    <a:pt x="87338" y="24225"/>
                  </a:lnTo>
                  <a:lnTo>
                    <a:pt x="0" y="394613"/>
                  </a:lnTo>
                  <a:lnTo>
                    <a:pt x="75863" y="503626"/>
                  </a:lnTo>
                  <a:lnTo>
                    <a:pt x="153638" y="612001"/>
                  </a:lnTo>
                  <a:lnTo>
                    <a:pt x="292613" y="810902"/>
                  </a:lnTo>
                  <a:lnTo>
                    <a:pt x="392063" y="951152"/>
                  </a:lnTo>
                  <a:lnTo>
                    <a:pt x="443701" y="1020002"/>
                  </a:lnTo>
                  <a:lnTo>
                    <a:pt x="460276" y="1042315"/>
                  </a:lnTo>
                  <a:lnTo>
                    <a:pt x="460276" y="1041040"/>
                  </a:lnTo>
                  <a:lnTo>
                    <a:pt x="471113" y="1019364"/>
                  </a:lnTo>
                  <a:lnTo>
                    <a:pt x="471751" y="917364"/>
                  </a:lnTo>
                  <a:lnTo>
                    <a:pt x="500439" y="893777"/>
                  </a:lnTo>
                  <a:lnTo>
                    <a:pt x="522751" y="913539"/>
                  </a:lnTo>
                  <a:lnTo>
                    <a:pt x="537414" y="914177"/>
                  </a:lnTo>
                  <a:lnTo>
                    <a:pt x="566101" y="789864"/>
                  </a:lnTo>
                  <a:lnTo>
                    <a:pt x="566101" y="788589"/>
                  </a:lnTo>
                  <a:lnTo>
                    <a:pt x="568014" y="766276"/>
                  </a:lnTo>
                  <a:lnTo>
                    <a:pt x="568014" y="766276"/>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0" name="Freeform 29">
              <a:extLst>
                <a:ext uri="{FF2B5EF4-FFF2-40B4-BE49-F238E27FC236}">
                  <a16:creationId xmlns:a16="http://schemas.microsoft.com/office/drawing/2014/main" id="{0316D91A-C700-0AA2-0D86-183E791EFEDE}"/>
                </a:ext>
              </a:extLst>
            </p:cNvPr>
            <p:cNvSpPr/>
            <p:nvPr/>
          </p:nvSpPr>
          <p:spPr>
            <a:xfrm>
              <a:off x="3314562" y="2913362"/>
              <a:ext cx="721651" cy="765639"/>
            </a:xfrm>
            <a:custGeom>
              <a:avLst/>
              <a:gdLst>
                <a:gd name="connsiteX0" fmla="*/ 719739 w 721651"/>
                <a:gd name="connsiteY0" fmla="*/ 96900 h 765639"/>
                <a:gd name="connsiteX1" fmla="*/ 720376 w 721651"/>
                <a:gd name="connsiteY1" fmla="*/ 80325 h 765639"/>
                <a:gd name="connsiteX2" fmla="*/ 721014 w 721651"/>
                <a:gd name="connsiteY2" fmla="*/ 63750 h 765639"/>
                <a:gd name="connsiteX3" fmla="*/ 721652 w 721651"/>
                <a:gd name="connsiteY3" fmla="*/ 47175 h 765639"/>
                <a:gd name="connsiteX4" fmla="*/ 701251 w 721651"/>
                <a:gd name="connsiteY4" fmla="*/ 46538 h 765639"/>
                <a:gd name="connsiteX5" fmla="*/ 559089 w 721651"/>
                <a:gd name="connsiteY5" fmla="*/ 40163 h 765639"/>
                <a:gd name="connsiteX6" fmla="*/ 416926 w 721651"/>
                <a:gd name="connsiteY6" fmla="*/ 30600 h 765639"/>
                <a:gd name="connsiteX7" fmla="*/ 93075 w 721651"/>
                <a:gd name="connsiteY7" fmla="*/ 1912 h 765639"/>
                <a:gd name="connsiteX8" fmla="*/ 73313 w 721651"/>
                <a:gd name="connsiteY8" fmla="*/ 0 h 765639"/>
                <a:gd name="connsiteX9" fmla="*/ 70763 w 721651"/>
                <a:gd name="connsiteY9" fmla="*/ 22950 h 765639"/>
                <a:gd name="connsiteX10" fmla="*/ 22313 w 721651"/>
                <a:gd name="connsiteY10" fmla="*/ 520201 h 765639"/>
                <a:gd name="connsiteX11" fmla="*/ 17850 w 721651"/>
                <a:gd name="connsiteY11" fmla="*/ 567376 h 765639"/>
                <a:gd name="connsiteX12" fmla="*/ 0 w 721651"/>
                <a:gd name="connsiteY12" fmla="*/ 756714 h 765639"/>
                <a:gd name="connsiteX13" fmla="*/ 2550 w 721651"/>
                <a:gd name="connsiteY13" fmla="*/ 757351 h 765639"/>
                <a:gd name="connsiteX14" fmla="*/ 91163 w 721651"/>
                <a:gd name="connsiteY14" fmla="*/ 765639 h 765639"/>
                <a:gd name="connsiteX15" fmla="*/ 99450 w 721651"/>
                <a:gd name="connsiteY15" fmla="*/ 720376 h 765639"/>
                <a:gd name="connsiteX16" fmla="*/ 115388 w 721651"/>
                <a:gd name="connsiteY16" fmla="*/ 707626 h 765639"/>
                <a:gd name="connsiteX17" fmla="*/ 295163 w 721651"/>
                <a:gd name="connsiteY17" fmla="*/ 723564 h 765639"/>
                <a:gd name="connsiteX18" fmla="*/ 296438 w 721651"/>
                <a:gd name="connsiteY18" fmla="*/ 723564 h 765639"/>
                <a:gd name="connsiteX19" fmla="*/ 280501 w 721651"/>
                <a:gd name="connsiteY19" fmla="*/ 691689 h 765639"/>
                <a:gd name="connsiteX20" fmla="*/ 362101 w 721651"/>
                <a:gd name="connsiteY20" fmla="*/ 697427 h 765639"/>
                <a:gd name="connsiteX21" fmla="*/ 566101 w 721651"/>
                <a:gd name="connsiteY21" fmla="*/ 708902 h 765639"/>
                <a:gd name="connsiteX22" fmla="*/ 692964 w 721651"/>
                <a:gd name="connsiteY22" fmla="*/ 714639 h 765639"/>
                <a:gd name="connsiteX23" fmla="*/ 714639 w 721651"/>
                <a:gd name="connsiteY23" fmla="*/ 112200 h 765639"/>
                <a:gd name="connsiteX24" fmla="*/ 719101 w 721651"/>
                <a:gd name="connsiteY24" fmla="*/ 112838 h 765639"/>
                <a:gd name="connsiteX25" fmla="*/ 719101 w 721651"/>
                <a:gd name="connsiteY25" fmla="*/ 96900 h 765639"/>
                <a:gd name="connsiteX26" fmla="*/ 719739 w 721651"/>
                <a:gd name="connsiteY26" fmla="*/ 96900 h 76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1651" h="765639">
                  <a:moveTo>
                    <a:pt x="719739" y="96900"/>
                  </a:moveTo>
                  <a:lnTo>
                    <a:pt x="720376" y="80325"/>
                  </a:lnTo>
                  <a:lnTo>
                    <a:pt x="721014" y="63750"/>
                  </a:lnTo>
                  <a:lnTo>
                    <a:pt x="721652" y="47175"/>
                  </a:lnTo>
                  <a:lnTo>
                    <a:pt x="701251" y="46538"/>
                  </a:lnTo>
                  <a:lnTo>
                    <a:pt x="559089" y="40163"/>
                  </a:lnTo>
                  <a:lnTo>
                    <a:pt x="416926" y="30600"/>
                  </a:lnTo>
                  <a:lnTo>
                    <a:pt x="93075" y="1912"/>
                  </a:lnTo>
                  <a:lnTo>
                    <a:pt x="73313" y="0"/>
                  </a:lnTo>
                  <a:lnTo>
                    <a:pt x="70763" y="22950"/>
                  </a:lnTo>
                  <a:lnTo>
                    <a:pt x="22313" y="520201"/>
                  </a:lnTo>
                  <a:lnTo>
                    <a:pt x="17850" y="567376"/>
                  </a:lnTo>
                  <a:lnTo>
                    <a:pt x="0" y="756714"/>
                  </a:lnTo>
                  <a:lnTo>
                    <a:pt x="2550" y="757351"/>
                  </a:lnTo>
                  <a:lnTo>
                    <a:pt x="91163" y="765639"/>
                  </a:lnTo>
                  <a:lnTo>
                    <a:pt x="99450" y="720376"/>
                  </a:lnTo>
                  <a:lnTo>
                    <a:pt x="115388" y="707626"/>
                  </a:lnTo>
                  <a:lnTo>
                    <a:pt x="295163" y="723564"/>
                  </a:lnTo>
                  <a:lnTo>
                    <a:pt x="296438" y="723564"/>
                  </a:lnTo>
                  <a:lnTo>
                    <a:pt x="280501" y="691689"/>
                  </a:lnTo>
                  <a:lnTo>
                    <a:pt x="362101" y="697427"/>
                  </a:lnTo>
                  <a:lnTo>
                    <a:pt x="566101" y="708902"/>
                  </a:lnTo>
                  <a:lnTo>
                    <a:pt x="692964" y="714639"/>
                  </a:lnTo>
                  <a:lnTo>
                    <a:pt x="714639" y="112200"/>
                  </a:lnTo>
                  <a:lnTo>
                    <a:pt x="719101" y="112838"/>
                  </a:lnTo>
                  <a:lnTo>
                    <a:pt x="719101" y="96900"/>
                  </a:lnTo>
                  <a:lnTo>
                    <a:pt x="719739" y="969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1" name="Freeform 30">
              <a:extLst>
                <a:ext uri="{FF2B5EF4-FFF2-40B4-BE49-F238E27FC236}">
                  <a16:creationId xmlns:a16="http://schemas.microsoft.com/office/drawing/2014/main" id="{BDF7F626-EA0D-A847-596C-2568FEEB3EF4}"/>
                </a:ext>
              </a:extLst>
            </p:cNvPr>
            <p:cNvSpPr/>
            <p:nvPr/>
          </p:nvSpPr>
          <p:spPr>
            <a:xfrm>
              <a:off x="1972622" y="1405034"/>
              <a:ext cx="846601" cy="713363"/>
            </a:xfrm>
            <a:custGeom>
              <a:avLst/>
              <a:gdLst>
                <a:gd name="connsiteX0" fmla="*/ 8288 w 846601"/>
                <a:gd name="connsiteY0" fmla="*/ 533588 h 713363"/>
                <a:gd name="connsiteX1" fmla="*/ 110288 w 846601"/>
                <a:gd name="connsiteY1" fmla="*/ 564826 h 713363"/>
                <a:gd name="connsiteX2" fmla="*/ 385051 w 846601"/>
                <a:gd name="connsiteY2" fmla="*/ 640689 h 713363"/>
                <a:gd name="connsiteX3" fmla="*/ 409913 w 846601"/>
                <a:gd name="connsiteY3" fmla="*/ 647064 h 713363"/>
                <a:gd name="connsiteX4" fmla="*/ 427763 w 846601"/>
                <a:gd name="connsiteY4" fmla="*/ 651526 h 713363"/>
                <a:gd name="connsiteX5" fmla="*/ 590326 w 846601"/>
                <a:gd name="connsiteY5" fmla="*/ 689776 h 713363"/>
                <a:gd name="connsiteX6" fmla="*/ 680851 w 846601"/>
                <a:gd name="connsiteY6" fmla="*/ 709539 h 713363"/>
                <a:gd name="connsiteX7" fmla="*/ 698701 w 846601"/>
                <a:gd name="connsiteY7" fmla="*/ 713364 h 713363"/>
                <a:gd name="connsiteX8" fmla="*/ 701251 w 846601"/>
                <a:gd name="connsiteY8" fmla="*/ 699976 h 713363"/>
                <a:gd name="connsiteX9" fmla="*/ 761814 w 846601"/>
                <a:gd name="connsiteY9" fmla="*/ 446888 h 713363"/>
                <a:gd name="connsiteX10" fmla="*/ 745877 w 846601"/>
                <a:gd name="connsiteY10" fmla="*/ 406726 h 713363"/>
                <a:gd name="connsiteX11" fmla="*/ 747789 w 846601"/>
                <a:gd name="connsiteY11" fmla="*/ 390788 h 713363"/>
                <a:gd name="connsiteX12" fmla="*/ 814727 w 846601"/>
                <a:gd name="connsiteY12" fmla="*/ 303450 h 713363"/>
                <a:gd name="connsiteX13" fmla="*/ 846602 w 846601"/>
                <a:gd name="connsiteY13" fmla="*/ 224400 h 713363"/>
                <a:gd name="connsiteX14" fmla="*/ 824927 w 846601"/>
                <a:gd name="connsiteY14" fmla="*/ 200813 h 713363"/>
                <a:gd name="connsiteX15" fmla="*/ 824289 w 846601"/>
                <a:gd name="connsiteY15" fmla="*/ 188700 h 713363"/>
                <a:gd name="connsiteX16" fmla="*/ 824289 w 846601"/>
                <a:gd name="connsiteY16" fmla="*/ 188063 h 713363"/>
                <a:gd name="connsiteX17" fmla="*/ 812177 w 846601"/>
                <a:gd name="connsiteY17" fmla="*/ 185513 h 713363"/>
                <a:gd name="connsiteX18" fmla="*/ 631764 w 846601"/>
                <a:gd name="connsiteY18" fmla="*/ 144713 h 713363"/>
                <a:gd name="connsiteX19" fmla="*/ 621564 w 846601"/>
                <a:gd name="connsiteY19" fmla="*/ 149175 h 713363"/>
                <a:gd name="connsiteX20" fmla="*/ 586501 w 846601"/>
                <a:gd name="connsiteY20" fmla="*/ 143438 h 713363"/>
                <a:gd name="connsiteX21" fmla="*/ 515101 w 846601"/>
                <a:gd name="connsiteY21" fmla="*/ 151088 h 713363"/>
                <a:gd name="connsiteX22" fmla="*/ 471113 w 846601"/>
                <a:gd name="connsiteY22" fmla="*/ 145350 h 713363"/>
                <a:gd name="connsiteX23" fmla="*/ 424576 w 846601"/>
                <a:gd name="connsiteY23" fmla="*/ 144713 h 713363"/>
                <a:gd name="connsiteX24" fmla="*/ 420751 w 846601"/>
                <a:gd name="connsiteY24" fmla="*/ 133238 h 713363"/>
                <a:gd name="connsiteX25" fmla="*/ 322576 w 846601"/>
                <a:gd name="connsiteY25" fmla="*/ 123675 h 713363"/>
                <a:gd name="connsiteX26" fmla="*/ 288151 w 846601"/>
                <a:gd name="connsiteY26" fmla="*/ 105188 h 713363"/>
                <a:gd name="connsiteX27" fmla="*/ 283688 w 846601"/>
                <a:gd name="connsiteY27" fmla="*/ 93075 h 713363"/>
                <a:gd name="connsiteX28" fmla="*/ 287513 w 846601"/>
                <a:gd name="connsiteY28" fmla="*/ 44625 h 713363"/>
                <a:gd name="connsiteX29" fmla="*/ 264563 w 846601"/>
                <a:gd name="connsiteY29" fmla="*/ 19762 h 713363"/>
                <a:gd name="connsiteX30" fmla="*/ 262651 w 846601"/>
                <a:gd name="connsiteY30" fmla="*/ 20400 h 713363"/>
                <a:gd name="connsiteX31" fmla="*/ 258188 w 846601"/>
                <a:gd name="connsiteY31" fmla="*/ 23587 h 713363"/>
                <a:gd name="connsiteX32" fmla="*/ 225675 w 846601"/>
                <a:gd name="connsiteY32" fmla="*/ 7012 h 713363"/>
                <a:gd name="connsiteX33" fmla="*/ 206550 w 846601"/>
                <a:gd name="connsiteY33" fmla="*/ 12750 h 713363"/>
                <a:gd name="connsiteX34" fmla="*/ 193800 w 846601"/>
                <a:gd name="connsiteY34" fmla="*/ 6375 h 713363"/>
                <a:gd name="connsiteX35" fmla="*/ 180413 w 846601"/>
                <a:gd name="connsiteY35" fmla="*/ 61200 h 713363"/>
                <a:gd name="connsiteX36" fmla="*/ 170850 w 846601"/>
                <a:gd name="connsiteY36" fmla="*/ 76500 h 713363"/>
                <a:gd name="connsiteX37" fmla="*/ 131325 w 846601"/>
                <a:gd name="connsiteY37" fmla="*/ 174038 h 713363"/>
                <a:gd name="connsiteX38" fmla="*/ 119850 w 846601"/>
                <a:gd name="connsiteY38" fmla="*/ 227588 h 713363"/>
                <a:gd name="connsiteX39" fmla="*/ 112838 w 846601"/>
                <a:gd name="connsiteY39" fmla="*/ 228225 h 713363"/>
                <a:gd name="connsiteX40" fmla="*/ 75863 w 846601"/>
                <a:gd name="connsiteY40" fmla="*/ 316838 h 713363"/>
                <a:gd name="connsiteX41" fmla="*/ 51000 w 846601"/>
                <a:gd name="connsiteY41" fmla="*/ 354451 h 713363"/>
                <a:gd name="connsiteX42" fmla="*/ 41438 w 846601"/>
                <a:gd name="connsiteY42" fmla="*/ 360826 h 713363"/>
                <a:gd name="connsiteX43" fmla="*/ 18487 w 846601"/>
                <a:gd name="connsiteY43" fmla="*/ 406088 h 713363"/>
                <a:gd name="connsiteX44" fmla="*/ 14025 w 846601"/>
                <a:gd name="connsiteY44" fmla="*/ 453901 h 713363"/>
                <a:gd name="connsiteX45" fmla="*/ 0 w 846601"/>
                <a:gd name="connsiteY45" fmla="*/ 495976 h 713363"/>
                <a:gd name="connsiteX46" fmla="*/ 8288 w 846601"/>
                <a:gd name="connsiteY46" fmla="*/ 533588 h 713363"/>
                <a:gd name="connsiteX47" fmla="*/ 8288 w 846601"/>
                <a:gd name="connsiteY47" fmla="*/ 533588 h 713363"/>
                <a:gd name="connsiteX48" fmla="*/ 8288 w 846601"/>
                <a:gd name="connsiteY48" fmla="*/ 533588 h 713363"/>
                <a:gd name="connsiteX49" fmla="*/ 244163 w 846601"/>
                <a:gd name="connsiteY49" fmla="*/ 5737 h 713363"/>
                <a:gd name="connsiteX50" fmla="*/ 242250 w 846601"/>
                <a:gd name="connsiteY50" fmla="*/ 0 h 713363"/>
                <a:gd name="connsiteX51" fmla="*/ 241613 w 846601"/>
                <a:gd name="connsiteY51" fmla="*/ 4462 h 713363"/>
                <a:gd name="connsiteX52" fmla="*/ 244163 w 846601"/>
                <a:gd name="connsiteY52" fmla="*/ 5737 h 713363"/>
                <a:gd name="connsiteX53" fmla="*/ 244163 w 846601"/>
                <a:gd name="connsiteY53" fmla="*/ 5737 h 71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6601" h="713363">
                  <a:moveTo>
                    <a:pt x="8288" y="533588"/>
                  </a:moveTo>
                  <a:lnTo>
                    <a:pt x="110288" y="564826"/>
                  </a:lnTo>
                  <a:lnTo>
                    <a:pt x="385051" y="640689"/>
                  </a:lnTo>
                  <a:lnTo>
                    <a:pt x="409913" y="647064"/>
                  </a:lnTo>
                  <a:lnTo>
                    <a:pt x="427763" y="651526"/>
                  </a:lnTo>
                  <a:lnTo>
                    <a:pt x="590326" y="689776"/>
                  </a:lnTo>
                  <a:lnTo>
                    <a:pt x="680851" y="709539"/>
                  </a:lnTo>
                  <a:lnTo>
                    <a:pt x="698701" y="713364"/>
                  </a:lnTo>
                  <a:lnTo>
                    <a:pt x="701251" y="699976"/>
                  </a:lnTo>
                  <a:lnTo>
                    <a:pt x="761814" y="446888"/>
                  </a:lnTo>
                  <a:lnTo>
                    <a:pt x="745877" y="406726"/>
                  </a:lnTo>
                  <a:lnTo>
                    <a:pt x="747789" y="390788"/>
                  </a:lnTo>
                  <a:lnTo>
                    <a:pt x="814727" y="303450"/>
                  </a:lnTo>
                  <a:lnTo>
                    <a:pt x="846602" y="224400"/>
                  </a:lnTo>
                  <a:lnTo>
                    <a:pt x="824927" y="200813"/>
                  </a:lnTo>
                  <a:lnTo>
                    <a:pt x="824289" y="188700"/>
                  </a:lnTo>
                  <a:lnTo>
                    <a:pt x="824289" y="188063"/>
                  </a:lnTo>
                  <a:lnTo>
                    <a:pt x="812177" y="185513"/>
                  </a:lnTo>
                  <a:lnTo>
                    <a:pt x="631764" y="144713"/>
                  </a:lnTo>
                  <a:lnTo>
                    <a:pt x="621564" y="149175"/>
                  </a:lnTo>
                  <a:lnTo>
                    <a:pt x="586501" y="143438"/>
                  </a:lnTo>
                  <a:lnTo>
                    <a:pt x="515101" y="151088"/>
                  </a:lnTo>
                  <a:lnTo>
                    <a:pt x="471113" y="145350"/>
                  </a:lnTo>
                  <a:lnTo>
                    <a:pt x="424576" y="144713"/>
                  </a:lnTo>
                  <a:lnTo>
                    <a:pt x="420751" y="133238"/>
                  </a:lnTo>
                  <a:lnTo>
                    <a:pt x="322576" y="123675"/>
                  </a:lnTo>
                  <a:lnTo>
                    <a:pt x="288151" y="105188"/>
                  </a:lnTo>
                  <a:lnTo>
                    <a:pt x="283688" y="93075"/>
                  </a:lnTo>
                  <a:lnTo>
                    <a:pt x="287513" y="44625"/>
                  </a:lnTo>
                  <a:lnTo>
                    <a:pt x="264563" y="19762"/>
                  </a:lnTo>
                  <a:lnTo>
                    <a:pt x="262651" y="20400"/>
                  </a:lnTo>
                  <a:lnTo>
                    <a:pt x="258188" y="23587"/>
                  </a:lnTo>
                  <a:lnTo>
                    <a:pt x="225675" y="7012"/>
                  </a:lnTo>
                  <a:lnTo>
                    <a:pt x="206550" y="12750"/>
                  </a:lnTo>
                  <a:lnTo>
                    <a:pt x="193800" y="6375"/>
                  </a:lnTo>
                  <a:lnTo>
                    <a:pt x="180413" y="61200"/>
                  </a:lnTo>
                  <a:lnTo>
                    <a:pt x="170850" y="76500"/>
                  </a:lnTo>
                  <a:lnTo>
                    <a:pt x="131325" y="174038"/>
                  </a:lnTo>
                  <a:lnTo>
                    <a:pt x="119850" y="227588"/>
                  </a:lnTo>
                  <a:lnTo>
                    <a:pt x="112838" y="228225"/>
                  </a:lnTo>
                  <a:lnTo>
                    <a:pt x="75863" y="316838"/>
                  </a:lnTo>
                  <a:lnTo>
                    <a:pt x="51000" y="354451"/>
                  </a:lnTo>
                  <a:lnTo>
                    <a:pt x="41438" y="360826"/>
                  </a:lnTo>
                  <a:lnTo>
                    <a:pt x="18487" y="406088"/>
                  </a:lnTo>
                  <a:lnTo>
                    <a:pt x="14025" y="453901"/>
                  </a:lnTo>
                  <a:lnTo>
                    <a:pt x="0" y="495976"/>
                  </a:lnTo>
                  <a:lnTo>
                    <a:pt x="8288" y="533588"/>
                  </a:lnTo>
                  <a:lnTo>
                    <a:pt x="8288" y="533588"/>
                  </a:lnTo>
                  <a:lnTo>
                    <a:pt x="8288" y="533588"/>
                  </a:lnTo>
                  <a:close/>
                  <a:moveTo>
                    <a:pt x="244163" y="5737"/>
                  </a:moveTo>
                  <a:lnTo>
                    <a:pt x="242250" y="0"/>
                  </a:lnTo>
                  <a:lnTo>
                    <a:pt x="241613" y="4462"/>
                  </a:lnTo>
                  <a:lnTo>
                    <a:pt x="244163" y="5737"/>
                  </a:lnTo>
                  <a:lnTo>
                    <a:pt x="244163" y="5737"/>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32" name="Freeform 31">
              <a:extLst>
                <a:ext uri="{FF2B5EF4-FFF2-40B4-BE49-F238E27FC236}">
                  <a16:creationId xmlns:a16="http://schemas.microsoft.com/office/drawing/2014/main" id="{68AC8A9C-823C-6568-26CA-2AF7C25AB52E}"/>
                </a:ext>
              </a:extLst>
            </p:cNvPr>
            <p:cNvSpPr/>
            <p:nvPr/>
          </p:nvSpPr>
          <p:spPr>
            <a:xfrm>
              <a:off x="2856198" y="2175136"/>
              <a:ext cx="586501" cy="739501"/>
            </a:xfrm>
            <a:custGeom>
              <a:avLst/>
              <a:gdLst>
                <a:gd name="connsiteX0" fmla="*/ 383776 w 586501"/>
                <a:gd name="connsiteY0" fmla="*/ 42713 h 739501"/>
                <a:gd name="connsiteX1" fmla="*/ 218025 w 586501"/>
                <a:gd name="connsiteY1" fmla="*/ 17850 h 739501"/>
                <a:gd name="connsiteX2" fmla="*/ 125588 w 586501"/>
                <a:gd name="connsiteY2" fmla="*/ 3188 h 739501"/>
                <a:gd name="connsiteX3" fmla="*/ 107738 w 586501"/>
                <a:gd name="connsiteY3" fmla="*/ 0 h 739501"/>
                <a:gd name="connsiteX4" fmla="*/ 103913 w 586501"/>
                <a:gd name="connsiteY4" fmla="*/ 20400 h 739501"/>
                <a:gd name="connsiteX5" fmla="*/ 70125 w 586501"/>
                <a:gd name="connsiteY5" fmla="*/ 228225 h 739501"/>
                <a:gd name="connsiteX6" fmla="*/ 3188 w 586501"/>
                <a:gd name="connsiteY6" fmla="*/ 643876 h 739501"/>
                <a:gd name="connsiteX7" fmla="*/ 0 w 586501"/>
                <a:gd name="connsiteY7" fmla="*/ 664276 h 739501"/>
                <a:gd name="connsiteX8" fmla="*/ 16575 w 586501"/>
                <a:gd name="connsiteY8" fmla="*/ 666826 h 739501"/>
                <a:gd name="connsiteX9" fmla="*/ 182325 w 586501"/>
                <a:gd name="connsiteY9" fmla="*/ 693601 h 739501"/>
                <a:gd name="connsiteX10" fmla="*/ 298988 w 586501"/>
                <a:gd name="connsiteY10" fmla="*/ 710177 h 739501"/>
                <a:gd name="connsiteX11" fmla="*/ 515101 w 586501"/>
                <a:gd name="connsiteY11" fmla="*/ 737589 h 739501"/>
                <a:gd name="connsiteX12" fmla="*/ 531676 w 586501"/>
                <a:gd name="connsiteY12" fmla="*/ 739502 h 739501"/>
                <a:gd name="connsiteX13" fmla="*/ 532951 w 586501"/>
                <a:gd name="connsiteY13" fmla="*/ 722927 h 739501"/>
                <a:gd name="connsiteX14" fmla="*/ 538051 w 586501"/>
                <a:gd name="connsiteY14" fmla="*/ 671926 h 739501"/>
                <a:gd name="connsiteX15" fmla="*/ 550164 w 586501"/>
                <a:gd name="connsiteY15" fmla="*/ 554626 h 739501"/>
                <a:gd name="connsiteX16" fmla="*/ 584589 w 586501"/>
                <a:gd name="connsiteY16" fmla="*/ 219938 h 739501"/>
                <a:gd name="connsiteX17" fmla="*/ 586501 w 586501"/>
                <a:gd name="connsiteY17" fmla="*/ 203363 h 739501"/>
                <a:gd name="connsiteX18" fmla="*/ 573751 w 586501"/>
                <a:gd name="connsiteY18" fmla="*/ 202088 h 739501"/>
                <a:gd name="connsiteX19" fmla="*/ 409913 w 586501"/>
                <a:gd name="connsiteY19" fmla="*/ 182325 h 739501"/>
                <a:gd name="connsiteX20" fmla="*/ 385051 w 586501"/>
                <a:gd name="connsiteY20" fmla="*/ 179138 h 739501"/>
                <a:gd name="connsiteX21" fmla="*/ 400988 w 586501"/>
                <a:gd name="connsiteY21" fmla="*/ 54188 h 739501"/>
                <a:gd name="connsiteX22" fmla="*/ 402263 w 586501"/>
                <a:gd name="connsiteY22" fmla="*/ 45900 h 739501"/>
                <a:gd name="connsiteX23" fmla="*/ 383776 w 586501"/>
                <a:gd name="connsiteY23" fmla="*/ 42713 h 739501"/>
                <a:gd name="connsiteX24" fmla="*/ 383776 w 586501"/>
                <a:gd name="connsiteY24" fmla="*/ 42713 h 73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6501" h="739501">
                  <a:moveTo>
                    <a:pt x="383776" y="42713"/>
                  </a:moveTo>
                  <a:lnTo>
                    <a:pt x="218025" y="17850"/>
                  </a:lnTo>
                  <a:lnTo>
                    <a:pt x="125588" y="3188"/>
                  </a:lnTo>
                  <a:lnTo>
                    <a:pt x="107738" y="0"/>
                  </a:lnTo>
                  <a:lnTo>
                    <a:pt x="103913" y="20400"/>
                  </a:lnTo>
                  <a:lnTo>
                    <a:pt x="70125" y="228225"/>
                  </a:lnTo>
                  <a:lnTo>
                    <a:pt x="3188" y="643876"/>
                  </a:lnTo>
                  <a:lnTo>
                    <a:pt x="0" y="664276"/>
                  </a:lnTo>
                  <a:lnTo>
                    <a:pt x="16575" y="666826"/>
                  </a:lnTo>
                  <a:lnTo>
                    <a:pt x="182325" y="693601"/>
                  </a:lnTo>
                  <a:lnTo>
                    <a:pt x="298988" y="710177"/>
                  </a:lnTo>
                  <a:lnTo>
                    <a:pt x="515101" y="737589"/>
                  </a:lnTo>
                  <a:lnTo>
                    <a:pt x="531676" y="739502"/>
                  </a:lnTo>
                  <a:lnTo>
                    <a:pt x="532951" y="722927"/>
                  </a:lnTo>
                  <a:lnTo>
                    <a:pt x="538051" y="671926"/>
                  </a:lnTo>
                  <a:lnTo>
                    <a:pt x="550164" y="554626"/>
                  </a:lnTo>
                  <a:lnTo>
                    <a:pt x="584589" y="219938"/>
                  </a:lnTo>
                  <a:lnTo>
                    <a:pt x="586501" y="203363"/>
                  </a:lnTo>
                  <a:lnTo>
                    <a:pt x="573751" y="202088"/>
                  </a:lnTo>
                  <a:lnTo>
                    <a:pt x="409913" y="182325"/>
                  </a:lnTo>
                  <a:lnTo>
                    <a:pt x="385051" y="179138"/>
                  </a:lnTo>
                  <a:lnTo>
                    <a:pt x="400988" y="54188"/>
                  </a:lnTo>
                  <a:lnTo>
                    <a:pt x="402263" y="45900"/>
                  </a:lnTo>
                  <a:lnTo>
                    <a:pt x="383776" y="42713"/>
                  </a:lnTo>
                  <a:lnTo>
                    <a:pt x="383776" y="427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33" name="Freeform 32">
              <a:extLst>
                <a:ext uri="{FF2B5EF4-FFF2-40B4-BE49-F238E27FC236}">
                  <a16:creationId xmlns:a16="http://schemas.microsoft.com/office/drawing/2014/main" id="{64F66750-C102-59E9-3309-85EA58CB353E}"/>
                </a:ext>
              </a:extLst>
            </p:cNvPr>
            <p:cNvSpPr/>
            <p:nvPr/>
          </p:nvSpPr>
          <p:spPr>
            <a:xfrm>
              <a:off x="3241249" y="1818135"/>
              <a:ext cx="731851" cy="598613"/>
            </a:xfrm>
            <a:custGeom>
              <a:avLst/>
              <a:gdLst>
                <a:gd name="connsiteX0" fmla="*/ 719739 w 731851"/>
                <a:gd name="connsiteY0" fmla="*/ 314926 h 598613"/>
                <a:gd name="connsiteX1" fmla="*/ 724839 w 731851"/>
                <a:gd name="connsiteY1" fmla="*/ 214838 h 598613"/>
                <a:gd name="connsiteX2" fmla="*/ 731214 w 731851"/>
                <a:gd name="connsiteY2" fmla="*/ 79688 h 598613"/>
                <a:gd name="connsiteX3" fmla="*/ 731851 w 731851"/>
                <a:gd name="connsiteY3" fmla="*/ 63113 h 598613"/>
                <a:gd name="connsiteX4" fmla="*/ 723564 w 731851"/>
                <a:gd name="connsiteY4" fmla="*/ 61838 h 598613"/>
                <a:gd name="connsiteX5" fmla="*/ 559089 w 731851"/>
                <a:gd name="connsiteY5" fmla="*/ 51638 h 598613"/>
                <a:gd name="connsiteX6" fmla="*/ 466651 w 731851"/>
                <a:gd name="connsiteY6" fmla="*/ 43988 h 598613"/>
                <a:gd name="connsiteX7" fmla="*/ 291338 w 731851"/>
                <a:gd name="connsiteY7" fmla="*/ 27412 h 598613"/>
                <a:gd name="connsiteX8" fmla="*/ 71400 w 731851"/>
                <a:gd name="connsiteY8" fmla="*/ 0 h 598613"/>
                <a:gd name="connsiteX9" fmla="*/ 61838 w 731851"/>
                <a:gd name="connsiteY9" fmla="*/ 63113 h 598613"/>
                <a:gd name="connsiteX10" fmla="*/ 61200 w 731851"/>
                <a:gd name="connsiteY10" fmla="*/ 66938 h 598613"/>
                <a:gd name="connsiteX11" fmla="*/ 58650 w 731851"/>
                <a:gd name="connsiteY11" fmla="*/ 87975 h 598613"/>
                <a:gd name="connsiteX12" fmla="*/ 47175 w 731851"/>
                <a:gd name="connsiteY12" fmla="*/ 170850 h 598613"/>
                <a:gd name="connsiteX13" fmla="*/ 25500 w 731851"/>
                <a:gd name="connsiteY13" fmla="*/ 337876 h 598613"/>
                <a:gd name="connsiteX14" fmla="*/ 19763 w 731851"/>
                <a:gd name="connsiteY14" fmla="*/ 379313 h 598613"/>
                <a:gd name="connsiteX15" fmla="*/ 17213 w 731851"/>
                <a:gd name="connsiteY15" fmla="*/ 400351 h 598613"/>
                <a:gd name="connsiteX16" fmla="*/ 15938 w 731851"/>
                <a:gd name="connsiteY16" fmla="*/ 408638 h 598613"/>
                <a:gd name="connsiteX17" fmla="*/ 0 w 731851"/>
                <a:gd name="connsiteY17" fmla="*/ 533589 h 598613"/>
                <a:gd name="connsiteX18" fmla="*/ 24863 w 731851"/>
                <a:gd name="connsiteY18" fmla="*/ 536776 h 598613"/>
                <a:gd name="connsiteX19" fmla="*/ 188700 w 731851"/>
                <a:gd name="connsiteY19" fmla="*/ 556539 h 598613"/>
                <a:gd name="connsiteX20" fmla="*/ 201450 w 731851"/>
                <a:gd name="connsiteY20" fmla="*/ 557814 h 598613"/>
                <a:gd name="connsiteX21" fmla="*/ 216750 w 731851"/>
                <a:gd name="connsiteY21" fmla="*/ 559726 h 598613"/>
                <a:gd name="connsiteX22" fmla="*/ 375488 w 731851"/>
                <a:gd name="connsiteY22" fmla="*/ 575026 h 598613"/>
                <a:gd name="connsiteX23" fmla="*/ 502351 w 731851"/>
                <a:gd name="connsiteY23" fmla="*/ 585864 h 598613"/>
                <a:gd name="connsiteX24" fmla="*/ 692964 w 731851"/>
                <a:gd name="connsiteY24" fmla="*/ 597976 h 598613"/>
                <a:gd name="connsiteX25" fmla="*/ 705714 w 731851"/>
                <a:gd name="connsiteY25" fmla="*/ 598614 h 598613"/>
                <a:gd name="connsiteX26" fmla="*/ 706351 w 731851"/>
                <a:gd name="connsiteY26" fmla="*/ 582039 h 598613"/>
                <a:gd name="connsiteX27" fmla="*/ 709539 w 731851"/>
                <a:gd name="connsiteY27" fmla="*/ 514464 h 598613"/>
                <a:gd name="connsiteX28" fmla="*/ 715277 w 731851"/>
                <a:gd name="connsiteY28" fmla="*/ 396526 h 598613"/>
                <a:gd name="connsiteX29" fmla="*/ 717827 w 731851"/>
                <a:gd name="connsiteY29" fmla="*/ 346163 h 598613"/>
                <a:gd name="connsiteX30" fmla="*/ 718464 w 731851"/>
                <a:gd name="connsiteY30" fmla="*/ 329588 h 598613"/>
                <a:gd name="connsiteX31" fmla="*/ 719739 w 731851"/>
                <a:gd name="connsiteY31" fmla="*/ 314926 h 598613"/>
                <a:gd name="connsiteX32" fmla="*/ 719739 w 731851"/>
                <a:gd name="connsiteY32" fmla="*/ 314926 h 59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1851" h="598613">
                  <a:moveTo>
                    <a:pt x="719739" y="314926"/>
                  </a:moveTo>
                  <a:lnTo>
                    <a:pt x="724839" y="214838"/>
                  </a:lnTo>
                  <a:lnTo>
                    <a:pt x="731214" y="79688"/>
                  </a:lnTo>
                  <a:lnTo>
                    <a:pt x="731851" y="63113"/>
                  </a:lnTo>
                  <a:lnTo>
                    <a:pt x="723564" y="61838"/>
                  </a:lnTo>
                  <a:lnTo>
                    <a:pt x="559089" y="51638"/>
                  </a:lnTo>
                  <a:lnTo>
                    <a:pt x="466651" y="43988"/>
                  </a:lnTo>
                  <a:lnTo>
                    <a:pt x="291338" y="27412"/>
                  </a:lnTo>
                  <a:lnTo>
                    <a:pt x="71400" y="0"/>
                  </a:lnTo>
                  <a:lnTo>
                    <a:pt x="61838" y="63113"/>
                  </a:lnTo>
                  <a:lnTo>
                    <a:pt x="61200" y="66938"/>
                  </a:lnTo>
                  <a:lnTo>
                    <a:pt x="58650" y="87975"/>
                  </a:lnTo>
                  <a:lnTo>
                    <a:pt x="47175" y="170850"/>
                  </a:lnTo>
                  <a:lnTo>
                    <a:pt x="25500" y="337876"/>
                  </a:lnTo>
                  <a:lnTo>
                    <a:pt x="19763" y="379313"/>
                  </a:lnTo>
                  <a:lnTo>
                    <a:pt x="17213" y="400351"/>
                  </a:lnTo>
                  <a:lnTo>
                    <a:pt x="15938" y="408638"/>
                  </a:lnTo>
                  <a:lnTo>
                    <a:pt x="0" y="533589"/>
                  </a:lnTo>
                  <a:lnTo>
                    <a:pt x="24863" y="536776"/>
                  </a:lnTo>
                  <a:lnTo>
                    <a:pt x="188700" y="556539"/>
                  </a:lnTo>
                  <a:lnTo>
                    <a:pt x="201450" y="557814"/>
                  </a:lnTo>
                  <a:lnTo>
                    <a:pt x="216750" y="559726"/>
                  </a:lnTo>
                  <a:lnTo>
                    <a:pt x="375488" y="575026"/>
                  </a:lnTo>
                  <a:lnTo>
                    <a:pt x="502351" y="585864"/>
                  </a:lnTo>
                  <a:lnTo>
                    <a:pt x="692964" y="597976"/>
                  </a:lnTo>
                  <a:lnTo>
                    <a:pt x="705714" y="598614"/>
                  </a:lnTo>
                  <a:lnTo>
                    <a:pt x="706351" y="582039"/>
                  </a:lnTo>
                  <a:lnTo>
                    <a:pt x="709539" y="514464"/>
                  </a:lnTo>
                  <a:lnTo>
                    <a:pt x="715277" y="396526"/>
                  </a:lnTo>
                  <a:lnTo>
                    <a:pt x="717827" y="346163"/>
                  </a:lnTo>
                  <a:lnTo>
                    <a:pt x="718464" y="329588"/>
                  </a:lnTo>
                  <a:lnTo>
                    <a:pt x="719739" y="314926"/>
                  </a:lnTo>
                  <a:lnTo>
                    <a:pt x="719739" y="314926"/>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34" name="Freeform 33">
              <a:extLst>
                <a:ext uri="{FF2B5EF4-FFF2-40B4-BE49-F238E27FC236}">
                  <a16:creationId xmlns:a16="http://schemas.microsoft.com/office/drawing/2014/main" id="{328F6B58-48CA-8AFF-8927-EE4E0CC8C443}"/>
                </a:ext>
              </a:extLst>
            </p:cNvPr>
            <p:cNvSpPr/>
            <p:nvPr/>
          </p:nvSpPr>
          <p:spPr>
            <a:xfrm>
              <a:off x="4941465" y="2972650"/>
              <a:ext cx="535501" cy="504901"/>
            </a:xfrm>
            <a:custGeom>
              <a:avLst/>
              <a:gdLst>
                <a:gd name="connsiteX0" fmla="*/ 535501 w 535501"/>
                <a:gd name="connsiteY0" fmla="*/ 59288 h 504901"/>
                <a:gd name="connsiteX1" fmla="*/ 466013 w 535501"/>
                <a:gd name="connsiteY1" fmla="*/ 70125 h 504901"/>
                <a:gd name="connsiteX2" fmla="*/ 494701 w 535501"/>
                <a:gd name="connsiteY2" fmla="*/ 24863 h 504901"/>
                <a:gd name="connsiteX3" fmla="*/ 482589 w 535501"/>
                <a:gd name="connsiteY3" fmla="*/ 0 h 504901"/>
                <a:gd name="connsiteX4" fmla="*/ 237788 w 535501"/>
                <a:gd name="connsiteY4" fmla="*/ 23588 h 504901"/>
                <a:gd name="connsiteX5" fmla="*/ 30600 w 535501"/>
                <a:gd name="connsiteY5" fmla="*/ 40163 h 504901"/>
                <a:gd name="connsiteX6" fmla="*/ 0 w 535501"/>
                <a:gd name="connsiteY6" fmla="*/ 42075 h 504901"/>
                <a:gd name="connsiteX7" fmla="*/ 3825 w 535501"/>
                <a:gd name="connsiteY7" fmla="*/ 59925 h 504901"/>
                <a:gd name="connsiteX8" fmla="*/ 28688 w 535501"/>
                <a:gd name="connsiteY8" fmla="*/ 189338 h 504901"/>
                <a:gd name="connsiteX9" fmla="*/ 29325 w 535501"/>
                <a:gd name="connsiteY9" fmla="*/ 218663 h 504901"/>
                <a:gd name="connsiteX10" fmla="*/ 36338 w 535501"/>
                <a:gd name="connsiteY10" fmla="*/ 393338 h 504901"/>
                <a:gd name="connsiteX11" fmla="*/ 36975 w 535501"/>
                <a:gd name="connsiteY11" fmla="*/ 422664 h 504901"/>
                <a:gd name="connsiteX12" fmla="*/ 38887 w 535501"/>
                <a:gd name="connsiteY12" fmla="*/ 423301 h 504901"/>
                <a:gd name="connsiteX13" fmla="*/ 49088 w 535501"/>
                <a:gd name="connsiteY13" fmla="*/ 434139 h 504901"/>
                <a:gd name="connsiteX14" fmla="*/ 87338 w 535501"/>
                <a:gd name="connsiteY14" fmla="*/ 432864 h 504901"/>
                <a:gd name="connsiteX15" fmla="*/ 91163 w 535501"/>
                <a:gd name="connsiteY15" fmla="*/ 488964 h 504901"/>
                <a:gd name="connsiteX16" fmla="*/ 92438 w 535501"/>
                <a:gd name="connsiteY16" fmla="*/ 504901 h 504901"/>
                <a:gd name="connsiteX17" fmla="*/ 112200 w 535501"/>
                <a:gd name="connsiteY17" fmla="*/ 502989 h 504901"/>
                <a:gd name="connsiteX18" fmla="*/ 172763 w 535501"/>
                <a:gd name="connsiteY18" fmla="*/ 498526 h 504901"/>
                <a:gd name="connsiteX19" fmla="*/ 415013 w 535501"/>
                <a:gd name="connsiteY19" fmla="*/ 476214 h 504901"/>
                <a:gd name="connsiteX20" fmla="*/ 416288 w 535501"/>
                <a:gd name="connsiteY20" fmla="*/ 476214 h 504901"/>
                <a:gd name="connsiteX21" fmla="*/ 415651 w 535501"/>
                <a:gd name="connsiteY21" fmla="*/ 462188 h 504901"/>
                <a:gd name="connsiteX22" fmla="*/ 422026 w 535501"/>
                <a:gd name="connsiteY22" fmla="*/ 457726 h 504901"/>
                <a:gd name="connsiteX23" fmla="*/ 410551 w 535501"/>
                <a:gd name="connsiteY23" fmla="*/ 436051 h 504901"/>
                <a:gd name="connsiteX24" fmla="*/ 434776 w 535501"/>
                <a:gd name="connsiteY24" fmla="*/ 333413 h 504901"/>
                <a:gd name="connsiteX25" fmla="*/ 424576 w 535501"/>
                <a:gd name="connsiteY25" fmla="*/ 321938 h 504901"/>
                <a:gd name="connsiteX26" fmla="*/ 460913 w 535501"/>
                <a:gd name="connsiteY26" fmla="*/ 281776 h 504901"/>
                <a:gd name="connsiteX27" fmla="*/ 458363 w 535501"/>
                <a:gd name="connsiteY27" fmla="*/ 247351 h 504901"/>
                <a:gd name="connsiteX28" fmla="*/ 485776 w 535501"/>
                <a:gd name="connsiteY28" fmla="*/ 202088 h 504901"/>
                <a:gd name="connsiteX29" fmla="*/ 485776 w 535501"/>
                <a:gd name="connsiteY29" fmla="*/ 201451 h 504901"/>
                <a:gd name="connsiteX30" fmla="*/ 484501 w 535501"/>
                <a:gd name="connsiteY30" fmla="*/ 200176 h 504901"/>
                <a:gd name="connsiteX31" fmla="*/ 507451 w 535501"/>
                <a:gd name="connsiteY31" fmla="*/ 179138 h 504901"/>
                <a:gd name="connsiteX32" fmla="*/ 501076 w 535501"/>
                <a:gd name="connsiteY32" fmla="*/ 153638 h 504901"/>
                <a:gd name="connsiteX33" fmla="*/ 518926 w 535501"/>
                <a:gd name="connsiteY33" fmla="*/ 124950 h 504901"/>
                <a:gd name="connsiteX34" fmla="*/ 515101 w 535501"/>
                <a:gd name="connsiteY34" fmla="*/ 98175 h 504901"/>
                <a:gd name="connsiteX35" fmla="*/ 535501 w 535501"/>
                <a:gd name="connsiteY35" fmla="*/ 59288 h 504901"/>
                <a:gd name="connsiteX36" fmla="*/ 535501 w 535501"/>
                <a:gd name="connsiteY36" fmla="*/ 59288 h 504901"/>
                <a:gd name="connsiteX37" fmla="*/ 535501 w 535501"/>
                <a:gd name="connsiteY37" fmla="*/ 59288 h 504901"/>
                <a:gd name="connsiteX38" fmla="*/ 535501 w 535501"/>
                <a:gd name="connsiteY38" fmla="*/ 59288 h 5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5501" h="504901">
                  <a:moveTo>
                    <a:pt x="535501" y="59288"/>
                  </a:moveTo>
                  <a:lnTo>
                    <a:pt x="466013" y="70125"/>
                  </a:lnTo>
                  <a:lnTo>
                    <a:pt x="494701" y="24863"/>
                  </a:lnTo>
                  <a:lnTo>
                    <a:pt x="482589" y="0"/>
                  </a:lnTo>
                  <a:lnTo>
                    <a:pt x="237788" y="23588"/>
                  </a:lnTo>
                  <a:lnTo>
                    <a:pt x="30600" y="40163"/>
                  </a:lnTo>
                  <a:lnTo>
                    <a:pt x="0" y="42075"/>
                  </a:lnTo>
                  <a:lnTo>
                    <a:pt x="3825" y="59925"/>
                  </a:lnTo>
                  <a:lnTo>
                    <a:pt x="28688" y="189338"/>
                  </a:lnTo>
                  <a:lnTo>
                    <a:pt x="29325" y="218663"/>
                  </a:lnTo>
                  <a:lnTo>
                    <a:pt x="36338" y="393338"/>
                  </a:lnTo>
                  <a:lnTo>
                    <a:pt x="36975" y="422664"/>
                  </a:lnTo>
                  <a:lnTo>
                    <a:pt x="38887" y="423301"/>
                  </a:lnTo>
                  <a:lnTo>
                    <a:pt x="49088" y="434139"/>
                  </a:lnTo>
                  <a:lnTo>
                    <a:pt x="87338" y="432864"/>
                  </a:lnTo>
                  <a:lnTo>
                    <a:pt x="91163" y="488964"/>
                  </a:lnTo>
                  <a:lnTo>
                    <a:pt x="92438" y="504901"/>
                  </a:lnTo>
                  <a:lnTo>
                    <a:pt x="112200" y="502989"/>
                  </a:lnTo>
                  <a:lnTo>
                    <a:pt x="172763" y="498526"/>
                  </a:lnTo>
                  <a:lnTo>
                    <a:pt x="415013" y="476214"/>
                  </a:lnTo>
                  <a:lnTo>
                    <a:pt x="416288" y="476214"/>
                  </a:lnTo>
                  <a:lnTo>
                    <a:pt x="415651" y="462188"/>
                  </a:lnTo>
                  <a:lnTo>
                    <a:pt x="422026" y="457726"/>
                  </a:lnTo>
                  <a:lnTo>
                    <a:pt x="410551" y="436051"/>
                  </a:lnTo>
                  <a:lnTo>
                    <a:pt x="434776" y="333413"/>
                  </a:lnTo>
                  <a:lnTo>
                    <a:pt x="424576" y="321938"/>
                  </a:lnTo>
                  <a:lnTo>
                    <a:pt x="460913" y="281776"/>
                  </a:lnTo>
                  <a:lnTo>
                    <a:pt x="458363" y="247351"/>
                  </a:lnTo>
                  <a:lnTo>
                    <a:pt x="485776" y="202088"/>
                  </a:lnTo>
                  <a:lnTo>
                    <a:pt x="485776" y="201451"/>
                  </a:lnTo>
                  <a:lnTo>
                    <a:pt x="484501" y="200176"/>
                  </a:lnTo>
                  <a:lnTo>
                    <a:pt x="507451" y="179138"/>
                  </a:lnTo>
                  <a:lnTo>
                    <a:pt x="501076" y="153638"/>
                  </a:lnTo>
                  <a:lnTo>
                    <a:pt x="518926" y="124950"/>
                  </a:lnTo>
                  <a:lnTo>
                    <a:pt x="515101" y="98175"/>
                  </a:lnTo>
                  <a:lnTo>
                    <a:pt x="535501" y="59288"/>
                  </a:lnTo>
                  <a:lnTo>
                    <a:pt x="535501" y="59288"/>
                  </a:lnTo>
                  <a:lnTo>
                    <a:pt x="535501" y="59288"/>
                  </a:lnTo>
                  <a:lnTo>
                    <a:pt x="535501" y="59288"/>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5" name="Freeform 34">
              <a:extLst>
                <a:ext uri="{FF2B5EF4-FFF2-40B4-BE49-F238E27FC236}">
                  <a16:creationId xmlns:a16="http://schemas.microsoft.com/office/drawing/2014/main" id="{5962AFD4-3F05-FF07-9E65-E2635E108283}"/>
                </a:ext>
              </a:extLst>
            </p:cNvPr>
            <p:cNvSpPr/>
            <p:nvPr/>
          </p:nvSpPr>
          <p:spPr>
            <a:xfrm>
              <a:off x="4690927" y="2046998"/>
              <a:ext cx="650888" cy="423938"/>
            </a:xfrm>
            <a:custGeom>
              <a:avLst/>
              <a:gdLst>
                <a:gd name="connsiteX0" fmla="*/ 594151 w 650888"/>
                <a:gd name="connsiteY0" fmla="*/ 122400 h 423938"/>
                <a:gd name="connsiteX1" fmla="*/ 559088 w 650888"/>
                <a:gd name="connsiteY1" fmla="*/ 103913 h 423938"/>
                <a:gd name="connsiteX2" fmla="*/ 539963 w 650888"/>
                <a:gd name="connsiteY2" fmla="*/ 77138 h 423938"/>
                <a:gd name="connsiteX3" fmla="*/ 533588 w 650888"/>
                <a:gd name="connsiteY3" fmla="*/ 39525 h 423938"/>
                <a:gd name="connsiteX4" fmla="*/ 538689 w 650888"/>
                <a:gd name="connsiteY4" fmla="*/ 22313 h 423938"/>
                <a:gd name="connsiteX5" fmla="*/ 520201 w 650888"/>
                <a:gd name="connsiteY5" fmla="*/ 0 h 423938"/>
                <a:gd name="connsiteX6" fmla="*/ 520201 w 650888"/>
                <a:gd name="connsiteY6" fmla="*/ 0 h 423938"/>
                <a:gd name="connsiteX7" fmla="*/ 488326 w 650888"/>
                <a:gd name="connsiteY7" fmla="*/ 3188 h 423938"/>
                <a:gd name="connsiteX8" fmla="*/ 172125 w 650888"/>
                <a:gd name="connsiteY8" fmla="*/ 29963 h 423938"/>
                <a:gd name="connsiteX9" fmla="*/ 45900 w 650888"/>
                <a:gd name="connsiteY9" fmla="*/ 36975 h 423938"/>
                <a:gd name="connsiteX10" fmla="*/ 13387 w 650888"/>
                <a:gd name="connsiteY10" fmla="*/ 38888 h 423938"/>
                <a:gd name="connsiteX11" fmla="*/ 0 w 650888"/>
                <a:gd name="connsiteY11" fmla="*/ 39525 h 423938"/>
                <a:gd name="connsiteX12" fmla="*/ 11475 w 650888"/>
                <a:gd name="connsiteY12" fmla="*/ 110925 h 423938"/>
                <a:gd name="connsiteX13" fmla="*/ 1912 w 650888"/>
                <a:gd name="connsiteY13" fmla="*/ 144075 h 423938"/>
                <a:gd name="connsiteX14" fmla="*/ 15938 w 650888"/>
                <a:gd name="connsiteY14" fmla="*/ 165113 h 423938"/>
                <a:gd name="connsiteX15" fmla="*/ 15938 w 650888"/>
                <a:gd name="connsiteY15" fmla="*/ 169575 h 423938"/>
                <a:gd name="connsiteX16" fmla="*/ 20400 w 650888"/>
                <a:gd name="connsiteY16" fmla="*/ 170213 h 423938"/>
                <a:gd name="connsiteX17" fmla="*/ 40800 w 650888"/>
                <a:gd name="connsiteY17" fmla="*/ 230138 h 423938"/>
                <a:gd name="connsiteX18" fmla="*/ 60563 w 650888"/>
                <a:gd name="connsiteY18" fmla="*/ 262013 h 423938"/>
                <a:gd name="connsiteX19" fmla="*/ 61837 w 650888"/>
                <a:gd name="connsiteY19" fmla="*/ 297713 h 423938"/>
                <a:gd name="connsiteX20" fmla="*/ 83513 w 650888"/>
                <a:gd name="connsiteY20" fmla="*/ 328313 h 423938"/>
                <a:gd name="connsiteX21" fmla="*/ 79688 w 650888"/>
                <a:gd name="connsiteY21" fmla="*/ 341063 h 423938"/>
                <a:gd name="connsiteX22" fmla="*/ 99450 w 650888"/>
                <a:gd name="connsiteY22" fmla="*/ 422026 h 423938"/>
                <a:gd name="connsiteX23" fmla="*/ 99450 w 650888"/>
                <a:gd name="connsiteY23" fmla="*/ 423938 h 423938"/>
                <a:gd name="connsiteX24" fmla="*/ 99450 w 650888"/>
                <a:gd name="connsiteY24" fmla="*/ 423938 h 423938"/>
                <a:gd name="connsiteX25" fmla="*/ 231413 w 650888"/>
                <a:gd name="connsiteY25" fmla="*/ 420113 h 423938"/>
                <a:gd name="connsiteX26" fmla="*/ 372301 w 650888"/>
                <a:gd name="connsiteY26" fmla="*/ 408001 h 423938"/>
                <a:gd name="connsiteX27" fmla="*/ 510638 w 650888"/>
                <a:gd name="connsiteY27" fmla="*/ 390788 h 423938"/>
                <a:gd name="connsiteX28" fmla="*/ 542513 w 650888"/>
                <a:gd name="connsiteY28" fmla="*/ 418838 h 423938"/>
                <a:gd name="connsiteX29" fmla="*/ 543789 w 650888"/>
                <a:gd name="connsiteY29" fmla="*/ 420113 h 423938"/>
                <a:gd name="connsiteX30" fmla="*/ 549526 w 650888"/>
                <a:gd name="connsiteY30" fmla="*/ 417563 h 423938"/>
                <a:gd name="connsiteX31" fmla="*/ 545064 w 650888"/>
                <a:gd name="connsiteY31" fmla="*/ 392701 h 423938"/>
                <a:gd name="connsiteX32" fmla="*/ 568651 w 650888"/>
                <a:gd name="connsiteY32" fmla="*/ 378038 h 423938"/>
                <a:gd name="connsiteX33" fmla="*/ 578851 w 650888"/>
                <a:gd name="connsiteY33" fmla="*/ 312376 h 423938"/>
                <a:gd name="connsiteX34" fmla="*/ 568651 w 650888"/>
                <a:gd name="connsiteY34" fmla="*/ 307913 h 423938"/>
                <a:gd name="connsiteX35" fmla="*/ 574389 w 650888"/>
                <a:gd name="connsiteY35" fmla="*/ 274763 h 423938"/>
                <a:gd name="connsiteX36" fmla="*/ 603713 w 650888"/>
                <a:gd name="connsiteY36" fmla="*/ 269026 h 423938"/>
                <a:gd name="connsiteX37" fmla="*/ 636226 w 650888"/>
                <a:gd name="connsiteY37" fmla="*/ 246076 h 423938"/>
                <a:gd name="connsiteX38" fmla="*/ 650251 w 650888"/>
                <a:gd name="connsiteY38" fmla="*/ 205913 h 423938"/>
                <a:gd name="connsiteX39" fmla="*/ 650889 w 650888"/>
                <a:gd name="connsiteY39" fmla="*/ 185513 h 423938"/>
                <a:gd name="connsiteX40" fmla="*/ 625389 w 650888"/>
                <a:gd name="connsiteY40" fmla="*/ 161288 h 423938"/>
                <a:gd name="connsiteX41" fmla="*/ 617739 w 650888"/>
                <a:gd name="connsiteY41" fmla="*/ 145988 h 423938"/>
                <a:gd name="connsiteX42" fmla="*/ 593514 w 650888"/>
                <a:gd name="connsiteY42" fmla="*/ 130688 h 423938"/>
                <a:gd name="connsiteX43" fmla="*/ 594789 w 650888"/>
                <a:gd name="connsiteY43" fmla="*/ 127500 h 423938"/>
                <a:gd name="connsiteX44" fmla="*/ 594789 w 650888"/>
                <a:gd name="connsiteY44" fmla="*/ 122400 h 423938"/>
                <a:gd name="connsiteX45" fmla="*/ 594151 w 650888"/>
                <a:gd name="connsiteY45" fmla="*/ 122400 h 4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50888" h="423938">
                  <a:moveTo>
                    <a:pt x="594151" y="122400"/>
                  </a:moveTo>
                  <a:lnTo>
                    <a:pt x="559088" y="103913"/>
                  </a:lnTo>
                  <a:lnTo>
                    <a:pt x="539963" y="77138"/>
                  </a:lnTo>
                  <a:lnTo>
                    <a:pt x="533588" y="39525"/>
                  </a:lnTo>
                  <a:lnTo>
                    <a:pt x="538689" y="22313"/>
                  </a:lnTo>
                  <a:lnTo>
                    <a:pt x="520201" y="0"/>
                  </a:lnTo>
                  <a:lnTo>
                    <a:pt x="520201" y="0"/>
                  </a:lnTo>
                  <a:lnTo>
                    <a:pt x="488326" y="3188"/>
                  </a:lnTo>
                  <a:lnTo>
                    <a:pt x="172125" y="29963"/>
                  </a:lnTo>
                  <a:lnTo>
                    <a:pt x="45900" y="36975"/>
                  </a:lnTo>
                  <a:lnTo>
                    <a:pt x="13387" y="38888"/>
                  </a:lnTo>
                  <a:lnTo>
                    <a:pt x="0" y="39525"/>
                  </a:lnTo>
                  <a:lnTo>
                    <a:pt x="11475" y="110925"/>
                  </a:lnTo>
                  <a:lnTo>
                    <a:pt x="1912" y="144075"/>
                  </a:lnTo>
                  <a:lnTo>
                    <a:pt x="15938" y="165113"/>
                  </a:lnTo>
                  <a:lnTo>
                    <a:pt x="15938" y="169575"/>
                  </a:lnTo>
                  <a:lnTo>
                    <a:pt x="20400" y="170213"/>
                  </a:lnTo>
                  <a:lnTo>
                    <a:pt x="40800" y="230138"/>
                  </a:lnTo>
                  <a:lnTo>
                    <a:pt x="60563" y="262013"/>
                  </a:lnTo>
                  <a:lnTo>
                    <a:pt x="61837" y="297713"/>
                  </a:lnTo>
                  <a:lnTo>
                    <a:pt x="83513" y="328313"/>
                  </a:lnTo>
                  <a:lnTo>
                    <a:pt x="79688" y="341063"/>
                  </a:lnTo>
                  <a:lnTo>
                    <a:pt x="99450" y="422026"/>
                  </a:lnTo>
                  <a:lnTo>
                    <a:pt x="99450" y="423938"/>
                  </a:lnTo>
                  <a:lnTo>
                    <a:pt x="99450" y="423938"/>
                  </a:lnTo>
                  <a:lnTo>
                    <a:pt x="231413" y="420113"/>
                  </a:lnTo>
                  <a:lnTo>
                    <a:pt x="372301" y="408001"/>
                  </a:lnTo>
                  <a:lnTo>
                    <a:pt x="510638" y="390788"/>
                  </a:lnTo>
                  <a:lnTo>
                    <a:pt x="542513" y="418838"/>
                  </a:lnTo>
                  <a:lnTo>
                    <a:pt x="543789" y="420113"/>
                  </a:lnTo>
                  <a:lnTo>
                    <a:pt x="549526" y="417563"/>
                  </a:lnTo>
                  <a:lnTo>
                    <a:pt x="545064" y="392701"/>
                  </a:lnTo>
                  <a:lnTo>
                    <a:pt x="568651" y="378038"/>
                  </a:lnTo>
                  <a:lnTo>
                    <a:pt x="578851" y="312376"/>
                  </a:lnTo>
                  <a:lnTo>
                    <a:pt x="568651" y="307913"/>
                  </a:lnTo>
                  <a:lnTo>
                    <a:pt x="574389" y="274763"/>
                  </a:lnTo>
                  <a:lnTo>
                    <a:pt x="603713" y="269026"/>
                  </a:lnTo>
                  <a:lnTo>
                    <a:pt x="636226" y="246076"/>
                  </a:lnTo>
                  <a:lnTo>
                    <a:pt x="650251" y="205913"/>
                  </a:lnTo>
                  <a:lnTo>
                    <a:pt x="650889" y="185513"/>
                  </a:lnTo>
                  <a:lnTo>
                    <a:pt x="625389" y="161288"/>
                  </a:lnTo>
                  <a:lnTo>
                    <a:pt x="617739" y="145988"/>
                  </a:lnTo>
                  <a:lnTo>
                    <a:pt x="593514" y="130688"/>
                  </a:lnTo>
                  <a:lnTo>
                    <a:pt x="594789" y="127500"/>
                  </a:lnTo>
                  <a:lnTo>
                    <a:pt x="594789" y="122400"/>
                  </a:lnTo>
                  <a:lnTo>
                    <a:pt x="594151" y="1224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36" name="Freeform 35">
              <a:extLst>
                <a:ext uri="{FF2B5EF4-FFF2-40B4-BE49-F238E27FC236}">
                  <a16:creationId xmlns:a16="http://schemas.microsoft.com/office/drawing/2014/main" id="{36DD72DD-A41C-94B2-0F4E-EAC530367155}"/>
                </a:ext>
              </a:extLst>
            </p:cNvPr>
            <p:cNvSpPr/>
            <p:nvPr/>
          </p:nvSpPr>
          <p:spPr>
            <a:xfrm>
              <a:off x="4139488" y="2548711"/>
              <a:ext cx="798789" cy="416288"/>
            </a:xfrm>
            <a:custGeom>
              <a:avLst/>
              <a:gdLst>
                <a:gd name="connsiteX0" fmla="*/ 797514 w 798789"/>
                <a:gd name="connsiteY0" fmla="*/ 381863 h 416288"/>
                <a:gd name="connsiteX1" fmla="*/ 781577 w 798789"/>
                <a:gd name="connsiteY1" fmla="*/ 109650 h 416288"/>
                <a:gd name="connsiteX2" fmla="*/ 752252 w 798789"/>
                <a:gd name="connsiteY2" fmla="*/ 93075 h 416288"/>
                <a:gd name="connsiteX3" fmla="*/ 749702 w 798789"/>
                <a:gd name="connsiteY3" fmla="*/ 80325 h 416288"/>
                <a:gd name="connsiteX4" fmla="*/ 726752 w 798789"/>
                <a:gd name="connsiteY4" fmla="*/ 59925 h 416288"/>
                <a:gd name="connsiteX5" fmla="*/ 749064 w 798789"/>
                <a:gd name="connsiteY5" fmla="*/ 31875 h 416288"/>
                <a:gd name="connsiteX6" fmla="*/ 739502 w 798789"/>
                <a:gd name="connsiteY6" fmla="*/ 15938 h 416288"/>
                <a:gd name="connsiteX7" fmla="*/ 722926 w 798789"/>
                <a:gd name="connsiteY7" fmla="*/ 16575 h 416288"/>
                <a:gd name="connsiteX8" fmla="*/ 707627 w 798789"/>
                <a:gd name="connsiteY8" fmla="*/ 5100 h 416288"/>
                <a:gd name="connsiteX9" fmla="*/ 701252 w 798789"/>
                <a:gd name="connsiteY9" fmla="*/ 0 h 416288"/>
                <a:gd name="connsiteX10" fmla="*/ 679576 w 798789"/>
                <a:gd name="connsiteY10" fmla="*/ 1275 h 416288"/>
                <a:gd name="connsiteX11" fmla="*/ 442426 w 798789"/>
                <a:gd name="connsiteY11" fmla="*/ 10837 h 416288"/>
                <a:gd name="connsiteX12" fmla="*/ 334051 w 798789"/>
                <a:gd name="connsiteY12" fmla="*/ 13388 h 416288"/>
                <a:gd name="connsiteX13" fmla="*/ 118575 w 798789"/>
                <a:gd name="connsiteY13" fmla="*/ 13388 h 416288"/>
                <a:gd name="connsiteX14" fmla="*/ 31875 w 798789"/>
                <a:gd name="connsiteY14" fmla="*/ 12112 h 416288"/>
                <a:gd name="connsiteX15" fmla="*/ 7650 w 798789"/>
                <a:gd name="connsiteY15" fmla="*/ 11475 h 416288"/>
                <a:gd name="connsiteX16" fmla="*/ 7650 w 798789"/>
                <a:gd name="connsiteY16" fmla="*/ 23587 h 416288"/>
                <a:gd name="connsiteX17" fmla="*/ 7013 w 798789"/>
                <a:gd name="connsiteY17" fmla="*/ 61200 h 416288"/>
                <a:gd name="connsiteX18" fmla="*/ 0 w 798789"/>
                <a:gd name="connsiteY18" fmla="*/ 400988 h 416288"/>
                <a:gd name="connsiteX19" fmla="*/ 0 w 798789"/>
                <a:gd name="connsiteY19" fmla="*/ 413738 h 416288"/>
                <a:gd name="connsiteX20" fmla="*/ 28050 w 798789"/>
                <a:gd name="connsiteY20" fmla="*/ 414376 h 416288"/>
                <a:gd name="connsiteX21" fmla="*/ 177225 w 798789"/>
                <a:gd name="connsiteY21" fmla="*/ 416288 h 416288"/>
                <a:gd name="connsiteX22" fmla="*/ 525939 w 798789"/>
                <a:gd name="connsiteY22" fmla="*/ 411188 h 416288"/>
                <a:gd name="connsiteX23" fmla="*/ 774564 w 798789"/>
                <a:gd name="connsiteY23" fmla="*/ 399713 h 416288"/>
                <a:gd name="connsiteX24" fmla="*/ 798789 w 798789"/>
                <a:gd name="connsiteY24" fmla="*/ 397801 h 416288"/>
                <a:gd name="connsiteX25" fmla="*/ 797514 w 798789"/>
                <a:gd name="connsiteY25" fmla="*/ 381863 h 416288"/>
                <a:gd name="connsiteX26" fmla="*/ 797514 w 798789"/>
                <a:gd name="connsiteY26" fmla="*/ 381863 h 41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8789" h="416288">
                  <a:moveTo>
                    <a:pt x="797514" y="381863"/>
                  </a:moveTo>
                  <a:lnTo>
                    <a:pt x="781577" y="109650"/>
                  </a:lnTo>
                  <a:lnTo>
                    <a:pt x="752252" y="93075"/>
                  </a:lnTo>
                  <a:lnTo>
                    <a:pt x="749702" y="80325"/>
                  </a:lnTo>
                  <a:lnTo>
                    <a:pt x="726752" y="59925"/>
                  </a:lnTo>
                  <a:lnTo>
                    <a:pt x="749064" y="31875"/>
                  </a:lnTo>
                  <a:lnTo>
                    <a:pt x="739502" y="15938"/>
                  </a:lnTo>
                  <a:lnTo>
                    <a:pt x="722926" y="16575"/>
                  </a:lnTo>
                  <a:lnTo>
                    <a:pt x="707627" y="5100"/>
                  </a:lnTo>
                  <a:lnTo>
                    <a:pt x="701252" y="0"/>
                  </a:lnTo>
                  <a:lnTo>
                    <a:pt x="679576" y="1275"/>
                  </a:lnTo>
                  <a:lnTo>
                    <a:pt x="442426" y="10837"/>
                  </a:lnTo>
                  <a:lnTo>
                    <a:pt x="334051" y="13388"/>
                  </a:lnTo>
                  <a:lnTo>
                    <a:pt x="118575" y="13388"/>
                  </a:lnTo>
                  <a:lnTo>
                    <a:pt x="31875" y="12112"/>
                  </a:lnTo>
                  <a:lnTo>
                    <a:pt x="7650" y="11475"/>
                  </a:lnTo>
                  <a:lnTo>
                    <a:pt x="7650" y="23587"/>
                  </a:lnTo>
                  <a:lnTo>
                    <a:pt x="7013" y="61200"/>
                  </a:lnTo>
                  <a:lnTo>
                    <a:pt x="0" y="400988"/>
                  </a:lnTo>
                  <a:lnTo>
                    <a:pt x="0" y="413738"/>
                  </a:lnTo>
                  <a:lnTo>
                    <a:pt x="28050" y="414376"/>
                  </a:lnTo>
                  <a:lnTo>
                    <a:pt x="177225" y="416288"/>
                  </a:lnTo>
                  <a:lnTo>
                    <a:pt x="525939" y="411188"/>
                  </a:lnTo>
                  <a:lnTo>
                    <a:pt x="774564" y="399713"/>
                  </a:lnTo>
                  <a:lnTo>
                    <a:pt x="798789" y="397801"/>
                  </a:lnTo>
                  <a:lnTo>
                    <a:pt x="797514" y="381863"/>
                  </a:lnTo>
                  <a:lnTo>
                    <a:pt x="797514" y="3818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7" name="Freeform 36">
              <a:extLst>
                <a:ext uri="{FF2B5EF4-FFF2-40B4-BE49-F238E27FC236}">
                  <a16:creationId xmlns:a16="http://schemas.microsoft.com/office/drawing/2014/main" id="{2A8AA0AD-F583-7DA7-0E77-2C16710C669B}"/>
                </a:ext>
              </a:extLst>
            </p:cNvPr>
            <p:cNvSpPr/>
            <p:nvPr/>
          </p:nvSpPr>
          <p:spPr>
            <a:xfrm>
              <a:off x="4789740" y="2437149"/>
              <a:ext cx="736951" cy="606263"/>
            </a:xfrm>
            <a:custGeom>
              <a:avLst/>
              <a:gdLst>
                <a:gd name="connsiteX0" fmla="*/ 443701 w 736951"/>
                <a:gd name="connsiteY0" fmla="*/ 28050 h 606263"/>
                <a:gd name="connsiteX1" fmla="*/ 411826 w 736951"/>
                <a:gd name="connsiteY1" fmla="*/ 0 h 606263"/>
                <a:gd name="connsiteX2" fmla="*/ 273488 w 736951"/>
                <a:gd name="connsiteY2" fmla="*/ 17212 h 606263"/>
                <a:gd name="connsiteX3" fmla="*/ 132600 w 736951"/>
                <a:gd name="connsiteY3" fmla="*/ 29325 h 606263"/>
                <a:gd name="connsiteX4" fmla="*/ 637 w 736951"/>
                <a:gd name="connsiteY4" fmla="*/ 33150 h 606263"/>
                <a:gd name="connsiteX5" fmla="*/ 637 w 736951"/>
                <a:gd name="connsiteY5" fmla="*/ 33150 h 606263"/>
                <a:gd name="connsiteX6" fmla="*/ 0 w 736951"/>
                <a:gd name="connsiteY6" fmla="*/ 36975 h 606263"/>
                <a:gd name="connsiteX7" fmla="*/ 15938 w 736951"/>
                <a:gd name="connsiteY7" fmla="*/ 68213 h 606263"/>
                <a:gd name="connsiteX8" fmla="*/ 30600 w 736951"/>
                <a:gd name="connsiteY8" fmla="*/ 79050 h 606263"/>
                <a:gd name="connsiteX9" fmla="*/ 47813 w 736951"/>
                <a:gd name="connsiteY9" fmla="*/ 110288 h 606263"/>
                <a:gd name="connsiteX10" fmla="*/ 50362 w 736951"/>
                <a:gd name="connsiteY10" fmla="*/ 112838 h 606263"/>
                <a:gd name="connsiteX11" fmla="*/ 56737 w 736951"/>
                <a:gd name="connsiteY11" fmla="*/ 117938 h 606263"/>
                <a:gd name="connsiteX12" fmla="*/ 72038 w 736951"/>
                <a:gd name="connsiteY12" fmla="*/ 129413 h 606263"/>
                <a:gd name="connsiteX13" fmla="*/ 88612 w 736951"/>
                <a:gd name="connsiteY13" fmla="*/ 128775 h 606263"/>
                <a:gd name="connsiteX14" fmla="*/ 98175 w 736951"/>
                <a:gd name="connsiteY14" fmla="*/ 144713 h 606263"/>
                <a:gd name="connsiteX15" fmla="*/ 75862 w 736951"/>
                <a:gd name="connsiteY15" fmla="*/ 172763 h 606263"/>
                <a:gd name="connsiteX16" fmla="*/ 98813 w 736951"/>
                <a:gd name="connsiteY16" fmla="*/ 193163 h 606263"/>
                <a:gd name="connsiteX17" fmla="*/ 101362 w 736951"/>
                <a:gd name="connsiteY17" fmla="*/ 205913 h 606263"/>
                <a:gd name="connsiteX18" fmla="*/ 130688 w 736951"/>
                <a:gd name="connsiteY18" fmla="*/ 222488 h 606263"/>
                <a:gd name="connsiteX19" fmla="*/ 146625 w 736951"/>
                <a:gd name="connsiteY19" fmla="*/ 494701 h 606263"/>
                <a:gd name="connsiteX20" fmla="*/ 147263 w 736951"/>
                <a:gd name="connsiteY20" fmla="*/ 511276 h 606263"/>
                <a:gd name="connsiteX21" fmla="*/ 148538 w 736951"/>
                <a:gd name="connsiteY21" fmla="*/ 527851 h 606263"/>
                <a:gd name="connsiteX22" fmla="*/ 149175 w 736951"/>
                <a:gd name="connsiteY22" fmla="*/ 544426 h 606263"/>
                <a:gd name="connsiteX23" fmla="*/ 150450 w 736951"/>
                <a:gd name="connsiteY23" fmla="*/ 561639 h 606263"/>
                <a:gd name="connsiteX24" fmla="*/ 151087 w 736951"/>
                <a:gd name="connsiteY24" fmla="*/ 578214 h 606263"/>
                <a:gd name="connsiteX25" fmla="*/ 181688 w 736951"/>
                <a:gd name="connsiteY25" fmla="*/ 576301 h 606263"/>
                <a:gd name="connsiteX26" fmla="*/ 388876 w 736951"/>
                <a:gd name="connsiteY26" fmla="*/ 559726 h 606263"/>
                <a:gd name="connsiteX27" fmla="*/ 633676 w 736951"/>
                <a:gd name="connsiteY27" fmla="*/ 536139 h 606263"/>
                <a:gd name="connsiteX28" fmla="*/ 645789 w 736951"/>
                <a:gd name="connsiteY28" fmla="*/ 561001 h 606263"/>
                <a:gd name="connsiteX29" fmla="*/ 617101 w 736951"/>
                <a:gd name="connsiteY29" fmla="*/ 606264 h 606263"/>
                <a:gd name="connsiteX30" fmla="*/ 686589 w 736951"/>
                <a:gd name="connsiteY30" fmla="*/ 595426 h 606263"/>
                <a:gd name="connsiteX31" fmla="*/ 687226 w 736951"/>
                <a:gd name="connsiteY31" fmla="*/ 595426 h 606263"/>
                <a:gd name="connsiteX32" fmla="*/ 687226 w 736951"/>
                <a:gd name="connsiteY32" fmla="*/ 590326 h 606263"/>
                <a:gd name="connsiteX33" fmla="*/ 688501 w 736951"/>
                <a:gd name="connsiteY33" fmla="*/ 560364 h 606263"/>
                <a:gd name="connsiteX34" fmla="*/ 701251 w 736951"/>
                <a:gd name="connsiteY34" fmla="*/ 544426 h 606263"/>
                <a:gd name="connsiteX35" fmla="*/ 697426 w 736951"/>
                <a:gd name="connsiteY35" fmla="*/ 526576 h 606263"/>
                <a:gd name="connsiteX36" fmla="*/ 696789 w 736951"/>
                <a:gd name="connsiteY36" fmla="*/ 525938 h 606263"/>
                <a:gd name="connsiteX37" fmla="*/ 696151 w 736951"/>
                <a:gd name="connsiteY37" fmla="*/ 525301 h 606263"/>
                <a:gd name="connsiteX38" fmla="*/ 698701 w 736951"/>
                <a:gd name="connsiteY38" fmla="*/ 517014 h 606263"/>
                <a:gd name="connsiteX39" fmla="*/ 702526 w 736951"/>
                <a:gd name="connsiteY39" fmla="*/ 518289 h 606263"/>
                <a:gd name="connsiteX40" fmla="*/ 704439 w 736951"/>
                <a:gd name="connsiteY40" fmla="*/ 523389 h 606263"/>
                <a:gd name="connsiteX41" fmla="*/ 703801 w 736951"/>
                <a:gd name="connsiteY41" fmla="*/ 525301 h 606263"/>
                <a:gd name="connsiteX42" fmla="*/ 703801 w 736951"/>
                <a:gd name="connsiteY42" fmla="*/ 525938 h 606263"/>
                <a:gd name="connsiteX43" fmla="*/ 703801 w 736951"/>
                <a:gd name="connsiteY43" fmla="*/ 531039 h 606263"/>
                <a:gd name="connsiteX44" fmla="*/ 706351 w 736951"/>
                <a:gd name="connsiteY44" fmla="*/ 531676 h 606263"/>
                <a:gd name="connsiteX45" fmla="*/ 711451 w 736951"/>
                <a:gd name="connsiteY45" fmla="*/ 525301 h 606263"/>
                <a:gd name="connsiteX46" fmla="*/ 711451 w 736951"/>
                <a:gd name="connsiteY46" fmla="*/ 524664 h 606263"/>
                <a:gd name="connsiteX47" fmla="*/ 712089 w 736951"/>
                <a:gd name="connsiteY47" fmla="*/ 522751 h 606263"/>
                <a:gd name="connsiteX48" fmla="*/ 728664 w 736951"/>
                <a:gd name="connsiteY48" fmla="*/ 511914 h 606263"/>
                <a:gd name="connsiteX49" fmla="*/ 731214 w 736951"/>
                <a:gd name="connsiteY49" fmla="*/ 510639 h 606263"/>
                <a:gd name="connsiteX50" fmla="*/ 736951 w 736951"/>
                <a:gd name="connsiteY50" fmla="*/ 457726 h 606263"/>
                <a:gd name="connsiteX51" fmla="*/ 735676 w 736951"/>
                <a:gd name="connsiteY51" fmla="*/ 455176 h 606263"/>
                <a:gd name="connsiteX52" fmla="*/ 733764 w 736951"/>
                <a:gd name="connsiteY52" fmla="*/ 454539 h 606263"/>
                <a:gd name="connsiteX53" fmla="*/ 687864 w 736951"/>
                <a:gd name="connsiteY53" fmla="*/ 417563 h 606263"/>
                <a:gd name="connsiteX54" fmla="*/ 694876 w 736951"/>
                <a:gd name="connsiteY54" fmla="*/ 404176 h 606263"/>
                <a:gd name="connsiteX55" fmla="*/ 682126 w 736951"/>
                <a:gd name="connsiteY55" fmla="*/ 367838 h 606263"/>
                <a:gd name="connsiteX56" fmla="*/ 659176 w 736951"/>
                <a:gd name="connsiteY56" fmla="*/ 349988 h 606263"/>
                <a:gd name="connsiteX57" fmla="*/ 615189 w 736951"/>
                <a:gd name="connsiteY57" fmla="*/ 330863 h 606263"/>
                <a:gd name="connsiteX58" fmla="*/ 587139 w 736951"/>
                <a:gd name="connsiteY58" fmla="*/ 308551 h 606263"/>
                <a:gd name="connsiteX59" fmla="*/ 590326 w 736951"/>
                <a:gd name="connsiteY59" fmla="*/ 262013 h 606263"/>
                <a:gd name="connsiteX60" fmla="*/ 598613 w 736951"/>
                <a:gd name="connsiteY60" fmla="*/ 219300 h 606263"/>
                <a:gd name="connsiteX61" fmla="*/ 552076 w 736951"/>
                <a:gd name="connsiteY61" fmla="*/ 221850 h 606263"/>
                <a:gd name="connsiteX62" fmla="*/ 538051 w 736951"/>
                <a:gd name="connsiteY62" fmla="*/ 207188 h 606263"/>
                <a:gd name="connsiteX63" fmla="*/ 531676 w 736951"/>
                <a:gd name="connsiteY63" fmla="*/ 177225 h 606263"/>
                <a:gd name="connsiteX64" fmla="*/ 458363 w 736951"/>
                <a:gd name="connsiteY64" fmla="*/ 115388 h 606263"/>
                <a:gd name="connsiteX65" fmla="*/ 437963 w 736951"/>
                <a:gd name="connsiteY65" fmla="*/ 58650 h 606263"/>
                <a:gd name="connsiteX66" fmla="*/ 443063 w 736951"/>
                <a:gd name="connsiteY66" fmla="*/ 29962 h 606263"/>
                <a:gd name="connsiteX67" fmla="*/ 443063 w 736951"/>
                <a:gd name="connsiteY67" fmla="*/ 29962 h 606263"/>
                <a:gd name="connsiteX68" fmla="*/ 443701 w 736951"/>
                <a:gd name="connsiteY68" fmla="*/ 28050 h 606263"/>
                <a:gd name="connsiteX69" fmla="*/ 443701 w 736951"/>
                <a:gd name="connsiteY69" fmla="*/ 28050 h 60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951" h="606263">
                  <a:moveTo>
                    <a:pt x="443701" y="28050"/>
                  </a:moveTo>
                  <a:lnTo>
                    <a:pt x="411826" y="0"/>
                  </a:lnTo>
                  <a:lnTo>
                    <a:pt x="273488" y="17212"/>
                  </a:lnTo>
                  <a:lnTo>
                    <a:pt x="132600" y="29325"/>
                  </a:lnTo>
                  <a:lnTo>
                    <a:pt x="637" y="33150"/>
                  </a:lnTo>
                  <a:lnTo>
                    <a:pt x="637" y="33150"/>
                  </a:lnTo>
                  <a:lnTo>
                    <a:pt x="0" y="36975"/>
                  </a:lnTo>
                  <a:lnTo>
                    <a:pt x="15938" y="68213"/>
                  </a:lnTo>
                  <a:lnTo>
                    <a:pt x="30600" y="79050"/>
                  </a:lnTo>
                  <a:lnTo>
                    <a:pt x="47813" y="110288"/>
                  </a:lnTo>
                  <a:lnTo>
                    <a:pt x="50362" y="112838"/>
                  </a:lnTo>
                  <a:lnTo>
                    <a:pt x="56737" y="117938"/>
                  </a:lnTo>
                  <a:lnTo>
                    <a:pt x="72038" y="129413"/>
                  </a:lnTo>
                  <a:lnTo>
                    <a:pt x="88612" y="128775"/>
                  </a:lnTo>
                  <a:lnTo>
                    <a:pt x="98175" y="144713"/>
                  </a:lnTo>
                  <a:lnTo>
                    <a:pt x="75862" y="172763"/>
                  </a:lnTo>
                  <a:lnTo>
                    <a:pt x="98813" y="193163"/>
                  </a:lnTo>
                  <a:lnTo>
                    <a:pt x="101362" y="205913"/>
                  </a:lnTo>
                  <a:lnTo>
                    <a:pt x="130688" y="222488"/>
                  </a:lnTo>
                  <a:lnTo>
                    <a:pt x="146625" y="494701"/>
                  </a:lnTo>
                  <a:lnTo>
                    <a:pt x="147263" y="511276"/>
                  </a:lnTo>
                  <a:lnTo>
                    <a:pt x="148538" y="527851"/>
                  </a:lnTo>
                  <a:lnTo>
                    <a:pt x="149175" y="544426"/>
                  </a:lnTo>
                  <a:lnTo>
                    <a:pt x="150450" y="561639"/>
                  </a:lnTo>
                  <a:lnTo>
                    <a:pt x="151087" y="578214"/>
                  </a:lnTo>
                  <a:lnTo>
                    <a:pt x="181688" y="576301"/>
                  </a:lnTo>
                  <a:lnTo>
                    <a:pt x="388876" y="559726"/>
                  </a:lnTo>
                  <a:lnTo>
                    <a:pt x="633676" y="536139"/>
                  </a:lnTo>
                  <a:lnTo>
                    <a:pt x="645789" y="561001"/>
                  </a:lnTo>
                  <a:lnTo>
                    <a:pt x="617101" y="606264"/>
                  </a:lnTo>
                  <a:lnTo>
                    <a:pt x="686589" y="595426"/>
                  </a:lnTo>
                  <a:lnTo>
                    <a:pt x="687226" y="595426"/>
                  </a:lnTo>
                  <a:lnTo>
                    <a:pt x="687226" y="590326"/>
                  </a:lnTo>
                  <a:lnTo>
                    <a:pt x="688501" y="560364"/>
                  </a:lnTo>
                  <a:lnTo>
                    <a:pt x="701251" y="544426"/>
                  </a:lnTo>
                  <a:lnTo>
                    <a:pt x="697426" y="526576"/>
                  </a:lnTo>
                  <a:lnTo>
                    <a:pt x="696789" y="525938"/>
                  </a:lnTo>
                  <a:lnTo>
                    <a:pt x="696151" y="525301"/>
                  </a:lnTo>
                  <a:lnTo>
                    <a:pt x="698701" y="517014"/>
                  </a:lnTo>
                  <a:lnTo>
                    <a:pt x="702526" y="518289"/>
                  </a:lnTo>
                  <a:lnTo>
                    <a:pt x="704439" y="523389"/>
                  </a:lnTo>
                  <a:lnTo>
                    <a:pt x="703801" y="525301"/>
                  </a:lnTo>
                  <a:lnTo>
                    <a:pt x="703801" y="525938"/>
                  </a:lnTo>
                  <a:lnTo>
                    <a:pt x="703801" y="531039"/>
                  </a:lnTo>
                  <a:lnTo>
                    <a:pt x="706351" y="531676"/>
                  </a:lnTo>
                  <a:lnTo>
                    <a:pt x="711451" y="525301"/>
                  </a:lnTo>
                  <a:lnTo>
                    <a:pt x="711451" y="524664"/>
                  </a:lnTo>
                  <a:lnTo>
                    <a:pt x="712089" y="522751"/>
                  </a:lnTo>
                  <a:lnTo>
                    <a:pt x="728664" y="511914"/>
                  </a:lnTo>
                  <a:lnTo>
                    <a:pt x="731214" y="510639"/>
                  </a:lnTo>
                  <a:lnTo>
                    <a:pt x="736951" y="457726"/>
                  </a:lnTo>
                  <a:lnTo>
                    <a:pt x="735676" y="455176"/>
                  </a:lnTo>
                  <a:lnTo>
                    <a:pt x="733764" y="454539"/>
                  </a:lnTo>
                  <a:lnTo>
                    <a:pt x="687864" y="417563"/>
                  </a:lnTo>
                  <a:lnTo>
                    <a:pt x="694876" y="404176"/>
                  </a:lnTo>
                  <a:lnTo>
                    <a:pt x="682126" y="367838"/>
                  </a:lnTo>
                  <a:lnTo>
                    <a:pt x="659176" y="349988"/>
                  </a:lnTo>
                  <a:lnTo>
                    <a:pt x="615189" y="330863"/>
                  </a:lnTo>
                  <a:lnTo>
                    <a:pt x="587139" y="308551"/>
                  </a:lnTo>
                  <a:lnTo>
                    <a:pt x="590326" y="262013"/>
                  </a:lnTo>
                  <a:lnTo>
                    <a:pt x="598613" y="219300"/>
                  </a:lnTo>
                  <a:lnTo>
                    <a:pt x="552076" y="221850"/>
                  </a:lnTo>
                  <a:lnTo>
                    <a:pt x="538051" y="207188"/>
                  </a:lnTo>
                  <a:lnTo>
                    <a:pt x="531676" y="177225"/>
                  </a:lnTo>
                  <a:lnTo>
                    <a:pt x="458363" y="115388"/>
                  </a:lnTo>
                  <a:lnTo>
                    <a:pt x="437963" y="58650"/>
                  </a:lnTo>
                  <a:lnTo>
                    <a:pt x="443063" y="29962"/>
                  </a:lnTo>
                  <a:lnTo>
                    <a:pt x="443063" y="29962"/>
                  </a:lnTo>
                  <a:lnTo>
                    <a:pt x="443701" y="28050"/>
                  </a:lnTo>
                  <a:lnTo>
                    <a:pt x="443701" y="2805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8" name="Freeform 37">
              <a:extLst>
                <a:ext uri="{FF2B5EF4-FFF2-40B4-BE49-F238E27FC236}">
                  <a16:creationId xmlns:a16="http://schemas.microsoft.com/office/drawing/2014/main" id="{A4F9B1A1-0126-B27B-0C9F-83B4BC7FA195}"/>
                </a:ext>
              </a:extLst>
            </p:cNvPr>
            <p:cNvSpPr/>
            <p:nvPr/>
          </p:nvSpPr>
          <p:spPr>
            <a:xfrm>
              <a:off x="3947600" y="2150911"/>
              <a:ext cx="893776" cy="412463"/>
            </a:xfrm>
            <a:custGeom>
              <a:avLst/>
              <a:gdLst>
                <a:gd name="connsiteX0" fmla="*/ 747152 w 893776"/>
                <a:gd name="connsiteY0" fmla="*/ 64387 h 412463"/>
                <a:gd name="connsiteX1" fmla="*/ 727389 w 893776"/>
                <a:gd name="connsiteY1" fmla="*/ 44625 h 412463"/>
                <a:gd name="connsiteX2" fmla="*/ 657264 w 893776"/>
                <a:gd name="connsiteY2" fmla="*/ 24225 h 412463"/>
                <a:gd name="connsiteX3" fmla="*/ 634952 w 893776"/>
                <a:gd name="connsiteY3" fmla="*/ 23587 h 412463"/>
                <a:gd name="connsiteX4" fmla="*/ 601164 w 893776"/>
                <a:gd name="connsiteY4" fmla="*/ 33787 h 412463"/>
                <a:gd name="connsiteX5" fmla="*/ 561001 w 893776"/>
                <a:gd name="connsiteY5" fmla="*/ 8287 h 412463"/>
                <a:gd name="connsiteX6" fmla="*/ 434776 w 893776"/>
                <a:gd name="connsiteY6" fmla="*/ 9563 h 412463"/>
                <a:gd name="connsiteX7" fmla="*/ 249901 w 893776"/>
                <a:gd name="connsiteY7" fmla="*/ 7650 h 412463"/>
                <a:gd name="connsiteX8" fmla="*/ 31875 w 893776"/>
                <a:gd name="connsiteY8" fmla="*/ 637 h 412463"/>
                <a:gd name="connsiteX9" fmla="*/ 12750 w 893776"/>
                <a:gd name="connsiteY9" fmla="*/ 0 h 412463"/>
                <a:gd name="connsiteX10" fmla="*/ 12113 w 893776"/>
                <a:gd name="connsiteY10" fmla="*/ 16575 h 412463"/>
                <a:gd name="connsiteX11" fmla="*/ 9563 w 893776"/>
                <a:gd name="connsiteY11" fmla="*/ 66938 h 412463"/>
                <a:gd name="connsiteX12" fmla="*/ 3825 w 893776"/>
                <a:gd name="connsiteY12" fmla="*/ 184875 h 412463"/>
                <a:gd name="connsiteX13" fmla="*/ 638 w 893776"/>
                <a:gd name="connsiteY13" fmla="*/ 252450 h 412463"/>
                <a:gd name="connsiteX14" fmla="*/ 0 w 893776"/>
                <a:gd name="connsiteY14" fmla="*/ 269025 h 412463"/>
                <a:gd name="connsiteX15" fmla="*/ 15300 w 893776"/>
                <a:gd name="connsiteY15" fmla="*/ 269663 h 412463"/>
                <a:gd name="connsiteX16" fmla="*/ 172125 w 893776"/>
                <a:gd name="connsiteY16" fmla="*/ 275400 h 412463"/>
                <a:gd name="connsiteX17" fmla="*/ 203363 w 893776"/>
                <a:gd name="connsiteY17" fmla="*/ 276676 h 412463"/>
                <a:gd name="connsiteX18" fmla="*/ 200813 w 893776"/>
                <a:gd name="connsiteY18" fmla="*/ 402263 h 412463"/>
                <a:gd name="connsiteX19" fmla="*/ 200176 w 893776"/>
                <a:gd name="connsiteY19" fmla="*/ 410551 h 412463"/>
                <a:gd name="connsiteX20" fmla="*/ 224401 w 893776"/>
                <a:gd name="connsiteY20" fmla="*/ 411188 h 412463"/>
                <a:gd name="connsiteX21" fmla="*/ 311101 w 893776"/>
                <a:gd name="connsiteY21" fmla="*/ 412463 h 412463"/>
                <a:gd name="connsiteX22" fmla="*/ 526576 w 893776"/>
                <a:gd name="connsiteY22" fmla="*/ 412463 h 412463"/>
                <a:gd name="connsiteX23" fmla="*/ 634952 w 893776"/>
                <a:gd name="connsiteY23" fmla="*/ 409913 h 412463"/>
                <a:gd name="connsiteX24" fmla="*/ 872102 w 893776"/>
                <a:gd name="connsiteY24" fmla="*/ 400351 h 412463"/>
                <a:gd name="connsiteX25" fmla="*/ 893777 w 893776"/>
                <a:gd name="connsiteY25" fmla="*/ 399076 h 412463"/>
                <a:gd name="connsiteX26" fmla="*/ 891227 w 893776"/>
                <a:gd name="connsiteY26" fmla="*/ 396526 h 412463"/>
                <a:gd name="connsiteX27" fmla="*/ 874015 w 893776"/>
                <a:gd name="connsiteY27" fmla="*/ 365288 h 412463"/>
                <a:gd name="connsiteX28" fmla="*/ 859352 w 893776"/>
                <a:gd name="connsiteY28" fmla="*/ 354451 h 412463"/>
                <a:gd name="connsiteX29" fmla="*/ 843414 w 893776"/>
                <a:gd name="connsiteY29" fmla="*/ 323213 h 412463"/>
                <a:gd name="connsiteX30" fmla="*/ 844052 w 893776"/>
                <a:gd name="connsiteY30" fmla="*/ 319388 h 412463"/>
                <a:gd name="connsiteX31" fmla="*/ 844052 w 893776"/>
                <a:gd name="connsiteY31" fmla="*/ 318113 h 412463"/>
                <a:gd name="connsiteX32" fmla="*/ 824289 w 893776"/>
                <a:gd name="connsiteY32" fmla="*/ 237150 h 412463"/>
                <a:gd name="connsiteX33" fmla="*/ 828114 w 893776"/>
                <a:gd name="connsiteY33" fmla="*/ 224400 h 412463"/>
                <a:gd name="connsiteX34" fmla="*/ 806439 w 893776"/>
                <a:gd name="connsiteY34" fmla="*/ 193800 h 412463"/>
                <a:gd name="connsiteX35" fmla="*/ 805164 w 893776"/>
                <a:gd name="connsiteY35" fmla="*/ 158100 h 412463"/>
                <a:gd name="connsiteX36" fmla="*/ 785402 w 893776"/>
                <a:gd name="connsiteY36" fmla="*/ 126225 h 412463"/>
                <a:gd name="connsiteX37" fmla="*/ 765002 w 893776"/>
                <a:gd name="connsiteY37" fmla="*/ 66300 h 412463"/>
                <a:gd name="connsiteX38" fmla="*/ 760539 w 893776"/>
                <a:gd name="connsiteY38" fmla="*/ 65663 h 412463"/>
                <a:gd name="connsiteX39" fmla="*/ 747152 w 893776"/>
                <a:gd name="connsiteY39" fmla="*/ 64387 h 412463"/>
                <a:gd name="connsiteX40" fmla="*/ 747152 w 893776"/>
                <a:gd name="connsiteY40" fmla="*/ 64387 h 41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93776" h="412463">
                  <a:moveTo>
                    <a:pt x="747152" y="64387"/>
                  </a:moveTo>
                  <a:lnTo>
                    <a:pt x="727389" y="44625"/>
                  </a:lnTo>
                  <a:lnTo>
                    <a:pt x="657264" y="24225"/>
                  </a:lnTo>
                  <a:lnTo>
                    <a:pt x="634952" y="23587"/>
                  </a:lnTo>
                  <a:lnTo>
                    <a:pt x="601164" y="33787"/>
                  </a:lnTo>
                  <a:lnTo>
                    <a:pt x="561001" y="8287"/>
                  </a:lnTo>
                  <a:lnTo>
                    <a:pt x="434776" y="9563"/>
                  </a:lnTo>
                  <a:lnTo>
                    <a:pt x="249901" y="7650"/>
                  </a:lnTo>
                  <a:lnTo>
                    <a:pt x="31875" y="637"/>
                  </a:lnTo>
                  <a:lnTo>
                    <a:pt x="12750" y="0"/>
                  </a:lnTo>
                  <a:lnTo>
                    <a:pt x="12113" y="16575"/>
                  </a:lnTo>
                  <a:lnTo>
                    <a:pt x="9563" y="66938"/>
                  </a:lnTo>
                  <a:lnTo>
                    <a:pt x="3825" y="184875"/>
                  </a:lnTo>
                  <a:lnTo>
                    <a:pt x="638" y="252450"/>
                  </a:lnTo>
                  <a:lnTo>
                    <a:pt x="0" y="269025"/>
                  </a:lnTo>
                  <a:lnTo>
                    <a:pt x="15300" y="269663"/>
                  </a:lnTo>
                  <a:lnTo>
                    <a:pt x="172125" y="275400"/>
                  </a:lnTo>
                  <a:lnTo>
                    <a:pt x="203363" y="276676"/>
                  </a:lnTo>
                  <a:lnTo>
                    <a:pt x="200813" y="402263"/>
                  </a:lnTo>
                  <a:lnTo>
                    <a:pt x="200176" y="410551"/>
                  </a:lnTo>
                  <a:lnTo>
                    <a:pt x="224401" y="411188"/>
                  </a:lnTo>
                  <a:lnTo>
                    <a:pt x="311101" y="412463"/>
                  </a:lnTo>
                  <a:lnTo>
                    <a:pt x="526576" y="412463"/>
                  </a:lnTo>
                  <a:lnTo>
                    <a:pt x="634952" y="409913"/>
                  </a:lnTo>
                  <a:lnTo>
                    <a:pt x="872102" y="400351"/>
                  </a:lnTo>
                  <a:lnTo>
                    <a:pt x="893777" y="399076"/>
                  </a:lnTo>
                  <a:lnTo>
                    <a:pt x="891227" y="396526"/>
                  </a:lnTo>
                  <a:lnTo>
                    <a:pt x="874015" y="365288"/>
                  </a:lnTo>
                  <a:lnTo>
                    <a:pt x="859352" y="354451"/>
                  </a:lnTo>
                  <a:lnTo>
                    <a:pt x="843414" y="323213"/>
                  </a:lnTo>
                  <a:lnTo>
                    <a:pt x="844052" y="319388"/>
                  </a:lnTo>
                  <a:lnTo>
                    <a:pt x="844052" y="318113"/>
                  </a:lnTo>
                  <a:lnTo>
                    <a:pt x="824289" y="237150"/>
                  </a:lnTo>
                  <a:lnTo>
                    <a:pt x="828114" y="224400"/>
                  </a:lnTo>
                  <a:lnTo>
                    <a:pt x="806439" y="193800"/>
                  </a:lnTo>
                  <a:lnTo>
                    <a:pt x="805164" y="158100"/>
                  </a:lnTo>
                  <a:lnTo>
                    <a:pt x="785402" y="126225"/>
                  </a:lnTo>
                  <a:lnTo>
                    <a:pt x="765002" y="66300"/>
                  </a:lnTo>
                  <a:lnTo>
                    <a:pt x="760539" y="65663"/>
                  </a:lnTo>
                  <a:lnTo>
                    <a:pt x="747152" y="64387"/>
                  </a:lnTo>
                  <a:lnTo>
                    <a:pt x="747152" y="64387"/>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39" name="Freeform 38">
              <a:extLst>
                <a:ext uri="{FF2B5EF4-FFF2-40B4-BE49-F238E27FC236}">
                  <a16:creationId xmlns:a16="http://schemas.microsoft.com/office/drawing/2014/main" id="{D32904D8-D135-7595-295B-56DC249CED28}"/>
                </a:ext>
              </a:extLst>
            </p:cNvPr>
            <p:cNvSpPr/>
            <p:nvPr/>
          </p:nvSpPr>
          <p:spPr>
            <a:xfrm>
              <a:off x="4032388" y="2947150"/>
              <a:ext cx="946051" cy="451988"/>
            </a:xfrm>
            <a:custGeom>
              <a:avLst/>
              <a:gdLst>
                <a:gd name="connsiteX0" fmla="*/ 908439 w 946051"/>
                <a:gd name="connsiteY0" fmla="*/ 50363 h 451988"/>
                <a:gd name="connsiteX1" fmla="*/ 907164 w 946051"/>
                <a:gd name="connsiteY1" fmla="*/ 33150 h 451988"/>
                <a:gd name="connsiteX2" fmla="*/ 906527 w 946051"/>
                <a:gd name="connsiteY2" fmla="*/ 16575 h 451988"/>
                <a:gd name="connsiteX3" fmla="*/ 905252 w 946051"/>
                <a:gd name="connsiteY3" fmla="*/ 0 h 451988"/>
                <a:gd name="connsiteX4" fmla="*/ 881027 w 946051"/>
                <a:gd name="connsiteY4" fmla="*/ 1913 h 451988"/>
                <a:gd name="connsiteX5" fmla="*/ 632401 w 946051"/>
                <a:gd name="connsiteY5" fmla="*/ 13388 h 451988"/>
                <a:gd name="connsiteX6" fmla="*/ 283688 w 946051"/>
                <a:gd name="connsiteY6" fmla="*/ 18488 h 451988"/>
                <a:gd name="connsiteX7" fmla="*/ 134513 w 946051"/>
                <a:gd name="connsiteY7" fmla="*/ 16575 h 451988"/>
                <a:gd name="connsiteX8" fmla="*/ 106463 w 946051"/>
                <a:gd name="connsiteY8" fmla="*/ 15938 h 451988"/>
                <a:gd name="connsiteX9" fmla="*/ 95625 w 946051"/>
                <a:gd name="connsiteY9" fmla="*/ 15938 h 451988"/>
                <a:gd name="connsiteX10" fmla="*/ 55462 w 946051"/>
                <a:gd name="connsiteY10" fmla="*/ 14663 h 451988"/>
                <a:gd name="connsiteX11" fmla="*/ 42712 w 946051"/>
                <a:gd name="connsiteY11" fmla="*/ 14025 h 451988"/>
                <a:gd name="connsiteX12" fmla="*/ 15300 w 946051"/>
                <a:gd name="connsiteY12" fmla="*/ 13388 h 451988"/>
                <a:gd name="connsiteX13" fmla="*/ 2550 w 946051"/>
                <a:gd name="connsiteY13" fmla="*/ 12750 h 451988"/>
                <a:gd name="connsiteX14" fmla="*/ 1912 w 946051"/>
                <a:gd name="connsiteY14" fmla="*/ 29325 h 451988"/>
                <a:gd name="connsiteX15" fmla="*/ 1275 w 946051"/>
                <a:gd name="connsiteY15" fmla="*/ 45900 h 451988"/>
                <a:gd name="connsiteX16" fmla="*/ 638 w 946051"/>
                <a:gd name="connsiteY16" fmla="*/ 62475 h 451988"/>
                <a:gd name="connsiteX17" fmla="*/ 0 w 946051"/>
                <a:gd name="connsiteY17" fmla="*/ 79688 h 451988"/>
                <a:gd name="connsiteX18" fmla="*/ 3825 w 946051"/>
                <a:gd name="connsiteY18" fmla="*/ 79688 h 451988"/>
                <a:gd name="connsiteX19" fmla="*/ 159375 w 946051"/>
                <a:gd name="connsiteY19" fmla="*/ 83513 h 451988"/>
                <a:gd name="connsiteX20" fmla="*/ 323213 w 946051"/>
                <a:gd name="connsiteY20" fmla="*/ 85425 h 451988"/>
                <a:gd name="connsiteX21" fmla="*/ 325125 w 946051"/>
                <a:gd name="connsiteY21" fmla="*/ 305363 h 451988"/>
                <a:gd name="connsiteX22" fmla="*/ 336601 w 946051"/>
                <a:gd name="connsiteY22" fmla="*/ 343613 h 451988"/>
                <a:gd name="connsiteX23" fmla="*/ 362101 w 946051"/>
                <a:gd name="connsiteY23" fmla="*/ 367838 h 451988"/>
                <a:gd name="connsiteX24" fmla="*/ 390151 w 946051"/>
                <a:gd name="connsiteY24" fmla="*/ 369113 h 451988"/>
                <a:gd name="connsiteX25" fmla="*/ 395888 w 946051"/>
                <a:gd name="connsiteY25" fmla="*/ 357638 h 451988"/>
                <a:gd name="connsiteX26" fmla="*/ 433501 w 946051"/>
                <a:gd name="connsiteY26" fmla="*/ 392063 h 451988"/>
                <a:gd name="connsiteX27" fmla="*/ 483226 w 946051"/>
                <a:gd name="connsiteY27" fmla="*/ 397164 h 451988"/>
                <a:gd name="connsiteX28" fmla="*/ 492789 w 946051"/>
                <a:gd name="connsiteY28" fmla="*/ 408001 h 451988"/>
                <a:gd name="connsiteX29" fmla="*/ 510639 w 946051"/>
                <a:gd name="connsiteY29" fmla="*/ 399713 h 451988"/>
                <a:gd name="connsiteX30" fmla="*/ 555901 w 946051"/>
                <a:gd name="connsiteY30" fmla="*/ 420751 h 451988"/>
                <a:gd name="connsiteX31" fmla="*/ 555901 w 946051"/>
                <a:gd name="connsiteY31" fmla="*/ 432864 h 451988"/>
                <a:gd name="connsiteX32" fmla="*/ 572476 w 946051"/>
                <a:gd name="connsiteY32" fmla="*/ 432226 h 451988"/>
                <a:gd name="connsiteX33" fmla="*/ 589689 w 946051"/>
                <a:gd name="connsiteY33" fmla="*/ 417563 h 451988"/>
                <a:gd name="connsiteX34" fmla="*/ 622201 w 946051"/>
                <a:gd name="connsiteY34" fmla="*/ 437963 h 451988"/>
                <a:gd name="connsiteX35" fmla="*/ 652801 w 946051"/>
                <a:gd name="connsiteY35" fmla="*/ 449438 h 451988"/>
                <a:gd name="connsiteX36" fmla="*/ 673201 w 946051"/>
                <a:gd name="connsiteY36" fmla="*/ 420751 h 451988"/>
                <a:gd name="connsiteX37" fmla="*/ 738864 w 946051"/>
                <a:gd name="connsiteY37" fmla="*/ 451989 h 451988"/>
                <a:gd name="connsiteX38" fmla="*/ 763089 w 946051"/>
                <a:gd name="connsiteY38" fmla="*/ 432226 h 451988"/>
                <a:gd name="connsiteX39" fmla="*/ 782852 w 946051"/>
                <a:gd name="connsiteY39" fmla="*/ 424576 h 451988"/>
                <a:gd name="connsiteX40" fmla="*/ 798789 w 946051"/>
                <a:gd name="connsiteY40" fmla="*/ 428401 h 451988"/>
                <a:gd name="connsiteX41" fmla="*/ 858714 w 946051"/>
                <a:gd name="connsiteY41" fmla="*/ 411188 h 451988"/>
                <a:gd name="connsiteX42" fmla="*/ 891227 w 946051"/>
                <a:gd name="connsiteY42" fmla="*/ 424576 h 451988"/>
                <a:gd name="connsiteX43" fmla="*/ 920552 w 946051"/>
                <a:gd name="connsiteY43" fmla="*/ 443063 h 451988"/>
                <a:gd name="connsiteX44" fmla="*/ 945415 w 946051"/>
                <a:gd name="connsiteY44" fmla="*/ 447526 h 451988"/>
                <a:gd name="connsiteX45" fmla="*/ 946052 w 946051"/>
                <a:gd name="connsiteY45" fmla="*/ 447526 h 451988"/>
                <a:gd name="connsiteX46" fmla="*/ 945415 w 946051"/>
                <a:gd name="connsiteY46" fmla="*/ 418201 h 451988"/>
                <a:gd name="connsiteX47" fmla="*/ 938402 w 946051"/>
                <a:gd name="connsiteY47" fmla="*/ 243526 h 451988"/>
                <a:gd name="connsiteX48" fmla="*/ 937764 w 946051"/>
                <a:gd name="connsiteY48" fmla="*/ 214201 h 451988"/>
                <a:gd name="connsiteX49" fmla="*/ 912902 w 946051"/>
                <a:gd name="connsiteY49" fmla="*/ 84788 h 451988"/>
                <a:gd name="connsiteX50" fmla="*/ 909077 w 946051"/>
                <a:gd name="connsiteY50" fmla="*/ 66938 h 451988"/>
                <a:gd name="connsiteX51" fmla="*/ 908439 w 946051"/>
                <a:gd name="connsiteY51" fmla="*/ 50363 h 451988"/>
                <a:gd name="connsiteX52" fmla="*/ 908439 w 946051"/>
                <a:gd name="connsiteY52" fmla="*/ 50363 h 4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46051" h="451988">
                  <a:moveTo>
                    <a:pt x="908439" y="50363"/>
                  </a:moveTo>
                  <a:lnTo>
                    <a:pt x="907164" y="33150"/>
                  </a:lnTo>
                  <a:lnTo>
                    <a:pt x="906527" y="16575"/>
                  </a:lnTo>
                  <a:lnTo>
                    <a:pt x="905252" y="0"/>
                  </a:lnTo>
                  <a:lnTo>
                    <a:pt x="881027" y="1913"/>
                  </a:lnTo>
                  <a:lnTo>
                    <a:pt x="632401" y="13388"/>
                  </a:lnTo>
                  <a:lnTo>
                    <a:pt x="283688" y="18488"/>
                  </a:lnTo>
                  <a:lnTo>
                    <a:pt x="134513" y="16575"/>
                  </a:lnTo>
                  <a:lnTo>
                    <a:pt x="106463" y="15938"/>
                  </a:lnTo>
                  <a:lnTo>
                    <a:pt x="95625" y="15938"/>
                  </a:lnTo>
                  <a:lnTo>
                    <a:pt x="55462" y="14663"/>
                  </a:lnTo>
                  <a:lnTo>
                    <a:pt x="42712" y="14025"/>
                  </a:lnTo>
                  <a:lnTo>
                    <a:pt x="15300" y="13388"/>
                  </a:lnTo>
                  <a:lnTo>
                    <a:pt x="2550" y="12750"/>
                  </a:lnTo>
                  <a:lnTo>
                    <a:pt x="1912" y="29325"/>
                  </a:lnTo>
                  <a:lnTo>
                    <a:pt x="1275" y="45900"/>
                  </a:lnTo>
                  <a:lnTo>
                    <a:pt x="638" y="62475"/>
                  </a:lnTo>
                  <a:lnTo>
                    <a:pt x="0" y="79688"/>
                  </a:lnTo>
                  <a:lnTo>
                    <a:pt x="3825" y="79688"/>
                  </a:lnTo>
                  <a:lnTo>
                    <a:pt x="159375" y="83513"/>
                  </a:lnTo>
                  <a:lnTo>
                    <a:pt x="323213" y="85425"/>
                  </a:lnTo>
                  <a:lnTo>
                    <a:pt x="325125" y="305363"/>
                  </a:lnTo>
                  <a:lnTo>
                    <a:pt x="336601" y="343613"/>
                  </a:lnTo>
                  <a:lnTo>
                    <a:pt x="362101" y="367838"/>
                  </a:lnTo>
                  <a:lnTo>
                    <a:pt x="390151" y="369113"/>
                  </a:lnTo>
                  <a:lnTo>
                    <a:pt x="395888" y="357638"/>
                  </a:lnTo>
                  <a:lnTo>
                    <a:pt x="433501" y="392063"/>
                  </a:lnTo>
                  <a:lnTo>
                    <a:pt x="483226" y="397164"/>
                  </a:lnTo>
                  <a:lnTo>
                    <a:pt x="492789" y="408001"/>
                  </a:lnTo>
                  <a:lnTo>
                    <a:pt x="510639" y="399713"/>
                  </a:lnTo>
                  <a:lnTo>
                    <a:pt x="555901" y="420751"/>
                  </a:lnTo>
                  <a:lnTo>
                    <a:pt x="555901" y="432864"/>
                  </a:lnTo>
                  <a:lnTo>
                    <a:pt x="572476" y="432226"/>
                  </a:lnTo>
                  <a:lnTo>
                    <a:pt x="589689" y="417563"/>
                  </a:lnTo>
                  <a:lnTo>
                    <a:pt x="622201" y="437963"/>
                  </a:lnTo>
                  <a:lnTo>
                    <a:pt x="652801" y="449438"/>
                  </a:lnTo>
                  <a:lnTo>
                    <a:pt x="673201" y="420751"/>
                  </a:lnTo>
                  <a:lnTo>
                    <a:pt x="738864" y="451989"/>
                  </a:lnTo>
                  <a:lnTo>
                    <a:pt x="763089" y="432226"/>
                  </a:lnTo>
                  <a:lnTo>
                    <a:pt x="782852" y="424576"/>
                  </a:lnTo>
                  <a:lnTo>
                    <a:pt x="798789" y="428401"/>
                  </a:lnTo>
                  <a:lnTo>
                    <a:pt x="858714" y="411188"/>
                  </a:lnTo>
                  <a:lnTo>
                    <a:pt x="891227" y="424576"/>
                  </a:lnTo>
                  <a:lnTo>
                    <a:pt x="920552" y="443063"/>
                  </a:lnTo>
                  <a:lnTo>
                    <a:pt x="945415" y="447526"/>
                  </a:lnTo>
                  <a:lnTo>
                    <a:pt x="946052" y="447526"/>
                  </a:lnTo>
                  <a:lnTo>
                    <a:pt x="945415" y="418201"/>
                  </a:lnTo>
                  <a:lnTo>
                    <a:pt x="938402" y="243526"/>
                  </a:lnTo>
                  <a:lnTo>
                    <a:pt x="937764" y="214201"/>
                  </a:lnTo>
                  <a:lnTo>
                    <a:pt x="912902" y="84788"/>
                  </a:lnTo>
                  <a:lnTo>
                    <a:pt x="909077" y="66938"/>
                  </a:lnTo>
                  <a:lnTo>
                    <a:pt x="908439" y="50363"/>
                  </a:lnTo>
                  <a:lnTo>
                    <a:pt x="908439" y="503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40" name="Freeform 39">
              <a:extLst>
                <a:ext uri="{FF2B5EF4-FFF2-40B4-BE49-F238E27FC236}">
                  <a16:creationId xmlns:a16="http://schemas.microsoft.com/office/drawing/2014/main" id="{A2125E2F-4FFE-C433-BFE1-EC19BED1FFE7}"/>
                </a:ext>
              </a:extLst>
            </p:cNvPr>
            <p:cNvSpPr/>
            <p:nvPr/>
          </p:nvSpPr>
          <p:spPr>
            <a:xfrm>
              <a:off x="3960350" y="1754385"/>
              <a:ext cx="746514" cy="461550"/>
            </a:xfrm>
            <a:custGeom>
              <a:avLst/>
              <a:gdLst>
                <a:gd name="connsiteX0" fmla="*/ 698702 w 746514"/>
                <a:gd name="connsiteY0" fmla="*/ 3825 h 461550"/>
                <a:gd name="connsiteX1" fmla="*/ 590326 w 746514"/>
                <a:gd name="connsiteY1" fmla="*/ 7013 h 461550"/>
                <a:gd name="connsiteX2" fmla="*/ 328951 w 746514"/>
                <a:gd name="connsiteY2" fmla="*/ 8925 h 461550"/>
                <a:gd name="connsiteX3" fmla="*/ 45900 w 746514"/>
                <a:gd name="connsiteY3" fmla="*/ 1275 h 461550"/>
                <a:gd name="connsiteX4" fmla="*/ 20400 w 746514"/>
                <a:gd name="connsiteY4" fmla="*/ 0 h 461550"/>
                <a:gd name="connsiteX5" fmla="*/ 19763 w 746514"/>
                <a:gd name="connsiteY5" fmla="*/ 14662 h 461550"/>
                <a:gd name="connsiteX6" fmla="*/ 17213 w 746514"/>
                <a:gd name="connsiteY6" fmla="*/ 72675 h 461550"/>
                <a:gd name="connsiteX7" fmla="*/ 15300 w 746514"/>
                <a:gd name="connsiteY7" fmla="*/ 117300 h 461550"/>
                <a:gd name="connsiteX8" fmla="*/ 14663 w 746514"/>
                <a:gd name="connsiteY8" fmla="*/ 126863 h 461550"/>
                <a:gd name="connsiteX9" fmla="*/ 12750 w 746514"/>
                <a:gd name="connsiteY9" fmla="*/ 126863 h 461550"/>
                <a:gd name="connsiteX10" fmla="*/ 12113 w 746514"/>
                <a:gd name="connsiteY10" fmla="*/ 143438 h 461550"/>
                <a:gd name="connsiteX11" fmla="*/ 5738 w 746514"/>
                <a:gd name="connsiteY11" fmla="*/ 278588 h 461550"/>
                <a:gd name="connsiteX12" fmla="*/ 638 w 746514"/>
                <a:gd name="connsiteY12" fmla="*/ 378676 h 461550"/>
                <a:gd name="connsiteX13" fmla="*/ 0 w 746514"/>
                <a:gd name="connsiteY13" fmla="*/ 395888 h 461550"/>
                <a:gd name="connsiteX14" fmla="*/ 19125 w 746514"/>
                <a:gd name="connsiteY14" fmla="*/ 396526 h 461550"/>
                <a:gd name="connsiteX15" fmla="*/ 237151 w 746514"/>
                <a:gd name="connsiteY15" fmla="*/ 403538 h 461550"/>
                <a:gd name="connsiteX16" fmla="*/ 422026 w 746514"/>
                <a:gd name="connsiteY16" fmla="*/ 405451 h 461550"/>
                <a:gd name="connsiteX17" fmla="*/ 548251 w 746514"/>
                <a:gd name="connsiteY17" fmla="*/ 404176 h 461550"/>
                <a:gd name="connsiteX18" fmla="*/ 588414 w 746514"/>
                <a:gd name="connsiteY18" fmla="*/ 429676 h 461550"/>
                <a:gd name="connsiteX19" fmla="*/ 622202 w 746514"/>
                <a:gd name="connsiteY19" fmla="*/ 419476 h 461550"/>
                <a:gd name="connsiteX20" fmla="*/ 644514 w 746514"/>
                <a:gd name="connsiteY20" fmla="*/ 420113 h 461550"/>
                <a:gd name="connsiteX21" fmla="*/ 714639 w 746514"/>
                <a:gd name="connsiteY21" fmla="*/ 440513 h 461550"/>
                <a:gd name="connsiteX22" fmla="*/ 734402 w 746514"/>
                <a:gd name="connsiteY22" fmla="*/ 460276 h 461550"/>
                <a:gd name="connsiteX23" fmla="*/ 746514 w 746514"/>
                <a:gd name="connsiteY23" fmla="*/ 461551 h 461550"/>
                <a:gd name="connsiteX24" fmla="*/ 746514 w 746514"/>
                <a:gd name="connsiteY24" fmla="*/ 457089 h 461550"/>
                <a:gd name="connsiteX25" fmla="*/ 733126 w 746514"/>
                <a:gd name="connsiteY25" fmla="*/ 436688 h 461550"/>
                <a:gd name="connsiteX26" fmla="*/ 742689 w 746514"/>
                <a:gd name="connsiteY26" fmla="*/ 402901 h 461550"/>
                <a:gd name="connsiteX27" fmla="*/ 731214 w 746514"/>
                <a:gd name="connsiteY27" fmla="*/ 331501 h 461550"/>
                <a:gd name="connsiteX28" fmla="*/ 744601 w 746514"/>
                <a:gd name="connsiteY28" fmla="*/ 330863 h 461550"/>
                <a:gd name="connsiteX29" fmla="*/ 743327 w 746514"/>
                <a:gd name="connsiteY29" fmla="*/ 300901 h 461550"/>
                <a:gd name="connsiteX30" fmla="*/ 710814 w 746514"/>
                <a:gd name="connsiteY30" fmla="*/ 74588 h 461550"/>
                <a:gd name="connsiteX31" fmla="*/ 694239 w 746514"/>
                <a:gd name="connsiteY31" fmla="*/ 45900 h 461550"/>
                <a:gd name="connsiteX32" fmla="*/ 719739 w 746514"/>
                <a:gd name="connsiteY32" fmla="*/ 3825 h 461550"/>
                <a:gd name="connsiteX33" fmla="*/ 720376 w 746514"/>
                <a:gd name="connsiteY33" fmla="*/ 1912 h 461550"/>
                <a:gd name="connsiteX34" fmla="*/ 698702 w 746514"/>
                <a:gd name="connsiteY34" fmla="*/ 3825 h 461550"/>
                <a:gd name="connsiteX35" fmla="*/ 698702 w 746514"/>
                <a:gd name="connsiteY35" fmla="*/ 3825 h 46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46514" h="461550">
                  <a:moveTo>
                    <a:pt x="698702" y="3825"/>
                  </a:moveTo>
                  <a:lnTo>
                    <a:pt x="590326" y="7013"/>
                  </a:lnTo>
                  <a:lnTo>
                    <a:pt x="328951" y="8925"/>
                  </a:lnTo>
                  <a:lnTo>
                    <a:pt x="45900" y="1275"/>
                  </a:lnTo>
                  <a:lnTo>
                    <a:pt x="20400" y="0"/>
                  </a:lnTo>
                  <a:lnTo>
                    <a:pt x="19763" y="14662"/>
                  </a:lnTo>
                  <a:lnTo>
                    <a:pt x="17213" y="72675"/>
                  </a:lnTo>
                  <a:lnTo>
                    <a:pt x="15300" y="117300"/>
                  </a:lnTo>
                  <a:lnTo>
                    <a:pt x="14663" y="126863"/>
                  </a:lnTo>
                  <a:lnTo>
                    <a:pt x="12750" y="126863"/>
                  </a:lnTo>
                  <a:lnTo>
                    <a:pt x="12113" y="143438"/>
                  </a:lnTo>
                  <a:lnTo>
                    <a:pt x="5738" y="278588"/>
                  </a:lnTo>
                  <a:lnTo>
                    <a:pt x="638" y="378676"/>
                  </a:lnTo>
                  <a:lnTo>
                    <a:pt x="0" y="395888"/>
                  </a:lnTo>
                  <a:lnTo>
                    <a:pt x="19125" y="396526"/>
                  </a:lnTo>
                  <a:lnTo>
                    <a:pt x="237151" y="403538"/>
                  </a:lnTo>
                  <a:lnTo>
                    <a:pt x="422026" y="405451"/>
                  </a:lnTo>
                  <a:lnTo>
                    <a:pt x="548251" y="404176"/>
                  </a:lnTo>
                  <a:lnTo>
                    <a:pt x="588414" y="429676"/>
                  </a:lnTo>
                  <a:lnTo>
                    <a:pt x="622202" y="419476"/>
                  </a:lnTo>
                  <a:lnTo>
                    <a:pt x="644514" y="420113"/>
                  </a:lnTo>
                  <a:lnTo>
                    <a:pt x="714639" y="440513"/>
                  </a:lnTo>
                  <a:lnTo>
                    <a:pt x="734402" y="460276"/>
                  </a:lnTo>
                  <a:lnTo>
                    <a:pt x="746514" y="461551"/>
                  </a:lnTo>
                  <a:lnTo>
                    <a:pt x="746514" y="457089"/>
                  </a:lnTo>
                  <a:lnTo>
                    <a:pt x="733126" y="436688"/>
                  </a:lnTo>
                  <a:lnTo>
                    <a:pt x="742689" y="402901"/>
                  </a:lnTo>
                  <a:lnTo>
                    <a:pt x="731214" y="331501"/>
                  </a:lnTo>
                  <a:lnTo>
                    <a:pt x="744601" y="330863"/>
                  </a:lnTo>
                  <a:lnTo>
                    <a:pt x="743327" y="300901"/>
                  </a:lnTo>
                  <a:lnTo>
                    <a:pt x="710814" y="74588"/>
                  </a:lnTo>
                  <a:lnTo>
                    <a:pt x="694239" y="45900"/>
                  </a:lnTo>
                  <a:lnTo>
                    <a:pt x="719739" y="3825"/>
                  </a:lnTo>
                  <a:lnTo>
                    <a:pt x="720376" y="1912"/>
                  </a:lnTo>
                  <a:lnTo>
                    <a:pt x="698702" y="3825"/>
                  </a:lnTo>
                  <a:lnTo>
                    <a:pt x="698702" y="3825"/>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41" name="Freeform 40">
              <a:extLst>
                <a:ext uri="{FF2B5EF4-FFF2-40B4-BE49-F238E27FC236}">
                  <a16:creationId xmlns:a16="http://schemas.microsoft.com/office/drawing/2014/main" id="{3024E4BE-A01E-2AD5-5E47-FF6FEBC87602}"/>
                </a:ext>
              </a:extLst>
            </p:cNvPr>
            <p:cNvSpPr/>
            <p:nvPr/>
          </p:nvSpPr>
          <p:spPr>
            <a:xfrm>
              <a:off x="5034540" y="3448226"/>
              <a:ext cx="630488" cy="524026"/>
            </a:xfrm>
            <a:custGeom>
              <a:avLst/>
              <a:gdLst>
                <a:gd name="connsiteX0" fmla="*/ 432864 w 630488"/>
                <a:gd name="connsiteY0" fmla="*/ 518288 h 524026"/>
                <a:gd name="connsiteX1" fmla="*/ 424576 w 630488"/>
                <a:gd name="connsiteY1" fmla="*/ 520201 h 524026"/>
                <a:gd name="connsiteX2" fmla="*/ 420751 w 630488"/>
                <a:gd name="connsiteY2" fmla="*/ 524026 h 524026"/>
                <a:gd name="connsiteX3" fmla="*/ 432864 w 630488"/>
                <a:gd name="connsiteY3" fmla="*/ 518288 h 524026"/>
                <a:gd name="connsiteX4" fmla="*/ 432864 w 630488"/>
                <a:gd name="connsiteY4" fmla="*/ 518288 h 524026"/>
                <a:gd name="connsiteX5" fmla="*/ 459639 w 630488"/>
                <a:gd name="connsiteY5" fmla="*/ 518288 h 524026"/>
                <a:gd name="connsiteX6" fmla="*/ 455176 w 630488"/>
                <a:gd name="connsiteY6" fmla="*/ 516376 h 524026"/>
                <a:gd name="connsiteX7" fmla="*/ 453901 w 630488"/>
                <a:gd name="connsiteY7" fmla="*/ 518288 h 524026"/>
                <a:gd name="connsiteX8" fmla="*/ 459639 w 630488"/>
                <a:gd name="connsiteY8" fmla="*/ 518288 h 524026"/>
                <a:gd name="connsiteX9" fmla="*/ 474938 w 630488"/>
                <a:gd name="connsiteY9" fmla="*/ 513189 h 524026"/>
                <a:gd name="connsiteX10" fmla="*/ 470476 w 630488"/>
                <a:gd name="connsiteY10" fmla="*/ 513189 h 524026"/>
                <a:gd name="connsiteX11" fmla="*/ 467926 w 630488"/>
                <a:gd name="connsiteY11" fmla="*/ 516376 h 524026"/>
                <a:gd name="connsiteX12" fmla="*/ 474938 w 630488"/>
                <a:gd name="connsiteY12" fmla="*/ 513189 h 524026"/>
                <a:gd name="connsiteX13" fmla="*/ 467288 w 630488"/>
                <a:gd name="connsiteY13" fmla="*/ 508726 h 524026"/>
                <a:gd name="connsiteX14" fmla="*/ 466014 w 630488"/>
                <a:gd name="connsiteY14" fmla="*/ 506814 h 524026"/>
                <a:gd name="connsiteX15" fmla="*/ 465376 w 630488"/>
                <a:gd name="connsiteY15" fmla="*/ 508726 h 524026"/>
                <a:gd name="connsiteX16" fmla="*/ 467288 w 630488"/>
                <a:gd name="connsiteY16" fmla="*/ 508726 h 524026"/>
                <a:gd name="connsiteX17" fmla="*/ 467288 w 630488"/>
                <a:gd name="connsiteY17" fmla="*/ 508726 h 524026"/>
                <a:gd name="connsiteX18" fmla="*/ 518926 w 630488"/>
                <a:gd name="connsiteY18" fmla="*/ 474938 h 524026"/>
                <a:gd name="connsiteX19" fmla="*/ 517014 w 630488"/>
                <a:gd name="connsiteY19" fmla="*/ 476214 h 524026"/>
                <a:gd name="connsiteX20" fmla="*/ 520201 w 630488"/>
                <a:gd name="connsiteY20" fmla="*/ 476214 h 524026"/>
                <a:gd name="connsiteX21" fmla="*/ 518926 w 630488"/>
                <a:gd name="connsiteY21" fmla="*/ 474938 h 524026"/>
                <a:gd name="connsiteX22" fmla="*/ 518926 w 630488"/>
                <a:gd name="connsiteY22" fmla="*/ 474938 h 524026"/>
                <a:gd name="connsiteX23" fmla="*/ 608814 w 630488"/>
                <a:gd name="connsiteY23" fmla="*/ 436688 h 524026"/>
                <a:gd name="connsiteX24" fmla="*/ 612639 w 630488"/>
                <a:gd name="connsiteY24" fmla="*/ 431588 h 524026"/>
                <a:gd name="connsiteX25" fmla="*/ 608814 w 630488"/>
                <a:gd name="connsiteY25" fmla="*/ 436688 h 524026"/>
                <a:gd name="connsiteX26" fmla="*/ 608814 w 630488"/>
                <a:gd name="connsiteY26" fmla="*/ 436688 h 524026"/>
                <a:gd name="connsiteX27" fmla="*/ 608814 w 630488"/>
                <a:gd name="connsiteY27" fmla="*/ 436688 h 524026"/>
                <a:gd name="connsiteX28" fmla="*/ 620926 w 630488"/>
                <a:gd name="connsiteY28" fmla="*/ 419476 h 524026"/>
                <a:gd name="connsiteX29" fmla="*/ 619651 w 630488"/>
                <a:gd name="connsiteY29" fmla="*/ 420113 h 524026"/>
                <a:gd name="connsiteX30" fmla="*/ 619651 w 630488"/>
                <a:gd name="connsiteY30" fmla="*/ 420751 h 524026"/>
                <a:gd name="connsiteX31" fmla="*/ 620926 w 630488"/>
                <a:gd name="connsiteY31" fmla="*/ 419476 h 524026"/>
                <a:gd name="connsiteX32" fmla="*/ 620926 w 630488"/>
                <a:gd name="connsiteY32" fmla="*/ 419476 h 524026"/>
                <a:gd name="connsiteX33" fmla="*/ 290701 w 630488"/>
                <a:gd name="connsiteY33" fmla="*/ 476851 h 524026"/>
                <a:gd name="connsiteX34" fmla="*/ 300901 w 630488"/>
                <a:gd name="connsiteY34" fmla="*/ 464738 h 524026"/>
                <a:gd name="connsiteX35" fmla="*/ 274126 w 630488"/>
                <a:gd name="connsiteY35" fmla="*/ 457726 h 524026"/>
                <a:gd name="connsiteX36" fmla="*/ 262651 w 630488"/>
                <a:gd name="connsiteY36" fmla="*/ 467926 h 524026"/>
                <a:gd name="connsiteX37" fmla="*/ 290701 w 630488"/>
                <a:gd name="connsiteY37" fmla="*/ 476851 h 524026"/>
                <a:gd name="connsiteX38" fmla="*/ 290701 w 630488"/>
                <a:gd name="connsiteY38" fmla="*/ 476851 h 524026"/>
                <a:gd name="connsiteX39" fmla="*/ 557814 w 630488"/>
                <a:gd name="connsiteY39" fmla="*/ 420113 h 524026"/>
                <a:gd name="connsiteX40" fmla="*/ 555264 w 630488"/>
                <a:gd name="connsiteY40" fmla="*/ 417563 h 524026"/>
                <a:gd name="connsiteX41" fmla="*/ 554626 w 630488"/>
                <a:gd name="connsiteY41" fmla="*/ 418838 h 524026"/>
                <a:gd name="connsiteX42" fmla="*/ 557814 w 630488"/>
                <a:gd name="connsiteY42" fmla="*/ 420113 h 524026"/>
                <a:gd name="connsiteX43" fmla="*/ 557814 w 630488"/>
                <a:gd name="connsiteY43" fmla="*/ 420113 h 524026"/>
                <a:gd name="connsiteX44" fmla="*/ 564826 w 630488"/>
                <a:gd name="connsiteY44" fmla="*/ 409276 h 524026"/>
                <a:gd name="connsiteX45" fmla="*/ 558451 w 630488"/>
                <a:gd name="connsiteY45" fmla="*/ 407363 h 524026"/>
                <a:gd name="connsiteX46" fmla="*/ 560364 w 630488"/>
                <a:gd name="connsiteY46" fmla="*/ 413738 h 524026"/>
                <a:gd name="connsiteX47" fmla="*/ 564826 w 630488"/>
                <a:gd name="connsiteY47" fmla="*/ 409276 h 524026"/>
                <a:gd name="connsiteX48" fmla="*/ 617739 w 630488"/>
                <a:gd name="connsiteY48" fmla="*/ 397801 h 524026"/>
                <a:gd name="connsiteX49" fmla="*/ 617739 w 630488"/>
                <a:gd name="connsiteY49" fmla="*/ 395888 h 524026"/>
                <a:gd name="connsiteX50" fmla="*/ 617739 w 630488"/>
                <a:gd name="connsiteY50" fmla="*/ 396526 h 524026"/>
                <a:gd name="connsiteX51" fmla="*/ 617739 w 630488"/>
                <a:gd name="connsiteY51" fmla="*/ 397801 h 524026"/>
                <a:gd name="connsiteX52" fmla="*/ 617739 w 630488"/>
                <a:gd name="connsiteY52" fmla="*/ 397801 h 524026"/>
                <a:gd name="connsiteX53" fmla="*/ 630489 w 630488"/>
                <a:gd name="connsiteY53" fmla="*/ 390151 h 524026"/>
                <a:gd name="connsiteX54" fmla="*/ 630489 w 630488"/>
                <a:gd name="connsiteY54" fmla="*/ 390151 h 524026"/>
                <a:gd name="connsiteX55" fmla="*/ 630489 w 630488"/>
                <a:gd name="connsiteY55" fmla="*/ 390151 h 524026"/>
                <a:gd name="connsiteX56" fmla="*/ 630489 w 630488"/>
                <a:gd name="connsiteY56" fmla="*/ 390151 h 524026"/>
                <a:gd name="connsiteX57" fmla="*/ 630489 w 630488"/>
                <a:gd name="connsiteY57" fmla="*/ 390151 h 524026"/>
                <a:gd name="connsiteX58" fmla="*/ 625389 w 630488"/>
                <a:gd name="connsiteY58" fmla="*/ 388876 h 524026"/>
                <a:gd name="connsiteX59" fmla="*/ 624114 w 630488"/>
                <a:gd name="connsiteY59" fmla="*/ 388238 h 524026"/>
                <a:gd name="connsiteX60" fmla="*/ 623476 w 630488"/>
                <a:gd name="connsiteY60" fmla="*/ 390151 h 524026"/>
                <a:gd name="connsiteX61" fmla="*/ 625389 w 630488"/>
                <a:gd name="connsiteY61" fmla="*/ 388876 h 524026"/>
                <a:gd name="connsiteX62" fmla="*/ 625389 w 630488"/>
                <a:gd name="connsiteY62" fmla="*/ 388876 h 524026"/>
                <a:gd name="connsiteX63" fmla="*/ 580126 w 630488"/>
                <a:gd name="connsiteY63" fmla="*/ 386963 h 524026"/>
                <a:gd name="connsiteX64" fmla="*/ 585864 w 630488"/>
                <a:gd name="connsiteY64" fmla="*/ 385051 h 524026"/>
                <a:gd name="connsiteX65" fmla="*/ 585864 w 630488"/>
                <a:gd name="connsiteY65" fmla="*/ 383138 h 524026"/>
                <a:gd name="connsiteX66" fmla="*/ 580126 w 630488"/>
                <a:gd name="connsiteY66" fmla="*/ 386963 h 524026"/>
                <a:gd name="connsiteX67" fmla="*/ 580126 w 630488"/>
                <a:gd name="connsiteY67" fmla="*/ 386963 h 524026"/>
                <a:gd name="connsiteX68" fmla="*/ 583314 w 630488"/>
                <a:gd name="connsiteY68" fmla="*/ 383138 h 524026"/>
                <a:gd name="connsiteX69" fmla="*/ 586501 w 630488"/>
                <a:gd name="connsiteY69" fmla="*/ 379951 h 524026"/>
                <a:gd name="connsiteX70" fmla="*/ 585864 w 630488"/>
                <a:gd name="connsiteY70" fmla="*/ 379313 h 524026"/>
                <a:gd name="connsiteX71" fmla="*/ 583314 w 630488"/>
                <a:gd name="connsiteY71" fmla="*/ 383138 h 524026"/>
                <a:gd name="connsiteX72" fmla="*/ 583314 w 630488"/>
                <a:gd name="connsiteY72" fmla="*/ 383138 h 524026"/>
                <a:gd name="connsiteX73" fmla="*/ 561001 w 630488"/>
                <a:gd name="connsiteY73" fmla="*/ 359551 h 524026"/>
                <a:gd name="connsiteX74" fmla="*/ 559726 w 630488"/>
                <a:gd name="connsiteY74" fmla="*/ 360826 h 524026"/>
                <a:gd name="connsiteX75" fmla="*/ 560364 w 630488"/>
                <a:gd name="connsiteY75" fmla="*/ 360826 h 524026"/>
                <a:gd name="connsiteX76" fmla="*/ 561001 w 630488"/>
                <a:gd name="connsiteY76" fmla="*/ 359551 h 524026"/>
                <a:gd name="connsiteX77" fmla="*/ 561001 w 630488"/>
                <a:gd name="connsiteY77" fmla="*/ 359551 h 524026"/>
                <a:gd name="connsiteX78" fmla="*/ 323851 w 630488"/>
                <a:gd name="connsiteY78" fmla="*/ 0 h 524026"/>
                <a:gd name="connsiteX79" fmla="*/ 322576 w 630488"/>
                <a:gd name="connsiteY79" fmla="*/ 0 h 524026"/>
                <a:gd name="connsiteX80" fmla="*/ 80325 w 630488"/>
                <a:gd name="connsiteY80" fmla="*/ 22313 h 524026"/>
                <a:gd name="connsiteX81" fmla="*/ 19763 w 630488"/>
                <a:gd name="connsiteY81" fmla="*/ 26775 h 524026"/>
                <a:gd name="connsiteX82" fmla="*/ 0 w 630488"/>
                <a:gd name="connsiteY82" fmla="*/ 28688 h 524026"/>
                <a:gd name="connsiteX83" fmla="*/ 638 w 630488"/>
                <a:gd name="connsiteY83" fmla="*/ 43987 h 524026"/>
                <a:gd name="connsiteX84" fmla="*/ 13388 w 630488"/>
                <a:gd name="connsiteY84" fmla="*/ 167663 h 524026"/>
                <a:gd name="connsiteX85" fmla="*/ 34425 w 630488"/>
                <a:gd name="connsiteY85" fmla="*/ 197625 h 524026"/>
                <a:gd name="connsiteX86" fmla="*/ 35063 w 630488"/>
                <a:gd name="connsiteY86" fmla="*/ 214838 h 524026"/>
                <a:gd name="connsiteX87" fmla="*/ 55463 w 630488"/>
                <a:gd name="connsiteY87" fmla="*/ 250538 h 524026"/>
                <a:gd name="connsiteX88" fmla="*/ 72038 w 630488"/>
                <a:gd name="connsiteY88" fmla="*/ 303450 h 524026"/>
                <a:gd name="connsiteX89" fmla="*/ 66300 w 630488"/>
                <a:gd name="connsiteY89" fmla="*/ 333413 h 524026"/>
                <a:gd name="connsiteX90" fmla="*/ 61838 w 630488"/>
                <a:gd name="connsiteY90" fmla="*/ 406726 h 524026"/>
                <a:gd name="connsiteX91" fmla="*/ 51638 w 630488"/>
                <a:gd name="connsiteY91" fmla="*/ 430313 h 524026"/>
                <a:gd name="connsiteX92" fmla="*/ 52913 w 630488"/>
                <a:gd name="connsiteY92" fmla="*/ 430313 h 524026"/>
                <a:gd name="connsiteX93" fmla="*/ 54825 w 630488"/>
                <a:gd name="connsiteY93" fmla="*/ 446888 h 524026"/>
                <a:gd name="connsiteX94" fmla="*/ 43350 w 630488"/>
                <a:gd name="connsiteY94" fmla="*/ 462188 h 524026"/>
                <a:gd name="connsiteX95" fmla="*/ 123038 w 630488"/>
                <a:gd name="connsiteY95" fmla="*/ 452626 h 524026"/>
                <a:gd name="connsiteX96" fmla="*/ 185513 w 630488"/>
                <a:gd name="connsiteY96" fmla="*/ 469839 h 524026"/>
                <a:gd name="connsiteX97" fmla="*/ 230138 w 630488"/>
                <a:gd name="connsiteY97" fmla="*/ 475576 h 524026"/>
                <a:gd name="connsiteX98" fmla="*/ 252451 w 630488"/>
                <a:gd name="connsiteY98" fmla="*/ 459638 h 524026"/>
                <a:gd name="connsiteX99" fmla="*/ 240338 w 630488"/>
                <a:gd name="connsiteY99" fmla="*/ 443701 h 524026"/>
                <a:gd name="connsiteX100" fmla="*/ 281138 w 630488"/>
                <a:gd name="connsiteY100" fmla="*/ 430951 h 524026"/>
                <a:gd name="connsiteX101" fmla="*/ 279863 w 630488"/>
                <a:gd name="connsiteY101" fmla="*/ 444976 h 524026"/>
                <a:gd name="connsiteX102" fmla="*/ 300901 w 630488"/>
                <a:gd name="connsiteY102" fmla="*/ 439876 h 524026"/>
                <a:gd name="connsiteX103" fmla="*/ 318113 w 630488"/>
                <a:gd name="connsiteY103" fmla="*/ 467288 h 524026"/>
                <a:gd name="connsiteX104" fmla="*/ 332776 w 630488"/>
                <a:gd name="connsiteY104" fmla="*/ 462188 h 524026"/>
                <a:gd name="connsiteX105" fmla="*/ 371026 w 630488"/>
                <a:gd name="connsiteY105" fmla="*/ 488964 h 524026"/>
                <a:gd name="connsiteX106" fmla="*/ 347438 w 630488"/>
                <a:gd name="connsiteY106" fmla="*/ 497251 h 524026"/>
                <a:gd name="connsiteX107" fmla="*/ 402264 w 630488"/>
                <a:gd name="connsiteY107" fmla="*/ 513189 h 524026"/>
                <a:gd name="connsiteX108" fmla="*/ 422663 w 630488"/>
                <a:gd name="connsiteY108" fmla="*/ 513189 h 524026"/>
                <a:gd name="connsiteX109" fmla="*/ 434776 w 630488"/>
                <a:gd name="connsiteY109" fmla="*/ 498526 h 524026"/>
                <a:gd name="connsiteX110" fmla="*/ 461551 w 630488"/>
                <a:gd name="connsiteY110" fmla="*/ 484501 h 524026"/>
                <a:gd name="connsiteX111" fmla="*/ 480038 w 630488"/>
                <a:gd name="connsiteY111" fmla="*/ 511913 h 524026"/>
                <a:gd name="connsiteX112" fmla="*/ 492788 w 630488"/>
                <a:gd name="connsiteY112" fmla="*/ 487688 h 524026"/>
                <a:gd name="connsiteX113" fmla="*/ 488964 w 630488"/>
                <a:gd name="connsiteY113" fmla="*/ 449438 h 524026"/>
                <a:gd name="connsiteX114" fmla="*/ 523389 w 630488"/>
                <a:gd name="connsiteY114" fmla="*/ 462826 h 524026"/>
                <a:gd name="connsiteX115" fmla="*/ 527214 w 630488"/>
                <a:gd name="connsiteY115" fmla="*/ 474301 h 524026"/>
                <a:gd name="connsiteX116" fmla="*/ 568014 w 630488"/>
                <a:gd name="connsiteY116" fmla="*/ 479401 h 524026"/>
                <a:gd name="connsiteX117" fmla="*/ 588414 w 630488"/>
                <a:gd name="connsiteY117" fmla="*/ 495976 h 524026"/>
                <a:gd name="connsiteX118" fmla="*/ 585864 w 630488"/>
                <a:gd name="connsiteY118" fmla="*/ 509363 h 524026"/>
                <a:gd name="connsiteX119" fmla="*/ 615189 w 630488"/>
                <a:gd name="connsiteY119" fmla="*/ 481951 h 524026"/>
                <a:gd name="connsiteX120" fmla="*/ 603714 w 630488"/>
                <a:gd name="connsiteY120" fmla="*/ 467926 h 524026"/>
                <a:gd name="connsiteX121" fmla="*/ 555264 w 630488"/>
                <a:gd name="connsiteY121" fmla="*/ 455813 h 524026"/>
                <a:gd name="connsiteX122" fmla="*/ 537414 w 630488"/>
                <a:gd name="connsiteY122" fmla="*/ 444976 h 524026"/>
                <a:gd name="connsiteX123" fmla="*/ 536776 w 630488"/>
                <a:gd name="connsiteY123" fmla="*/ 425851 h 524026"/>
                <a:gd name="connsiteX124" fmla="*/ 556539 w 630488"/>
                <a:gd name="connsiteY124" fmla="*/ 428401 h 524026"/>
                <a:gd name="connsiteX125" fmla="*/ 571839 w 630488"/>
                <a:gd name="connsiteY125" fmla="*/ 396526 h 524026"/>
                <a:gd name="connsiteX126" fmla="*/ 552076 w 630488"/>
                <a:gd name="connsiteY126" fmla="*/ 368476 h 524026"/>
                <a:gd name="connsiteX127" fmla="*/ 540601 w 630488"/>
                <a:gd name="connsiteY127" fmla="*/ 395251 h 524026"/>
                <a:gd name="connsiteX128" fmla="*/ 515739 w 630488"/>
                <a:gd name="connsiteY128" fmla="*/ 390788 h 524026"/>
                <a:gd name="connsiteX129" fmla="*/ 532951 w 630488"/>
                <a:gd name="connsiteY129" fmla="*/ 362101 h 524026"/>
                <a:gd name="connsiteX130" fmla="*/ 521476 w 630488"/>
                <a:gd name="connsiteY130" fmla="*/ 358913 h 524026"/>
                <a:gd name="connsiteX131" fmla="*/ 492788 w 630488"/>
                <a:gd name="connsiteY131" fmla="*/ 378676 h 524026"/>
                <a:gd name="connsiteX132" fmla="*/ 452626 w 630488"/>
                <a:gd name="connsiteY132" fmla="*/ 381226 h 524026"/>
                <a:gd name="connsiteX133" fmla="*/ 441151 w 630488"/>
                <a:gd name="connsiteY133" fmla="*/ 371663 h 524026"/>
                <a:gd name="connsiteX134" fmla="*/ 459639 w 630488"/>
                <a:gd name="connsiteY134" fmla="*/ 338513 h 524026"/>
                <a:gd name="connsiteX135" fmla="*/ 481313 w 630488"/>
                <a:gd name="connsiteY135" fmla="*/ 337876 h 524026"/>
                <a:gd name="connsiteX136" fmla="*/ 518288 w 630488"/>
                <a:gd name="connsiteY136" fmla="*/ 349988 h 524026"/>
                <a:gd name="connsiteX137" fmla="*/ 545701 w 630488"/>
                <a:gd name="connsiteY137" fmla="*/ 352538 h 524026"/>
                <a:gd name="connsiteX138" fmla="*/ 545701 w 630488"/>
                <a:gd name="connsiteY138" fmla="*/ 352538 h 524026"/>
                <a:gd name="connsiteX139" fmla="*/ 531039 w 630488"/>
                <a:gd name="connsiteY139" fmla="*/ 334050 h 524026"/>
                <a:gd name="connsiteX140" fmla="*/ 502351 w 630488"/>
                <a:gd name="connsiteY140" fmla="*/ 279225 h 524026"/>
                <a:gd name="connsiteX141" fmla="*/ 510001 w 630488"/>
                <a:gd name="connsiteY141" fmla="*/ 247988 h 524026"/>
                <a:gd name="connsiteX142" fmla="*/ 288151 w 630488"/>
                <a:gd name="connsiteY142" fmla="*/ 272213 h 524026"/>
                <a:gd name="connsiteX143" fmla="*/ 296438 w 630488"/>
                <a:gd name="connsiteY143" fmla="*/ 263925 h 524026"/>
                <a:gd name="connsiteX144" fmla="*/ 286876 w 630488"/>
                <a:gd name="connsiteY144" fmla="*/ 240975 h 524026"/>
                <a:gd name="connsiteX145" fmla="*/ 300263 w 630488"/>
                <a:gd name="connsiteY145" fmla="*/ 221213 h 524026"/>
                <a:gd name="connsiteX146" fmla="*/ 307913 w 630488"/>
                <a:gd name="connsiteY146" fmla="*/ 170850 h 524026"/>
                <a:gd name="connsiteX147" fmla="*/ 357001 w 630488"/>
                <a:gd name="connsiteY147" fmla="*/ 87338 h 524026"/>
                <a:gd name="connsiteX148" fmla="*/ 333413 w 630488"/>
                <a:gd name="connsiteY148" fmla="*/ 58012 h 524026"/>
                <a:gd name="connsiteX149" fmla="*/ 334688 w 630488"/>
                <a:gd name="connsiteY149" fmla="*/ 36975 h 524026"/>
                <a:gd name="connsiteX150" fmla="*/ 320026 w 630488"/>
                <a:gd name="connsiteY150" fmla="*/ 2550 h 524026"/>
                <a:gd name="connsiteX151" fmla="*/ 323851 w 630488"/>
                <a:gd name="connsiteY151" fmla="*/ 0 h 524026"/>
                <a:gd name="connsiteX152" fmla="*/ 323851 w 630488"/>
                <a:gd name="connsiteY152" fmla="*/ 0 h 5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30488" h="524026">
                  <a:moveTo>
                    <a:pt x="432864" y="518288"/>
                  </a:moveTo>
                  <a:lnTo>
                    <a:pt x="424576" y="520201"/>
                  </a:lnTo>
                  <a:lnTo>
                    <a:pt x="420751" y="524026"/>
                  </a:lnTo>
                  <a:lnTo>
                    <a:pt x="432864" y="518288"/>
                  </a:lnTo>
                  <a:lnTo>
                    <a:pt x="432864" y="518288"/>
                  </a:lnTo>
                  <a:close/>
                  <a:moveTo>
                    <a:pt x="459639" y="518288"/>
                  </a:moveTo>
                  <a:lnTo>
                    <a:pt x="455176" y="516376"/>
                  </a:lnTo>
                  <a:lnTo>
                    <a:pt x="453901" y="518288"/>
                  </a:lnTo>
                  <a:lnTo>
                    <a:pt x="459639" y="518288"/>
                  </a:lnTo>
                  <a:close/>
                  <a:moveTo>
                    <a:pt x="474938" y="513189"/>
                  </a:moveTo>
                  <a:lnTo>
                    <a:pt x="470476" y="513189"/>
                  </a:lnTo>
                  <a:lnTo>
                    <a:pt x="467926" y="516376"/>
                  </a:lnTo>
                  <a:lnTo>
                    <a:pt x="474938" y="513189"/>
                  </a:lnTo>
                  <a:close/>
                  <a:moveTo>
                    <a:pt x="467288" y="508726"/>
                  </a:moveTo>
                  <a:lnTo>
                    <a:pt x="466014" y="506814"/>
                  </a:lnTo>
                  <a:lnTo>
                    <a:pt x="465376" y="508726"/>
                  </a:lnTo>
                  <a:lnTo>
                    <a:pt x="467288" y="508726"/>
                  </a:lnTo>
                  <a:lnTo>
                    <a:pt x="467288" y="508726"/>
                  </a:lnTo>
                  <a:close/>
                  <a:moveTo>
                    <a:pt x="518926" y="474938"/>
                  </a:moveTo>
                  <a:lnTo>
                    <a:pt x="517014" y="476214"/>
                  </a:lnTo>
                  <a:lnTo>
                    <a:pt x="520201" y="476214"/>
                  </a:lnTo>
                  <a:lnTo>
                    <a:pt x="518926" y="474938"/>
                  </a:lnTo>
                  <a:lnTo>
                    <a:pt x="518926" y="474938"/>
                  </a:lnTo>
                  <a:close/>
                  <a:moveTo>
                    <a:pt x="608814" y="436688"/>
                  </a:moveTo>
                  <a:lnTo>
                    <a:pt x="612639" y="431588"/>
                  </a:lnTo>
                  <a:lnTo>
                    <a:pt x="608814" y="436688"/>
                  </a:lnTo>
                  <a:lnTo>
                    <a:pt x="608814" y="436688"/>
                  </a:lnTo>
                  <a:lnTo>
                    <a:pt x="608814" y="436688"/>
                  </a:lnTo>
                  <a:close/>
                  <a:moveTo>
                    <a:pt x="620926" y="419476"/>
                  </a:moveTo>
                  <a:lnTo>
                    <a:pt x="619651" y="420113"/>
                  </a:lnTo>
                  <a:lnTo>
                    <a:pt x="619651" y="420751"/>
                  </a:lnTo>
                  <a:lnTo>
                    <a:pt x="620926" y="419476"/>
                  </a:lnTo>
                  <a:lnTo>
                    <a:pt x="620926" y="419476"/>
                  </a:lnTo>
                  <a:close/>
                  <a:moveTo>
                    <a:pt x="290701" y="476851"/>
                  </a:moveTo>
                  <a:lnTo>
                    <a:pt x="300901" y="464738"/>
                  </a:lnTo>
                  <a:lnTo>
                    <a:pt x="274126" y="457726"/>
                  </a:lnTo>
                  <a:lnTo>
                    <a:pt x="262651" y="467926"/>
                  </a:lnTo>
                  <a:lnTo>
                    <a:pt x="290701" y="476851"/>
                  </a:lnTo>
                  <a:lnTo>
                    <a:pt x="290701" y="476851"/>
                  </a:lnTo>
                  <a:close/>
                  <a:moveTo>
                    <a:pt x="557814" y="420113"/>
                  </a:moveTo>
                  <a:lnTo>
                    <a:pt x="555264" y="417563"/>
                  </a:lnTo>
                  <a:lnTo>
                    <a:pt x="554626" y="418838"/>
                  </a:lnTo>
                  <a:lnTo>
                    <a:pt x="557814" y="420113"/>
                  </a:lnTo>
                  <a:lnTo>
                    <a:pt x="557814" y="420113"/>
                  </a:lnTo>
                  <a:close/>
                  <a:moveTo>
                    <a:pt x="564826" y="409276"/>
                  </a:moveTo>
                  <a:lnTo>
                    <a:pt x="558451" y="407363"/>
                  </a:lnTo>
                  <a:lnTo>
                    <a:pt x="560364" y="413738"/>
                  </a:lnTo>
                  <a:lnTo>
                    <a:pt x="564826" y="409276"/>
                  </a:lnTo>
                  <a:close/>
                  <a:moveTo>
                    <a:pt x="617739" y="397801"/>
                  </a:moveTo>
                  <a:lnTo>
                    <a:pt x="617739" y="395888"/>
                  </a:lnTo>
                  <a:lnTo>
                    <a:pt x="617739" y="396526"/>
                  </a:lnTo>
                  <a:lnTo>
                    <a:pt x="617739" y="397801"/>
                  </a:lnTo>
                  <a:lnTo>
                    <a:pt x="617739" y="397801"/>
                  </a:lnTo>
                  <a:close/>
                  <a:moveTo>
                    <a:pt x="630489" y="390151"/>
                  </a:moveTo>
                  <a:lnTo>
                    <a:pt x="630489" y="390151"/>
                  </a:lnTo>
                  <a:lnTo>
                    <a:pt x="630489" y="390151"/>
                  </a:lnTo>
                  <a:lnTo>
                    <a:pt x="630489" y="390151"/>
                  </a:lnTo>
                  <a:lnTo>
                    <a:pt x="630489" y="390151"/>
                  </a:lnTo>
                  <a:close/>
                  <a:moveTo>
                    <a:pt x="625389" y="388876"/>
                  </a:moveTo>
                  <a:lnTo>
                    <a:pt x="624114" y="388238"/>
                  </a:lnTo>
                  <a:lnTo>
                    <a:pt x="623476" y="390151"/>
                  </a:lnTo>
                  <a:lnTo>
                    <a:pt x="625389" y="388876"/>
                  </a:lnTo>
                  <a:lnTo>
                    <a:pt x="625389" y="388876"/>
                  </a:lnTo>
                  <a:close/>
                  <a:moveTo>
                    <a:pt x="580126" y="386963"/>
                  </a:moveTo>
                  <a:lnTo>
                    <a:pt x="585864" y="385051"/>
                  </a:lnTo>
                  <a:lnTo>
                    <a:pt x="585864" y="383138"/>
                  </a:lnTo>
                  <a:lnTo>
                    <a:pt x="580126" y="386963"/>
                  </a:lnTo>
                  <a:lnTo>
                    <a:pt x="580126" y="386963"/>
                  </a:lnTo>
                  <a:close/>
                  <a:moveTo>
                    <a:pt x="583314" y="383138"/>
                  </a:moveTo>
                  <a:lnTo>
                    <a:pt x="586501" y="379951"/>
                  </a:lnTo>
                  <a:lnTo>
                    <a:pt x="585864" y="379313"/>
                  </a:lnTo>
                  <a:lnTo>
                    <a:pt x="583314" y="383138"/>
                  </a:lnTo>
                  <a:lnTo>
                    <a:pt x="583314" y="383138"/>
                  </a:lnTo>
                  <a:close/>
                  <a:moveTo>
                    <a:pt x="561001" y="359551"/>
                  </a:moveTo>
                  <a:lnTo>
                    <a:pt x="559726" y="360826"/>
                  </a:lnTo>
                  <a:lnTo>
                    <a:pt x="560364" y="360826"/>
                  </a:lnTo>
                  <a:lnTo>
                    <a:pt x="561001" y="359551"/>
                  </a:lnTo>
                  <a:lnTo>
                    <a:pt x="561001" y="359551"/>
                  </a:lnTo>
                  <a:close/>
                  <a:moveTo>
                    <a:pt x="323851" y="0"/>
                  </a:moveTo>
                  <a:lnTo>
                    <a:pt x="322576" y="0"/>
                  </a:lnTo>
                  <a:lnTo>
                    <a:pt x="80325" y="22313"/>
                  </a:lnTo>
                  <a:lnTo>
                    <a:pt x="19763" y="26775"/>
                  </a:lnTo>
                  <a:lnTo>
                    <a:pt x="0" y="28688"/>
                  </a:lnTo>
                  <a:lnTo>
                    <a:pt x="638" y="43987"/>
                  </a:lnTo>
                  <a:lnTo>
                    <a:pt x="13388" y="167663"/>
                  </a:lnTo>
                  <a:lnTo>
                    <a:pt x="34425" y="197625"/>
                  </a:lnTo>
                  <a:lnTo>
                    <a:pt x="35063" y="214838"/>
                  </a:lnTo>
                  <a:lnTo>
                    <a:pt x="55463" y="250538"/>
                  </a:lnTo>
                  <a:lnTo>
                    <a:pt x="72038" y="303450"/>
                  </a:lnTo>
                  <a:lnTo>
                    <a:pt x="66300" y="333413"/>
                  </a:lnTo>
                  <a:lnTo>
                    <a:pt x="61838" y="406726"/>
                  </a:lnTo>
                  <a:lnTo>
                    <a:pt x="51638" y="430313"/>
                  </a:lnTo>
                  <a:lnTo>
                    <a:pt x="52913" y="430313"/>
                  </a:lnTo>
                  <a:lnTo>
                    <a:pt x="54825" y="446888"/>
                  </a:lnTo>
                  <a:lnTo>
                    <a:pt x="43350" y="462188"/>
                  </a:lnTo>
                  <a:lnTo>
                    <a:pt x="123038" y="452626"/>
                  </a:lnTo>
                  <a:lnTo>
                    <a:pt x="185513" y="469839"/>
                  </a:lnTo>
                  <a:lnTo>
                    <a:pt x="230138" y="475576"/>
                  </a:lnTo>
                  <a:lnTo>
                    <a:pt x="252451" y="459638"/>
                  </a:lnTo>
                  <a:lnTo>
                    <a:pt x="240338" y="443701"/>
                  </a:lnTo>
                  <a:lnTo>
                    <a:pt x="281138" y="430951"/>
                  </a:lnTo>
                  <a:lnTo>
                    <a:pt x="279863" y="444976"/>
                  </a:lnTo>
                  <a:lnTo>
                    <a:pt x="300901" y="439876"/>
                  </a:lnTo>
                  <a:lnTo>
                    <a:pt x="318113" y="467288"/>
                  </a:lnTo>
                  <a:lnTo>
                    <a:pt x="332776" y="462188"/>
                  </a:lnTo>
                  <a:lnTo>
                    <a:pt x="371026" y="488964"/>
                  </a:lnTo>
                  <a:lnTo>
                    <a:pt x="347438" y="497251"/>
                  </a:lnTo>
                  <a:lnTo>
                    <a:pt x="402264" y="513189"/>
                  </a:lnTo>
                  <a:lnTo>
                    <a:pt x="422663" y="513189"/>
                  </a:lnTo>
                  <a:lnTo>
                    <a:pt x="434776" y="498526"/>
                  </a:lnTo>
                  <a:lnTo>
                    <a:pt x="461551" y="484501"/>
                  </a:lnTo>
                  <a:lnTo>
                    <a:pt x="480038" y="511913"/>
                  </a:lnTo>
                  <a:lnTo>
                    <a:pt x="492788" y="487688"/>
                  </a:lnTo>
                  <a:lnTo>
                    <a:pt x="488964" y="449438"/>
                  </a:lnTo>
                  <a:lnTo>
                    <a:pt x="523389" y="462826"/>
                  </a:lnTo>
                  <a:lnTo>
                    <a:pt x="527214" y="474301"/>
                  </a:lnTo>
                  <a:lnTo>
                    <a:pt x="568014" y="479401"/>
                  </a:lnTo>
                  <a:lnTo>
                    <a:pt x="588414" y="495976"/>
                  </a:lnTo>
                  <a:lnTo>
                    <a:pt x="585864" y="509363"/>
                  </a:lnTo>
                  <a:lnTo>
                    <a:pt x="615189" y="481951"/>
                  </a:lnTo>
                  <a:lnTo>
                    <a:pt x="603714" y="467926"/>
                  </a:lnTo>
                  <a:lnTo>
                    <a:pt x="555264" y="455813"/>
                  </a:lnTo>
                  <a:lnTo>
                    <a:pt x="537414" y="444976"/>
                  </a:lnTo>
                  <a:lnTo>
                    <a:pt x="536776" y="425851"/>
                  </a:lnTo>
                  <a:lnTo>
                    <a:pt x="556539" y="428401"/>
                  </a:lnTo>
                  <a:lnTo>
                    <a:pt x="571839" y="396526"/>
                  </a:lnTo>
                  <a:lnTo>
                    <a:pt x="552076" y="368476"/>
                  </a:lnTo>
                  <a:lnTo>
                    <a:pt x="540601" y="395251"/>
                  </a:lnTo>
                  <a:lnTo>
                    <a:pt x="515739" y="390788"/>
                  </a:lnTo>
                  <a:lnTo>
                    <a:pt x="532951" y="362101"/>
                  </a:lnTo>
                  <a:lnTo>
                    <a:pt x="521476" y="358913"/>
                  </a:lnTo>
                  <a:lnTo>
                    <a:pt x="492788" y="378676"/>
                  </a:lnTo>
                  <a:lnTo>
                    <a:pt x="452626" y="381226"/>
                  </a:lnTo>
                  <a:lnTo>
                    <a:pt x="441151" y="371663"/>
                  </a:lnTo>
                  <a:lnTo>
                    <a:pt x="459639" y="338513"/>
                  </a:lnTo>
                  <a:lnTo>
                    <a:pt x="481313" y="337876"/>
                  </a:lnTo>
                  <a:lnTo>
                    <a:pt x="518288" y="349988"/>
                  </a:lnTo>
                  <a:lnTo>
                    <a:pt x="545701" y="352538"/>
                  </a:lnTo>
                  <a:lnTo>
                    <a:pt x="545701" y="352538"/>
                  </a:lnTo>
                  <a:lnTo>
                    <a:pt x="531039" y="334050"/>
                  </a:lnTo>
                  <a:lnTo>
                    <a:pt x="502351" y="279225"/>
                  </a:lnTo>
                  <a:lnTo>
                    <a:pt x="510001" y="247988"/>
                  </a:lnTo>
                  <a:lnTo>
                    <a:pt x="288151" y="272213"/>
                  </a:lnTo>
                  <a:lnTo>
                    <a:pt x="296438" y="263925"/>
                  </a:lnTo>
                  <a:lnTo>
                    <a:pt x="286876" y="240975"/>
                  </a:lnTo>
                  <a:lnTo>
                    <a:pt x="300263" y="221213"/>
                  </a:lnTo>
                  <a:lnTo>
                    <a:pt x="307913" y="170850"/>
                  </a:lnTo>
                  <a:lnTo>
                    <a:pt x="357001" y="87338"/>
                  </a:lnTo>
                  <a:lnTo>
                    <a:pt x="333413" y="58012"/>
                  </a:lnTo>
                  <a:lnTo>
                    <a:pt x="334688" y="36975"/>
                  </a:lnTo>
                  <a:lnTo>
                    <a:pt x="320026" y="2550"/>
                  </a:lnTo>
                  <a:lnTo>
                    <a:pt x="323851" y="0"/>
                  </a:lnTo>
                  <a:lnTo>
                    <a:pt x="323851"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42" name="Freeform 41">
              <a:extLst>
                <a:ext uri="{FF2B5EF4-FFF2-40B4-BE49-F238E27FC236}">
                  <a16:creationId xmlns:a16="http://schemas.microsoft.com/office/drawing/2014/main" id="{52D4C632-AAB3-5C65-F0CC-581790B77CB5}"/>
                </a:ext>
              </a:extLst>
            </p:cNvPr>
            <p:cNvSpPr/>
            <p:nvPr/>
          </p:nvSpPr>
          <p:spPr>
            <a:xfrm>
              <a:off x="3595062" y="3024925"/>
              <a:ext cx="1514065" cy="1418440"/>
            </a:xfrm>
            <a:custGeom>
              <a:avLst/>
              <a:gdLst>
                <a:gd name="connsiteX0" fmla="*/ 1111165 w 1514065"/>
                <a:gd name="connsiteY0" fmla="*/ 1389115 h 1418440"/>
                <a:gd name="connsiteX1" fmla="*/ 1079927 w 1514065"/>
                <a:gd name="connsiteY1" fmla="*/ 1272453 h 1418440"/>
                <a:gd name="connsiteX2" fmla="*/ 1079927 w 1514065"/>
                <a:gd name="connsiteY2" fmla="*/ 1294128 h 1418440"/>
                <a:gd name="connsiteX3" fmla="*/ 1111165 w 1514065"/>
                <a:gd name="connsiteY3" fmla="*/ 1389115 h 1418440"/>
                <a:gd name="connsiteX4" fmla="*/ 1103515 w 1514065"/>
                <a:gd name="connsiteY4" fmla="*/ 1185115 h 1418440"/>
                <a:gd name="connsiteX5" fmla="*/ 1081840 w 1514065"/>
                <a:gd name="connsiteY5" fmla="*/ 1225915 h 1418440"/>
                <a:gd name="connsiteX6" fmla="*/ 1079290 w 1514065"/>
                <a:gd name="connsiteY6" fmla="*/ 1239303 h 1418440"/>
                <a:gd name="connsiteX7" fmla="*/ 1103515 w 1514065"/>
                <a:gd name="connsiteY7" fmla="*/ 1185115 h 1418440"/>
                <a:gd name="connsiteX8" fmla="*/ 1103515 w 1514065"/>
                <a:gd name="connsiteY8" fmla="*/ 1185115 h 1418440"/>
                <a:gd name="connsiteX9" fmla="*/ 1120727 w 1514065"/>
                <a:gd name="connsiteY9" fmla="*/ 1154515 h 1418440"/>
                <a:gd name="connsiteX10" fmla="*/ 1141127 w 1514065"/>
                <a:gd name="connsiteY10" fmla="*/ 1127102 h 1418440"/>
                <a:gd name="connsiteX11" fmla="*/ 1126465 w 1514065"/>
                <a:gd name="connsiteY11" fmla="*/ 1136665 h 1418440"/>
                <a:gd name="connsiteX12" fmla="*/ 1120727 w 1514065"/>
                <a:gd name="connsiteY12" fmla="*/ 1154515 h 1418440"/>
                <a:gd name="connsiteX13" fmla="*/ 1194040 w 1514065"/>
                <a:gd name="connsiteY13" fmla="*/ 1089490 h 1418440"/>
                <a:gd name="connsiteX14" fmla="*/ 1145590 w 1514065"/>
                <a:gd name="connsiteY14" fmla="*/ 1114352 h 1418440"/>
                <a:gd name="connsiteX15" fmla="*/ 1158977 w 1514065"/>
                <a:gd name="connsiteY15" fmla="*/ 1111802 h 1418440"/>
                <a:gd name="connsiteX16" fmla="*/ 1194040 w 1514065"/>
                <a:gd name="connsiteY16" fmla="*/ 1089490 h 1418440"/>
                <a:gd name="connsiteX17" fmla="*/ 1200415 w 1514065"/>
                <a:gd name="connsiteY17" fmla="*/ 1079927 h 1418440"/>
                <a:gd name="connsiteX18" fmla="*/ 1213803 w 1514065"/>
                <a:gd name="connsiteY18" fmla="*/ 1068452 h 1418440"/>
                <a:gd name="connsiteX19" fmla="*/ 1208702 w 1514065"/>
                <a:gd name="connsiteY19" fmla="*/ 1069727 h 1418440"/>
                <a:gd name="connsiteX20" fmla="*/ 1200415 w 1514065"/>
                <a:gd name="connsiteY20" fmla="*/ 1079927 h 1418440"/>
                <a:gd name="connsiteX21" fmla="*/ 438601 w 1514065"/>
                <a:gd name="connsiteY21" fmla="*/ 2550 h 1418440"/>
                <a:gd name="connsiteX22" fmla="*/ 434138 w 1514065"/>
                <a:gd name="connsiteY22" fmla="*/ 1912 h 1418440"/>
                <a:gd name="connsiteX23" fmla="*/ 412463 w 1514065"/>
                <a:gd name="connsiteY23" fmla="*/ 604351 h 1418440"/>
                <a:gd name="connsiteX24" fmla="*/ 285601 w 1514065"/>
                <a:gd name="connsiteY24" fmla="*/ 598614 h 1418440"/>
                <a:gd name="connsiteX25" fmla="*/ 81600 w 1514065"/>
                <a:gd name="connsiteY25" fmla="*/ 587139 h 1418440"/>
                <a:gd name="connsiteX26" fmla="*/ 0 w 1514065"/>
                <a:gd name="connsiteY26" fmla="*/ 581401 h 1418440"/>
                <a:gd name="connsiteX27" fmla="*/ 15938 w 1514065"/>
                <a:gd name="connsiteY27" fmla="*/ 613276 h 1418440"/>
                <a:gd name="connsiteX28" fmla="*/ 16575 w 1514065"/>
                <a:gd name="connsiteY28" fmla="*/ 613914 h 1418440"/>
                <a:gd name="connsiteX29" fmla="*/ 86063 w 1514065"/>
                <a:gd name="connsiteY29" fmla="*/ 683401 h 1418440"/>
                <a:gd name="connsiteX30" fmla="*/ 125588 w 1514065"/>
                <a:gd name="connsiteY30" fmla="*/ 730577 h 1418440"/>
                <a:gd name="connsiteX31" fmla="*/ 178500 w 1514065"/>
                <a:gd name="connsiteY31" fmla="*/ 769464 h 1418440"/>
                <a:gd name="connsiteX32" fmla="*/ 215475 w 1514065"/>
                <a:gd name="connsiteY32" fmla="*/ 837677 h 1418440"/>
                <a:gd name="connsiteX33" fmla="*/ 229500 w 1514065"/>
                <a:gd name="connsiteY33" fmla="*/ 909077 h 1418440"/>
                <a:gd name="connsiteX34" fmla="*/ 260100 w 1514065"/>
                <a:gd name="connsiteY34" fmla="*/ 928839 h 1418440"/>
                <a:gd name="connsiteX35" fmla="*/ 283688 w 1514065"/>
                <a:gd name="connsiteY35" fmla="*/ 955615 h 1418440"/>
                <a:gd name="connsiteX36" fmla="*/ 317476 w 1514065"/>
                <a:gd name="connsiteY36" fmla="*/ 967727 h 1418440"/>
                <a:gd name="connsiteX37" fmla="*/ 367201 w 1514065"/>
                <a:gd name="connsiteY37" fmla="*/ 999602 h 1418440"/>
                <a:gd name="connsiteX38" fmla="*/ 389513 w 1514065"/>
                <a:gd name="connsiteY38" fmla="*/ 1007890 h 1418440"/>
                <a:gd name="connsiteX39" fmla="*/ 420751 w 1514065"/>
                <a:gd name="connsiteY39" fmla="*/ 976652 h 1418440"/>
                <a:gd name="connsiteX40" fmla="*/ 430951 w 1514065"/>
                <a:gd name="connsiteY40" fmla="*/ 943502 h 1418440"/>
                <a:gd name="connsiteX41" fmla="*/ 446888 w 1514065"/>
                <a:gd name="connsiteY41" fmla="*/ 911627 h 1418440"/>
                <a:gd name="connsiteX42" fmla="*/ 497251 w 1514065"/>
                <a:gd name="connsiteY42" fmla="*/ 891864 h 1418440"/>
                <a:gd name="connsiteX43" fmla="*/ 516376 w 1514065"/>
                <a:gd name="connsiteY43" fmla="*/ 902064 h 1418440"/>
                <a:gd name="connsiteX44" fmla="*/ 571839 w 1514065"/>
                <a:gd name="connsiteY44" fmla="*/ 906527 h 1418440"/>
                <a:gd name="connsiteX45" fmla="*/ 622839 w 1514065"/>
                <a:gd name="connsiteY45" fmla="*/ 938402 h 1418440"/>
                <a:gd name="connsiteX46" fmla="*/ 657264 w 1514065"/>
                <a:gd name="connsiteY46" fmla="*/ 944777 h 1418440"/>
                <a:gd name="connsiteX47" fmla="*/ 647064 w 1514065"/>
                <a:gd name="connsiteY47" fmla="*/ 962627 h 1418440"/>
                <a:gd name="connsiteX48" fmla="*/ 666826 w 1514065"/>
                <a:gd name="connsiteY48" fmla="*/ 975377 h 1418440"/>
                <a:gd name="connsiteX49" fmla="*/ 685314 w 1514065"/>
                <a:gd name="connsiteY49" fmla="*/ 997690 h 1418440"/>
                <a:gd name="connsiteX50" fmla="*/ 689139 w 1514065"/>
                <a:gd name="connsiteY50" fmla="*/ 1021277 h 1418440"/>
                <a:gd name="connsiteX51" fmla="*/ 701251 w 1514065"/>
                <a:gd name="connsiteY51" fmla="*/ 1037215 h 1418440"/>
                <a:gd name="connsiteX52" fmla="*/ 729939 w 1514065"/>
                <a:gd name="connsiteY52" fmla="*/ 1105427 h 1418440"/>
                <a:gd name="connsiteX53" fmla="*/ 758627 w 1514065"/>
                <a:gd name="connsiteY53" fmla="*/ 1129015 h 1418440"/>
                <a:gd name="connsiteX54" fmla="*/ 780302 w 1514065"/>
                <a:gd name="connsiteY54" fmla="*/ 1164715 h 1418440"/>
                <a:gd name="connsiteX55" fmla="*/ 808352 w 1514065"/>
                <a:gd name="connsiteY55" fmla="*/ 1193403 h 1418440"/>
                <a:gd name="connsiteX56" fmla="*/ 820464 w 1514065"/>
                <a:gd name="connsiteY56" fmla="*/ 1197227 h 1418440"/>
                <a:gd name="connsiteX57" fmla="*/ 831302 w 1514065"/>
                <a:gd name="connsiteY57" fmla="*/ 1270540 h 1418440"/>
                <a:gd name="connsiteX58" fmla="*/ 861902 w 1514065"/>
                <a:gd name="connsiteY58" fmla="*/ 1287115 h 1418440"/>
                <a:gd name="connsiteX59" fmla="*/ 863177 w 1514065"/>
                <a:gd name="connsiteY59" fmla="*/ 1310065 h 1418440"/>
                <a:gd name="connsiteX60" fmla="*/ 870827 w 1514065"/>
                <a:gd name="connsiteY60" fmla="*/ 1308153 h 1418440"/>
                <a:gd name="connsiteX61" fmla="*/ 923740 w 1514065"/>
                <a:gd name="connsiteY61" fmla="*/ 1372540 h 1418440"/>
                <a:gd name="connsiteX62" fmla="*/ 950514 w 1514065"/>
                <a:gd name="connsiteY62" fmla="*/ 1378278 h 1418440"/>
                <a:gd name="connsiteX63" fmla="*/ 983664 w 1514065"/>
                <a:gd name="connsiteY63" fmla="*/ 1398040 h 1418440"/>
                <a:gd name="connsiteX64" fmla="*/ 1035302 w 1514065"/>
                <a:gd name="connsiteY64" fmla="*/ 1398040 h 1418440"/>
                <a:gd name="connsiteX65" fmla="*/ 1072277 w 1514065"/>
                <a:gd name="connsiteY65" fmla="*/ 1418440 h 1418440"/>
                <a:gd name="connsiteX66" fmla="*/ 1116902 w 1514065"/>
                <a:gd name="connsiteY66" fmla="*/ 1408241 h 1418440"/>
                <a:gd name="connsiteX67" fmla="*/ 1097140 w 1514065"/>
                <a:gd name="connsiteY67" fmla="*/ 1389753 h 1418440"/>
                <a:gd name="connsiteX68" fmla="*/ 1079290 w 1514065"/>
                <a:gd name="connsiteY68" fmla="*/ 1335565 h 1418440"/>
                <a:gd name="connsiteX69" fmla="*/ 1072277 w 1514065"/>
                <a:gd name="connsiteY69" fmla="*/ 1288390 h 1418440"/>
                <a:gd name="connsiteX70" fmla="*/ 1061440 w 1514065"/>
                <a:gd name="connsiteY70" fmla="*/ 1273090 h 1418440"/>
                <a:gd name="connsiteX71" fmla="*/ 1065902 w 1514065"/>
                <a:gd name="connsiteY71" fmla="*/ 1241215 h 1418440"/>
                <a:gd name="connsiteX72" fmla="*/ 1052515 w 1514065"/>
                <a:gd name="connsiteY72" fmla="*/ 1239940 h 1418440"/>
                <a:gd name="connsiteX73" fmla="*/ 1034665 w 1514065"/>
                <a:gd name="connsiteY73" fmla="*/ 1209977 h 1418440"/>
                <a:gd name="connsiteX74" fmla="*/ 1055065 w 1514065"/>
                <a:gd name="connsiteY74" fmla="*/ 1231653 h 1418440"/>
                <a:gd name="connsiteX75" fmla="*/ 1078652 w 1514065"/>
                <a:gd name="connsiteY75" fmla="*/ 1223365 h 1418440"/>
                <a:gd name="connsiteX76" fmla="*/ 1091402 w 1514065"/>
                <a:gd name="connsiteY76" fmla="*/ 1189578 h 1418440"/>
                <a:gd name="connsiteX77" fmla="*/ 1065902 w 1514065"/>
                <a:gd name="connsiteY77" fmla="*/ 1155152 h 1418440"/>
                <a:gd name="connsiteX78" fmla="*/ 1104152 w 1514065"/>
                <a:gd name="connsiteY78" fmla="*/ 1159615 h 1418440"/>
                <a:gd name="connsiteX79" fmla="*/ 1122002 w 1514065"/>
                <a:gd name="connsiteY79" fmla="*/ 1131565 h 1418440"/>
                <a:gd name="connsiteX80" fmla="*/ 1119452 w 1514065"/>
                <a:gd name="connsiteY80" fmla="*/ 1121365 h 1418440"/>
                <a:gd name="connsiteX81" fmla="*/ 1135390 w 1514065"/>
                <a:gd name="connsiteY81" fmla="*/ 1100327 h 1418440"/>
                <a:gd name="connsiteX82" fmla="*/ 1131565 w 1514065"/>
                <a:gd name="connsiteY82" fmla="*/ 1118815 h 1418440"/>
                <a:gd name="connsiteX83" fmla="*/ 1149415 w 1514065"/>
                <a:gd name="connsiteY83" fmla="*/ 1104790 h 1418440"/>
                <a:gd name="connsiteX84" fmla="*/ 1142402 w 1514065"/>
                <a:gd name="connsiteY84" fmla="*/ 1079927 h 1418440"/>
                <a:gd name="connsiteX85" fmla="*/ 1165352 w 1514065"/>
                <a:gd name="connsiteY85" fmla="*/ 1092040 h 1418440"/>
                <a:gd name="connsiteX86" fmla="*/ 1195315 w 1514065"/>
                <a:gd name="connsiteY86" fmla="*/ 1075465 h 1418440"/>
                <a:gd name="connsiteX87" fmla="*/ 1165990 w 1514065"/>
                <a:gd name="connsiteY87" fmla="*/ 1044865 h 1418440"/>
                <a:gd name="connsiteX88" fmla="*/ 1183840 w 1514065"/>
                <a:gd name="connsiteY88" fmla="*/ 1051877 h 1418440"/>
                <a:gd name="connsiteX89" fmla="*/ 1216990 w 1514065"/>
                <a:gd name="connsiteY89" fmla="*/ 1053790 h 1418440"/>
                <a:gd name="connsiteX90" fmla="*/ 1260978 w 1514065"/>
                <a:gd name="connsiteY90" fmla="*/ 1043590 h 1418440"/>
                <a:gd name="connsiteX91" fmla="*/ 1310065 w 1514065"/>
                <a:gd name="connsiteY91" fmla="*/ 1010440 h 1418440"/>
                <a:gd name="connsiteX92" fmla="*/ 1340028 w 1514065"/>
                <a:gd name="connsiteY92" fmla="*/ 986215 h 1418440"/>
                <a:gd name="connsiteX93" fmla="*/ 1344490 w 1514065"/>
                <a:gd name="connsiteY93" fmla="*/ 968365 h 1418440"/>
                <a:gd name="connsiteX94" fmla="*/ 1362340 w 1514065"/>
                <a:gd name="connsiteY94" fmla="*/ 949877 h 1418440"/>
                <a:gd name="connsiteX95" fmla="*/ 1352140 w 1514065"/>
                <a:gd name="connsiteY95" fmla="*/ 918640 h 1418440"/>
                <a:gd name="connsiteX96" fmla="*/ 1354053 w 1514065"/>
                <a:gd name="connsiteY96" fmla="*/ 899515 h 1418440"/>
                <a:gd name="connsiteX97" fmla="*/ 1386565 w 1514065"/>
                <a:gd name="connsiteY97" fmla="*/ 885489 h 1418440"/>
                <a:gd name="connsiteX98" fmla="*/ 1384015 w 1514065"/>
                <a:gd name="connsiteY98" fmla="*/ 919277 h 1418440"/>
                <a:gd name="connsiteX99" fmla="*/ 1403140 w 1514065"/>
                <a:gd name="connsiteY99" fmla="*/ 919277 h 1418440"/>
                <a:gd name="connsiteX100" fmla="*/ 1382103 w 1514065"/>
                <a:gd name="connsiteY100" fmla="*/ 937127 h 1418440"/>
                <a:gd name="connsiteX101" fmla="*/ 1467528 w 1514065"/>
                <a:gd name="connsiteY101" fmla="*/ 891864 h 1418440"/>
                <a:gd name="connsiteX102" fmla="*/ 1481553 w 1514065"/>
                <a:gd name="connsiteY102" fmla="*/ 891227 h 1418440"/>
                <a:gd name="connsiteX103" fmla="*/ 1491116 w 1514065"/>
                <a:gd name="connsiteY103" fmla="*/ 850427 h 1418440"/>
                <a:gd name="connsiteX104" fmla="*/ 1493665 w 1514065"/>
                <a:gd name="connsiteY104" fmla="*/ 850427 h 1418440"/>
                <a:gd name="connsiteX105" fmla="*/ 1503866 w 1514065"/>
                <a:gd name="connsiteY105" fmla="*/ 826839 h 1418440"/>
                <a:gd name="connsiteX106" fmla="*/ 1508328 w 1514065"/>
                <a:gd name="connsiteY106" fmla="*/ 753527 h 1418440"/>
                <a:gd name="connsiteX107" fmla="*/ 1514066 w 1514065"/>
                <a:gd name="connsiteY107" fmla="*/ 723564 h 1418440"/>
                <a:gd name="connsiteX108" fmla="*/ 1497491 w 1514065"/>
                <a:gd name="connsiteY108" fmla="*/ 670651 h 1418440"/>
                <a:gd name="connsiteX109" fmla="*/ 1477091 w 1514065"/>
                <a:gd name="connsiteY109" fmla="*/ 634952 h 1418440"/>
                <a:gd name="connsiteX110" fmla="*/ 1476453 w 1514065"/>
                <a:gd name="connsiteY110" fmla="*/ 617739 h 1418440"/>
                <a:gd name="connsiteX111" fmla="*/ 1455415 w 1514065"/>
                <a:gd name="connsiteY111" fmla="*/ 587776 h 1418440"/>
                <a:gd name="connsiteX112" fmla="*/ 1442665 w 1514065"/>
                <a:gd name="connsiteY112" fmla="*/ 464101 h 1418440"/>
                <a:gd name="connsiteX113" fmla="*/ 1442028 w 1514065"/>
                <a:gd name="connsiteY113" fmla="*/ 448801 h 1418440"/>
                <a:gd name="connsiteX114" fmla="*/ 1440753 w 1514065"/>
                <a:gd name="connsiteY114" fmla="*/ 432864 h 1418440"/>
                <a:gd name="connsiteX115" fmla="*/ 1436928 w 1514065"/>
                <a:gd name="connsiteY115" fmla="*/ 376764 h 1418440"/>
                <a:gd name="connsiteX116" fmla="*/ 1398678 w 1514065"/>
                <a:gd name="connsiteY116" fmla="*/ 378038 h 1418440"/>
                <a:gd name="connsiteX117" fmla="*/ 1388478 w 1514065"/>
                <a:gd name="connsiteY117" fmla="*/ 367201 h 1418440"/>
                <a:gd name="connsiteX118" fmla="*/ 1386565 w 1514065"/>
                <a:gd name="connsiteY118" fmla="*/ 366563 h 1418440"/>
                <a:gd name="connsiteX119" fmla="*/ 1385928 w 1514065"/>
                <a:gd name="connsiteY119" fmla="*/ 366563 h 1418440"/>
                <a:gd name="connsiteX120" fmla="*/ 1361065 w 1514065"/>
                <a:gd name="connsiteY120" fmla="*/ 362101 h 1418440"/>
                <a:gd name="connsiteX121" fmla="*/ 1331740 w 1514065"/>
                <a:gd name="connsiteY121" fmla="*/ 343613 h 1418440"/>
                <a:gd name="connsiteX122" fmla="*/ 1299228 w 1514065"/>
                <a:gd name="connsiteY122" fmla="*/ 330226 h 1418440"/>
                <a:gd name="connsiteX123" fmla="*/ 1239303 w 1514065"/>
                <a:gd name="connsiteY123" fmla="*/ 348713 h 1418440"/>
                <a:gd name="connsiteX124" fmla="*/ 1223365 w 1514065"/>
                <a:gd name="connsiteY124" fmla="*/ 344888 h 1418440"/>
                <a:gd name="connsiteX125" fmla="*/ 1203602 w 1514065"/>
                <a:gd name="connsiteY125" fmla="*/ 352538 h 1418440"/>
                <a:gd name="connsiteX126" fmla="*/ 1179377 w 1514065"/>
                <a:gd name="connsiteY126" fmla="*/ 372301 h 1418440"/>
                <a:gd name="connsiteX127" fmla="*/ 1113715 w 1514065"/>
                <a:gd name="connsiteY127" fmla="*/ 341063 h 1418440"/>
                <a:gd name="connsiteX128" fmla="*/ 1093315 w 1514065"/>
                <a:gd name="connsiteY128" fmla="*/ 369751 h 1418440"/>
                <a:gd name="connsiteX129" fmla="*/ 1062715 w 1514065"/>
                <a:gd name="connsiteY129" fmla="*/ 358276 h 1418440"/>
                <a:gd name="connsiteX130" fmla="*/ 1030202 w 1514065"/>
                <a:gd name="connsiteY130" fmla="*/ 337876 h 1418440"/>
                <a:gd name="connsiteX131" fmla="*/ 1012990 w 1514065"/>
                <a:gd name="connsiteY131" fmla="*/ 352538 h 1418440"/>
                <a:gd name="connsiteX132" fmla="*/ 996414 w 1514065"/>
                <a:gd name="connsiteY132" fmla="*/ 353176 h 1418440"/>
                <a:gd name="connsiteX133" fmla="*/ 996414 w 1514065"/>
                <a:gd name="connsiteY133" fmla="*/ 341063 h 1418440"/>
                <a:gd name="connsiteX134" fmla="*/ 951152 w 1514065"/>
                <a:gd name="connsiteY134" fmla="*/ 320026 h 1418440"/>
                <a:gd name="connsiteX135" fmla="*/ 933302 w 1514065"/>
                <a:gd name="connsiteY135" fmla="*/ 328313 h 1418440"/>
                <a:gd name="connsiteX136" fmla="*/ 923740 w 1514065"/>
                <a:gd name="connsiteY136" fmla="*/ 317476 h 1418440"/>
                <a:gd name="connsiteX137" fmla="*/ 874014 w 1514065"/>
                <a:gd name="connsiteY137" fmla="*/ 312376 h 1418440"/>
                <a:gd name="connsiteX138" fmla="*/ 836402 w 1514065"/>
                <a:gd name="connsiteY138" fmla="*/ 277951 h 1418440"/>
                <a:gd name="connsiteX139" fmla="*/ 830664 w 1514065"/>
                <a:gd name="connsiteY139" fmla="*/ 289426 h 1418440"/>
                <a:gd name="connsiteX140" fmla="*/ 802614 w 1514065"/>
                <a:gd name="connsiteY140" fmla="*/ 288151 h 1418440"/>
                <a:gd name="connsiteX141" fmla="*/ 777114 w 1514065"/>
                <a:gd name="connsiteY141" fmla="*/ 263926 h 1418440"/>
                <a:gd name="connsiteX142" fmla="*/ 765639 w 1514065"/>
                <a:gd name="connsiteY142" fmla="*/ 225676 h 1418440"/>
                <a:gd name="connsiteX143" fmla="*/ 763726 w 1514065"/>
                <a:gd name="connsiteY143" fmla="*/ 5738 h 1418440"/>
                <a:gd name="connsiteX144" fmla="*/ 599889 w 1514065"/>
                <a:gd name="connsiteY144" fmla="*/ 3825 h 1418440"/>
                <a:gd name="connsiteX145" fmla="*/ 444338 w 1514065"/>
                <a:gd name="connsiteY145" fmla="*/ 0 h 1418440"/>
                <a:gd name="connsiteX146" fmla="*/ 438601 w 1514065"/>
                <a:gd name="connsiteY146" fmla="*/ 2550 h 1418440"/>
                <a:gd name="connsiteX147" fmla="*/ 438601 w 1514065"/>
                <a:gd name="connsiteY147" fmla="*/ 2550 h 14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14065" h="1418440">
                  <a:moveTo>
                    <a:pt x="1111165" y="1389115"/>
                  </a:moveTo>
                  <a:lnTo>
                    <a:pt x="1079927" y="1272453"/>
                  </a:lnTo>
                  <a:lnTo>
                    <a:pt x="1079927" y="1294128"/>
                  </a:lnTo>
                  <a:lnTo>
                    <a:pt x="1111165" y="1389115"/>
                  </a:lnTo>
                  <a:close/>
                  <a:moveTo>
                    <a:pt x="1103515" y="1185115"/>
                  </a:moveTo>
                  <a:lnTo>
                    <a:pt x="1081840" y="1225915"/>
                  </a:lnTo>
                  <a:lnTo>
                    <a:pt x="1079290" y="1239303"/>
                  </a:lnTo>
                  <a:lnTo>
                    <a:pt x="1103515" y="1185115"/>
                  </a:lnTo>
                  <a:lnTo>
                    <a:pt x="1103515" y="1185115"/>
                  </a:lnTo>
                  <a:close/>
                  <a:moveTo>
                    <a:pt x="1120727" y="1154515"/>
                  </a:moveTo>
                  <a:lnTo>
                    <a:pt x="1141127" y="1127102"/>
                  </a:lnTo>
                  <a:lnTo>
                    <a:pt x="1126465" y="1136665"/>
                  </a:lnTo>
                  <a:lnTo>
                    <a:pt x="1120727" y="1154515"/>
                  </a:lnTo>
                  <a:close/>
                  <a:moveTo>
                    <a:pt x="1194040" y="1089490"/>
                  </a:moveTo>
                  <a:lnTo>
                    <a:pt x="1145590" y="1114352"/>
                  </a:lnTo>
                  <a:lnTo>
                    <a:pt x="1158977" y="1111802"/>
                  </a:lnTo>
                  <a:lnTo>
                    <a:pt x="1194040" y="1089490"/>
                  </a:lnTo>
                  <a:close/>
                  <a:moveTo>
                    <a:pt x="1200415" y="1079927"/>
                  </a:moveTo>
                  <a:lnTo>
                    <a:pt x="1213803" y="1068452"/>
                  </a:lnTo>
                  <a:lnTo>
                    <a:pt x="1208702" y="1069727"/>
                  </a:lnTo>
                  <a:lnTo>
                    <a:pt x="1200415" y="1079927"/>
                  </a:lnTo>
                  <a:close/>
                  <a:moveTo>
                    <a:pt x="438601" y="2550"/>
                  </a:moveTo>
                  <a:lnTo>
                    <a:pt x="434138" y="1912"/>
                  </a:lnTo>
                  <a:lnTo>
                    <a:pt x="412463" y="604351"/>
                  </a:lnTo>
                  <a:lnTo>
                    <a:pt x="285601" y="598614"/>
                  </a:lnTo>
                  <a:lnTo>
                    <a:pt x="81600" y="587139"/>
                  </a:lnTo>
                  <a:lnTo>
                    <a:pt x="0" y="581401"/>
                  </a:lnTo>
                  <a:lnTo>
                    <a:pt x="15938" y="613276"/>
                  </a:lnTo>
                  <a:lnTo>
                    <a:pt x="16575" y="613914"/>
                  </a:lnTo>
                  <a:lnTo>
                    <a:pt x="86063" y="683401"/>
                  </a:lnTo>
                  <a:lnTo>
                    <a:pt x="125588" y="730577"/>
                  </a:lnTo>
                  <a:lnTo>
                    <a:pt x="178500" y="769464"/>
                  </a:lnTo>
                  <a:lnTo>
                    <a:pt x="215475" y="837677"/>
                  </a:lnTo>
                  <a:lnTo>
                    <a:pt x="229500" y="909077"/>
                  </a:lnTo>
                  <a:lnTo>
                    <a:pt x="260100" y="928839"/>
                  </a:lnTo>
                  <a:lnTo>
                    <a:pt x="283688" y="955615"/>
                  </a:lnTo>
                  <a:lnTo>
                    <a:pt x="317476" y="967727"/>
                  </a:lnTo>
                  <a:lnTo>
                    <a:pt x="367201" y="999602"/>
                  </a:lnTo>
                  <a:lnTo>
                    <a:pt x="389513" y="1007890"/>
                  </a:lnTo>
                  <a:lnTo>
                    <a:pt x="420751" y="976652"/>
                  </a:lnTo>
                  <a:lnTo>
                    <a:pt x="430951" y="943502"/>
                  </a:lnTo>
                  <a:lnTo>
                    <a:pt x="446888" y="911627"/>
                  </a:lnTo>
                  <a:lnTo>
                    <a:pt x="497251" y="891864"/>
                  </a:lnTo>
                  <a:lnTo>
                    <a:pt x="516376" y="902064"/>
                  </a:lnTo>
                  <a:lnTo>
                    <a:pt x="571839" y="906527"/>
                  </a:lnTo>
                  <a:lnTo>
                    <a:pt x="622839" y="938402"/>
                  </a:lnTo>
                  <a:lnTo>
                    <a:pt x="657264" y="944777"/>
                  </a:lnTo>
                  <a:lnTo>
                    <a:pt x="647064" y="962627"/>
                  </a:lnTo>
                  <a:lnTo>
                    <a:pt x="666826" y="975377"/>
                  </a:lnTo>
                  <a:lnTo>
                    <a:pt x="685314" y="997690"/>
                  </a:lnTo>
                  <a:lnTo>
                    <a:pt x="689139" y="1021277"/>
                  </a:lnTo>
                  <a:lnTo>
                    <a:pt x="701251" y="1037215"/>
                  </a:lnTo>
                  <a:lnTo>
                    <a:pt x="729939" y="1105427"/>
                  </a:lnTo>
                  <a:lnTo>
                    <a:pt x="758627" y="1129015"/>
                  </a:lnTo>
                  <a:lnTo>
                    <a:pt x="780302" y="1164715"/>
                  </a:lnTo>
                  <a:lnTo>
                    <a:pt x="808352" y="1193403"/>
                  </a:lnTo>
                  <a:lnTo>
                    <a:pt x="820464" y="1197227"/>
                  </a:lnTo>
                  <a:lnTo>
                    <a:pt x="831302" y="1270540"/>
                  </a:lnTo>
                  <a:lnTo>
                    <a:pt x="861902" y="1287115"/>
                  </a:lnTo>
                  <a:lnTo>
                    <a:pt x="863177" y="1310065"/>
                  </a:lnTo>
                  <a:lnTo>
                    <a:pt x="870827" y="1308153"/>
                  </a:lnTo>
                  <a:lnTo>
                    <a:pt x="923740" y="1372540"/>
                  </a:lnTo>
                  <a:lnTo>
                    <a:pt x="950514" y="1378278"/>
                  </a:lnTo>
                  <a:lnTo>
                    <a:pt x="983664" y="1398040"/>
                  </a:lnTo>
                  <a:lnTo>
                    <a:pt x="1035302" y="1398040"/>
                  </a:lnTo>
                  <a:lnTo>
                    <a:pt x="1072277" y="1418440"/>
                  </a:lnTo>
                  <a:lnTo>
                    <a:pt x="1116902" y="1408241"/>
                  </a:lnTo>
                  <a:lnTo>
                    <a:pt x="1097140" y="1389753"/>
                  </a:lnTo>
                  <a:lnTo>
                    <a:pt x="1079290" y="1335565"/>
                  </a:lnTo>
                  <a:lnTo>
                    <a:pt x="1072277" y="1288390"/>
                  </a:lnTo>
                  <a:lnTo>
                    <a:pt x="1061440" y="1273090"/>
                  </a:lnTo>
                  <a:lnTo>
                    <a:pt x="1065902" y="1241215"/>
                  </a:lnTo>
                  <a:lnTo>
                    <a:pt x="1052515" y="1239940"/>
                  </a:lnTo>
                  <a:lnTo>
                    <a:pt x="1034665" y="1209977"/>
                  </a:lnTo>
                  <a:lnTo>
                    <a:pt x="1055065" y="1231653"/>
                  </a:lnTo>
                  <a:lnTo>
                    <a:pt x="1078652" y="1223365"/>
                  </a:lnTo>
                  <a:lnTo>
                    <a:pt x="1091402" y="1189578"/>
                  </a:lnTo>
                  <a:lnTo>
                    <a:pt x="1065902" y="1155152"/>
                  </a:lnTo>
                  <a:lnTo>
                    <a:pt x="1104152" y="1159615"/>
                  </a:lnTo>
                  <a:lnTo>
                    <a:pt x="1122002" y="1131565"/>
                  </a:lnTo>
                  <a:lnTo>
                    <a:pt x="1119452" y="1121365"/>
                  </a:lnTo>
                  <a:lnTo>
                    <a:pt x="1135390" y="1100327"/>
                  </a:lnTo>
                  <a:lnTo>
                    <a:pt x="1131565" y="1118815"/>
                  </a:lnTo>
                  <a:lnTo>
                    <a:pt x="1149415" y="1104790"/>
                  </a:lnTo>
                  <a:lnTo>
                    <a:pt x="1142402" y="1079927"/>
                  </a:lnTo>
                  <a:lnTo>
                    <a:pt x="1165352" y="1092040"/>
                  </a:lnTo>
                  <a:lnTo>
                    <a:pt x="1195315" y="1075465"/>
                  </a:lnTo>
                  <a:lnTo>
                    <a:pt x="1165990" y="1044865"/>
                  </a:lnTo>
                  <a:lnTo>
                    <a:pt x="1183840" y="1051877"/>
                  </a:lnTo>
                  <a:lnTo>
                    <a:pt x="1216990" y="1053790"/>
                  </a:lnTo>
                  <a:lnTo>
                    <a:pt x="1260978" y="1043590"/>
                  </a:lnTo>
                  <a:lnTo>
                    <a:pt x="1310065" y="1010440"/>
                  </a:lnTo>
                  <a:lnTo>
                    <a:pt x="1340028" y="986215"/>
                  </a:lnTo>
                  <a:lnTo>
                    <a:pt x="1344490" y="968365"/>
                  </a:lnTo>
                  <a:lnTo>
                    <a:pt x="1362340" y="949877"/>
                  </a:lnTo>
                  <a:lnTo>
                    <a:pt x="1352140" y="918640"/>
                  </a:lnTo>
                  <a:lnTo>
                    <a:pt x="1354053" y="899515"/>
                  </a:lnTo>
                  <a:lnTo>
                    <a:pt x="1386565" y="885489"/>
                  </a:lnTo>
                  <a:lnTo>
                    <a:pt x="1384015" y="919277"/>
                  </a:lnTo>
                  <a:lnTo>
                    <a:pt x="1403140" y="919277"/>
                  </a:lnTo>
                  <a:lnTo>
                    <a:pt x="1382103" y="937127"/>
                  </a:lnTo>
                  <a:lnTo>
                    <a:pt x="1467528" y="891864"/>
                  </a:lnTo>
                  <a:lnTo>
                    <a:pt x="1481553" y="891227"/>
                  </a:lnTo>
                  <a:lnTo>
                    <a:pt x="1491116" y="850427"/>
                  </a:lnTo>
                  <a:lnTo>
                    <a:pt x="1493665" y="850427"/>
                  </a:lnTo>
                  <a:lnTo>
                    <a:pt x="1503866" y="826839"/>
                  </a:lnTo>
                  <a:lnTo>
                    <a:pt x="1508328" y="753527"/>
                  </a:lnTo>
                  <a:lnTo>
                    <a:pt x="1514066" y="723564"/>
                  </a:lnTo>
                  <a:lnTo>
                    <a:pt x="1497491" y="670651"/>
                  </a:lnTo>
                  <a:lnTo>
                    <a:pt x="1477091" y="634952"/>
                  </a:lnTo>
                  <a:lnTo>
                    <a:pt x="1476453" y="617739"/>
                  </a:lnTo>
                  <a:lnTo>
                    <a:pt x="1455415" y="587776"/>
                  </a:lnTo>
                  <a:lnTo>
                    <a:pt x="1442665" y="464101"/>
                  </a:lnTo>
                  <a:lnTo>
                    <a:pt x="1442028" y="448801"/>
                  </a:lnTo>
                  <a:lnTo>
                    <a:pt x="1440753" y="432864"/>
                  </a:lnTo>
                  <a:lnTo>
                    <a:pt x="1436928" y="376764"/>
                  </a:lnTo>
                  <a:lnTo>
                    <a:pt x="1398678" y="378038"/>
                  </a:lnTo>
                  <a:lnTo>
                    <a:pt x="1388478" y="367201"/>
                  </a:lnTo>
                  <a:lnTo>
                    <a:pt x="1386565" y="366563"/>
                  </a:lnTo>
                  <a:lnTo>
                    <a:pt x="1385928" y="366563"/>
                  </a:lnTo>
                  <a:lnTo>
                    <a:pt x="1361065" y="362101"/>
                  </a:lnTo>
                  <a:lnTo>
                    <a:pt x="1331740" y="343613"/>
                  </a:lnTo>
                  <a:lnTo>
                    <a:pt x="1299228" y="330226"/>
                  </a:lnTo>
                  <a:lnTo>
                    <a:pt x="1239303" y="348713"/>
                  </a:lnTo>
                  <a:lnTo>
                    <a:pt x="1223365" y="344888"/>
                  </a:lnTo>
                  <a:lnTo>
                    <a:pt x="1203602" y="352538"/>
                  </a:lnTo>
                  <a:lnTo>
                    <a:pt x="1179377" y="372301"/>
                  </a:lnTo>
                  <a:lnTo>
                    <a:pt x="1113715" y="341063"/>
                  </a:lnTo>
                  <a:lnTo>
                    <a:pt x="1093315" y="369751"/>
                  </a:lnTo>
                  <a:lnTo>
                    <a:pt x="1062715" y="358276"/>
                  </a:lnTo>
                  <a:lnTo>
                    <a:pt x="1030202" y="337876"/>
                  </a:lnTo>
                  <a:lnTo>
                    <a:pt x="1012990" y="352538"/>
                  </a:lnTo>
                  <a:lnTo>
                    <a:pt x="996414" y="353176"/>
                  </a:lnTo>
                  <a:lnTo>
                    <a:pt x="996414" y="341063"/>
                  </a:lnTo>
                  <a:lnTo>
                    <a:pt x="951152" y="320026"/>
                  </a:lnTo>
                  <a:lnTo>
                    <a:pt x="933302" y="328313"/>
                  </a:lnTo>
                  <a:lnTo>
                    <a:pt x="923740" y="317476"/>
                  </a:lnTo>
                  <a:lnTo>
                    <a:pt x="874014" y="312376"/>
                  </a:lnTo>
                  <a:lnTo>
                    <a:pt x="836402" y="277951"/>
                  </a:lnTo>
                  <a:lnTo>
                    <a:pt x="830664" y="289426"/>
                  </a:lnTo>
                  <a:lnTo>
                    <a:pt x="802614" y="288151"/>
                  </a:lnTo>
                  <a:lnTo>
                    <a:pt x="777114" y="263926"/>
                  </a:lnTo>
                  <a:lnTo>
                    <a:pt x="765639" y="225676"/>
                  </a:lnTo>
                  <a:lnTo>
                    <a:pt x="763726" y="5738"/>
                  </a:lnTo>
                  <a:lnTo>
                    <a:pt x="599889" y="3825"/>
                  </a:lnTo>
                  <a:lnTo>
                    <a:pt x="444338" y="0"/>
                  </a:lnTo>
                  <a:lnTo>
                    <a:pt x="438601" y="2550"/>
                  </a:lnTo>
                  <a:lnTo>
                    <a:pt x="438601" y="2550"/>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43" name="Freeform 42">
              <a:extLst>
                <a:ext uri="{FF2B5EF4-FFF2-40B4-BE49-F238E27FC236}">
                  <a16:creationId xmlns:a16="http://schemas.microsoft.com/office/drawing/2014/main" id="{769BCF2E-F64E-79FB-B636-5507EF84F225}"/>
                </a:ext>
              </a:extLst>
            </p:cNvPr>
            <p:cNvSpPr/>
            <p:nvPr/>
          </p:nvSpPr>
          <p:spPr>
            <a:xfrm>
              <a:off x="6950869" y="1809210"/>
              <a:ext cx="184237" cy="193162"/>
            </a:xfrm>
            <a:custGeom>
              <a:avLst/>
              <a:gdLst>
                <a:gd name="connsiteX0" fmla="*/ 157463 w 184237"/>
                <a:gd name="connsiteY0" fmla="*/ 0 h 193162"/>
                <a:gd name="connsiteX1" fmla="*/ 65025 w 184237"/>
                <a:gd name="connsiteY1" fmla="*/ 35063 h 193162"/>
                <a:gd name="connsiteX2" fmla="*/ 63750 w 184237"/>
                <a:gd name="connsiteY2" fmla="*/ 31875 h 193162"/>
                <a:gd name="connsiteX3" fmla="*/ 11475 w 184237"/>
                <a:gd name="connsiteY3" fmla="*/ 47175 h 193162"/>
                <a:gd name="connsiteX4" fmla="*/ 0 w 184237"/>
                <a:gd name="connsiteY4" fmla="*/ 50363 h 193162"/>
                <a:gd name="connsiteX5" fmla="*/ 1275 w 184237"/>
                <a:gd name="connsiteY5" fmla="*/ 56738 h 193162"/>
                <a:gd name="connsiteX6" fmla="*/ 25500 w 184237"/>
                <a:gd name="connsiteY6" fmla="*/ 151088 h 193162"/>
                <a:gd name="connsiteX7" fmla="*/ 33150 w 184237"/>
                <a:gd name="connsiteY7" fmla="*/ 161288 h 193162"/>
                <a:gd name="connsiteX8" fmla="*/ 16575 w 184237"/>
                <a:gd name="connsiteY8" fmla="*/ 181688 h 193162"/>
                <a:gd name="connsiteX9" fmla="*/ 28050 w 184237"/>
                <a:gd name="connsiteY9" fmla="*/ 193163 h 193162"/>
                <a:gd name="connsiteX10" fmla="*/ 28050 w 184237"/>
                <a:gd name="connsiteY10" fmla="*/ 193163 h 193162"/>
                <a:gd name="connsiteX11" fmla="*/ 65025 w 184237"/>
                <a:gd name="connsiteY11" fmla="*/ 157463 h 193162"/>
                <a:gd name="connsiteX12" fmla="*/ 84788 w 184237"/>
                <a:gd name="connsiteY12" fmla="*/ 129413 h 193162"/>
                <a:gd name="connsiteX13" fmla="*/ 88612 w 184237"/>
                <a:gd name="connsiteY13" fmla="*/ 137063 h 193162"/>
                <a:gd name="connsiteX14" fmla="*/ 182325 w 184237"/>
                <a:gd name="connsiteY14" fmla="*/ 95625 h 193162"/>
                <a:gd name="connsiteX15" fmla="*/ 184238 w 184237"/>
                <a:gd name="connsiteY15" fmla="*/ 93713 h 193162"/>
                <a:gd name="connsiteX16" fmla="*/ 183600 w 184237"/>
                <a:gd name="connsiteY16" fmla="*/ 78413 h 193162"/>
                <a:gd name="connsiteX17" fmla="*/ 179775 w 184237"/>
                <a:gd name="connsiteY17" fmla="*/ 65025 h 193162"/>
                <a:gd name="connsiteX18" fmla="*/ 160013 w 184237"/>
                <a:gd name="connsiteY18" fmla="*/ 9563 h 193162"/>
                <a:gd name="connsiteX19" fmla="*/ 157463 w 184237"/>
                <a:gd name="connsiteY19" fmla="*/ 2550 h 193162"/>
                <a:gd name="connsiteX20" fmla="*/ 157463 w 184237"/>
                <a:gd name="connsiteY20" fmla="*/ 0 h 193162"/>
                <a:gd name="connsiteX21" fmla="*/ 157463 w 184237"/>
                <a:gd name="connsiteY21" fmla="*/ 0 h 19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37" h="193162">
                  <a:moveTo>
                    <a:pt x="157463" y="0"/>
                  </a:moveTo>
                  <a:lnTo>
                    <a:pt x="65025" y="35063"/>
                  </a:lnTo>
                  <a:lnTo>
                    <a:pt x="63750" y="31875"/>
                  </a:lnTo>
                  <a:lnTo>
                    <a:pt x="11475" y="47175"/>
                  </a:lnTo>
                  <a:lnTo>
                    <a:pt x="0" y="50363"/>
                  </a:lnTo>
                  <a:lnTo>
                    <a:pt x="1275" y="56738"/>
                  </a:lnTo>
                  <a:lnTo>
                    <a:pt x="25500" y="151088"/>
                  </a:lnTo>
                  <a:lnTo>
                    <a:pt x="33150" y="161288"/>
                  </a:lnTo>
                  <a:lnTo>
                    <a:pt x="16575" y="181688"/>
                  </a:lnTo>
                  <a:lnTo>
                    <a:pt x="28050" y="193163"/>
                  </a:lnTo>
                  <a:lnTo>
                    <a:pt x="28050" y="193163"/>
                  </a:lnTo>
                  <a:lnTo>
                    <a:pt x="65025" y="157463"/>
                  </a:lnTo>
                  <a:lnTo>
                    <a:pt x="84788" y="129413"/>
                  </a:lnTo>
                  <a:lnTo>
                    <a:pt x="88612" y="137063"/>
                  </a:lnTo>
                  <a:lnTo>
                    <a:pt x="182325" y="95625"/>
                  </a:lnTo>
                  <a:lnTo>
                    <a:pt x="184238" y="93713"/>
                  </a:lnTo>
                  <a:lnTo>
                    <a:pt x="183600" y="78413"/>
                  </a:lnTo>
                  <a:lnTo>
                    <a:pt x="179775" y="65025"/>
                  </a:lnTo>
                  <a:lnTo>
                    <a:pt x="160013" y="9563"/>
                  </a:lnTo>
                  <a:lnTo>
                    <a:pt x="157463" y="2550"/>
                  </a:lnTo>
                  <a:lnTo>
                    <a:pt x="157463" y="0"/>
                  </a:lnTo>
                  <a:lnTo>
                    <a:pt x="157463"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44" name="Freeform 43">
              <a:extLst>
                <a:ext uri="{FF2B5EF4-FFF2-40B4-BE49-F238E27FC236}">
                  <a16:creationId xmlns:a16="http://schemas.microsoft.com/office/drawing/2014/main" id="{DC1A6DF0-F99B-2963-5E40-92FFA5CB8DEA}"/>
                </a:ext>
              </a:extLst>
            </p:cNvPr>
            <p:cNvSpPr/>
            <p:nvPr/>
          </p:nvSpPr>
          <p:spPr>
            <a:xfrm>
              <a:off x="6984019" y="1364234"/>
              <a:ext cx="177225" cy="374850"/>
            </a:xfrm>
            <a:custGeom>
              <a:avLst/>
              <a:gdLst>
                <a:gd name="connsiteX0" fmla="*/ 37613 w 177225"/>
                <a:gd name="connsiteY0" fmla="*/ 0 h 374850"/>
                <a:gd name="connsiteX1" fmla="*/ 29325 w 177225"/>
                <a:gd name="connsiteY1" fmla="*/ 10838 h 374850"/>
                <a:gd name="connsiteX2" fmla="*/ 19125 w 177225"/>
                <a:gd name="connsiteY2" fmla="*/ 8925 h 374850"/>
                <a:gd name="connsiteX3" fmla="*/ 14025 w 177225"/>
                <a:gd name="connsiteY3" fmla="*/ 51000 h 374850"/>
                <a:gd name="connsiteX4" fmla="*/ 14025 w 177225"/>
                <a:gd name="connsiteY4" fmla="*/ 51638 h 374850"/>
                <a:gd name="connsiteX5" fmla="*/ 29325 w 177225"/>
                <a:gd name="connsiteY5" fmla="*/ 109013 h 374850"/>
                <a:gd name="connsiteX6" fmla="*/ 28050 w 177225"/>
                <a:gd name="connsiteY6" fmla="*/ 120488 h 374850"/>
                <a:gd name="connsiteX7" fmla="*/ 0 w 177225"/>
                <a:gd name="connsiteY7" fmla="*/ 156825 h 374850"/>
                <a:gd name="connsiteX8" fmla="*/ 7013 w 177225"/>
                <a:gd name="connsiteY8" fmla="*/ 189976 h 374850"/>
                <a:gd name="connsiteX9" fmla="*/ 7013 w 177225"/>
                <a:gd name="connsiteY9" fmla="*/ 231413 h 374850"/>
                <a:gd name="connsiteX10" fmla="*/ 1913 w 177225"/>
                <a:gd name="connsiteY10" fmla="*/ 269663 h 374850"/>
                <a:gd name="connsiteX11" fmla="*/ 31238 w 177225"/>
                <a:gd name="connsiteY11" fmla="*/ 374851 h 374850"/>
                <a:gd name="connsiteX12" fmla="*/ 31238 w 177225"/>
                <a:gd name="connsiteY12" fmla="*/ 374851 h 374850"/>
                <a:gd name="connsiteX13" fmla="*/ 31238 w 177225"/>
                <a:gd name="connsiteY13" fmla="*/ 374851 h 374850"/>
                <a:gd name="connsiteX14" fmla="*/ 58013 w 177225"/>
                <a:gd name="connsiteY14" fmla="*/ 366563 h 374850"/>
                <a:gd name="connsiteX15" fmla="*/ 138976 w 177225"/>
                <a:gd name="connsiteY15" fmla="*/ 339151 h 374850"/>
                <a:gd name="connsiteX16" fmla="*/ 175313 w 177225"/>
                <a:gd name="connsiteY16" fmla="*/ 299626 h 374850"/>
                <a:gd name="connsiteX17" fmla="*/ 175313 w 177225"/>
                <a:gd name="connsiteY17" fmla="*/ 299626 h 374850"/>
                <a:gd name="connsiteX18" fmla="*/ 175313 w 177225"/>
                <a:gd name="connsiteY18" fmla="*/ 291338 h 374850"/>
                <a:gd name="connsiteX19" fmla="*/ 177226 w 177225"/>
                <a:gd name="connsiteY19" fmla="*/ 274763 h 374850"/>
                <a:gd name="connsiteX20" fmla="*/ 172763 w 177225"/>
                <a:gd name="connsiteY20" fmla="*/ 276676 h 374850"/>
                <a:gd name="connsiteX21" fmla="*/ 172125 w 177225"/>
                <a:gd name="connsiteY21" fmla="*/ 272851 h 374850"/>
                <a:gd name="connsiteX22" fmla="*/ 131963 w 177225"/>
                <a:gd name="connsiteY22" fmla="*/ 223125 h 374850"/>
                <a:gd name="connsiteX23" fmla="*/ 131963 w 177225"/>
                <a:gd name="connsiteY23" fmla="*/ 218663 h 374850"/>
                <a:gd name="connsiteX24" fmla="*/ 37613 w 177225"/>
                <a:gd name="connsiteY24" fmla="*/ 0 h 374850"/>
                <a:gd name="connsiteX25" fmla="*/ 37613 w 177225"/>
                <a:gd name="connsiteY25" fmla="*/ 0 h 3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225" h="374850">
                  <a:moveTo>
                    <a:pt x="37613" y="0"/>
                  </a:moveTo>
                  <a:lnTo>
                    <a:pt x="29325" y="10838"/>
                  </a:lnTo>
                  <a:lnTo>
                    <a:pt x="19125" y="8925"/>
                  </a:lnTo>
                  <a:lnTo>
                    <a:pt x="14025" y="51000"/>
                  </a:lnTo>
                  <a:lnTo>
                    <a:pt x="14025" y="51638"/>
                  </a:lnTo>
                  <a:lnTo>
                    <a:pt x="29325" y="109013"/>
                  </a:lnTo>
                  <a:lnTo>
                    <a:pt x="28050" y="120488"/>
                  </a:lnTo>
                  <a:lnTo>
                    <a:pt x="0" y="156825"/>
                  </a:lnTo>
                  <a:lnTo>
                    <a:pt x="7013" y="189976"/>
                  </a:lnTo>
                  <a:lnTo>
                    <a:pt x="7013" y="231413"/>
                  </a:lnTo>
                  <a:lnTo>
                    <a:pt x="1913" y="269663"/>
                  </a:lnTo>
                  <a:lnTo>
                    <a:pt x="31238" y="374851"/>
                  </a:lnTo>
                  <a:lnTo>
                    <a:pt x="31238" y="374851"/>
                  </a:lnTo>
                  <a:lnTo>
                    <a:pt x="31238" y="374851"/>
                  </a:lnTo>
                  <a:lnTo>
                    <a:pt x="58013" y="366563"/>
                  </a:lnTo>
                  <a:lnTo>
                    <a:pt x="138976" y="339151"/>
                  </a:lnTo>
                  <a:lnTo>
                    <a:pt x="175313" y="299626"/>
                  </a:lnTo>
                  <a:lnTo>
                    <a:pt x="175313" y="299626"/>
                  </a:lnTo>
                  <a:lnTo>
                    <a:pt x="175313" y="291338"/>
                  </a:lnTo>
                  <a:lnTo>
                    <a:pt x="177226" y="274763"/>
                  </a:lnTo>
                  <a:lnTo>
                    <a:pt x="172763" y="276676"/>
                  </a:lnTo>
                  <a:lnTo>
                    <a:pt x="172125" y="272851"/>
                  </a:lnTo>
                  <a:lnTo>
                    <a:pt x="131963" y="223125"/>
                  </a:lnTo>
                  <a:lnTo>
                    <a:pt x="131963" y="218663"/>
                  </a:lnTo>
                  <a:lnTo>
                    <a:pt x="37613" y="0"/>
                  </a:lnTo>
                  <a:lnTo>
                    <a:pt x="37613"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45" name="Freeform 44">
              <a:extLst>
                <a:ext uri="{FF2B5EF4-FFF2-40B4-BE49-F238E27FC236}">
                  <a16:creationId xmlns:a16="http://schemas.microsoft.com/office/drawing/2014/main" id="{85D103A9-DF5A-139E-F5D7-691B6AE21259}"/>
                </a:ext>
              </a:extLst>
            </p:cNvPr>
            <p:cNvSpPr/>
            <p:nvPr/>
          </p:nvSpPr>
          <p:spPr>
            <a:xfrm>
              <a:off x="7108969" y="1795185"/>
              <a:ext cx="85424" cy="106462"/>
            </a:xfrm>
            <a:custGeom>
              <a:avLst/>
              <a:gdLst>
                <a:gd name="connsiteX0" fmla="*/ 62475 w 85424"/>
                <a:gd name="connsiteY0" fmla="*/ 72038 h 106462"/>
                <a:gd name="connsiteX1" fmla="*/ 61838 w 85424"/>
                <a:gd name="connsiteY1" fmla="*/ 58650 h 106462"/>
                <a:gd name="connsiteX2" fmla="*/ 59925 w 85424"/>
                <a:gd name="connsiteY2" fmla="*/ 63750 h 106462"/>
                <a:gd name="connsiteX3" fmla="*/ 62475 w 85424"/>
                <a:gd name="connsiteY3" fmla="*/ 72038 h 106462"/>
                <a:gd name="connsiteX4" fmla="*/ 62475 w 85424"/>
                <a:gd name="connsiteY4" fmla="*/ 72038 h 106462"/>
                <a:gd name="connsiteX5" fmla="*/ 74588 w 85424"/>
                <a:gd name="connsiteY5" fmla="*/ 61838 h 106462"/>
                <a:gd name="connsiteX6" fmla="*/ 66300 w 85424"/>
                <a:gd name="connsiteY6" fmla="*/ 45900 h 106462"/>
                <a:gd name="connsiteX7" fmla="*/ 65663 w 85424"/>
                <a:gd name="connsiteY7" fmla="*/ 62475 h 106462"/>
                <a:gd name="connsiteX8" fmla="*/ 74588 w 85424"/>
                <a:gd name="connsiteY8" fmla="*/ 61838 h 106462"/>
                <a:gd name="connsiteX9" fmla="*/ 74588 w 85424"/>
                <a:gd name="connsiteY9" fmla="*/ 61838 h 106462"/>
                <a:gd name="connsiteX10" fmla="*/ 71400 w 85424"/>
                <a:gd name="connsiteY10" fmla="*/ 42075 h 106462"/>
                <a:gd name="connsiteX11" fmla="*/ 75862 w 85424"/>
                <a:gd name="connsiteY11" fmla="*/ 53550 h 106462"/>
                <a:gd name="connsiteX12" fmla="*/ 81600 w 85424"/>
                <a:gd name="connsiteY12" fmla="*/ 64388 h 106462"/>
                <a:gd name="connsiteX13" fmla="*/ 85425 w 85424"/>
                <a:gd name="connsiteY13" fmla="*/ 56738 h 106462"/>
                <a:gd name="connsiteX14" fmla="*/ 79688 w 85424"/>
                <a:gd name="connsiteY14" fmla="*/ 45263 h 106462"/>
                <a:gd name="connsiteX15" fmla="*/ 77775 w 85424"/>
                <a:gd name="connsiteY15" fmla="*/ 37613 h 106462"/>
                <a:gd name="connsiteX16" fmla="*/ 71400 w 85424"/>
                <a:gd name="connsiteY16" fmla="*/ 37613 h 106462"/>
                <a:gd name="connsiteX17" fmla="*/ 71400 w 85424"/>
                <a:gd name="connsiteY17" fmla="*/ 42075 h 106462"/>
                <a:gd name="connsiteX18" fmla="*/ 0 w 85424"/>
                <a:gd name="connsiteY18" fmla="*/ 15300 h 106462"/>
                <a:gd name="connsiteX19" fmla="*/ 2550 w 85424"/>
                <a:gd name="connsiteY19" fmla="*/ 22313 h 106462"/>
                <a:gd name="connsiteX20" fmla="*/ 22313 w 85424"/>
                <a:gd name="connsiteY20" fmla="*/ 77775 h 106462"/>
                <a:gd name="connsiteX21" fmla="*/ 26137 w 85424"/>
                <a:gd name="connsiteY21" fmla="*/ 91163 h 106462"/>
                <a:gd name="connsiteX22" fmla="*/ 26775 w 85424"/>
                <a:gd name="connsiteY22" fmla="*/ 106463 h 106462"/>
                <a:gd name="connsiteX23" fmla="*/ 28050 w 85424"/>
                <a:gd name="connsiteY23" fmla="*/ 104550 h 106462"/>
                <a:gd name="connsiteX24" fmla="*/ 59288 w 85424"/>
                <a:gd name="connsiteY24" fmla="*/ 80325 h 106462"/>
                <a:gd name="connsiteX25" fmla="*/ 53550 w 85424"/>
                <a:gd name="connsiteY25" fmla="*/ 36338 h 106462"/>
                <a:gd name="connsiteX26" fmla="*/ 66300 w 85424"/>
                <a:gd name="connsiteY26" fmla="*/ 33788 h 106462"/>
                <a:gd name="connsiteX27" fmla="*/ 66300 w 85424"/>
                <a:gd name="connsiteY27" fmla="*/ 33788 h 106462"/>
                <a:gd name="connsiteX28" fmla="*/ 37612 w 85424"/>
                <a:gd name="connsiteY28" fmla="*/ 0 h 106462"/>
                <a:gd name="connsiteX29" fmla="*/ 7650 w 85424"/>
                <a:gd name="connsiteY29" fmla="*/ 11475 h 106462"/>
                <a:gd name="connsiteX30" fmla="*/ 0 w 85424"/>
                <a:gd name="connsiteY30" fmla="*/ 15300 h 106462"/>
                <a:gd name="connsiteX31" fmla="*/ 0 w 85424"/>
                <a:gd name="connsiteY31" fmla="*/ 15300 h 1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424" h="106462">
                  <a:moveTo>
                    <a:pt x="62475" y="72038"/>
                  </a:moveTo>
                  <a:lnTo>
                    <a:pt x="61838" y="58650"/>
                  </a:lnTo>
                  <a:lnTo>
                    <a:pt x="59925" y="63750"/>
                  </a:lnTo>
                  <a:lnTo>
                    <a:pt x="62475" y="72038"/>
                  </a:lnTo>
                  <a:lnTo>
                    <a:pt x="62475" y="72038"/>
                  </a:lnTo>
                  <a:close/>
                  <a:moveTo>
                    <a:pt x="74588" y="61838"/>
                  </a:moveTo>
                  <a:lnTo>
                    <a:pt x="66300" y="45900"/>
                  </a:lnTo>
                  <a:lnTo>
                    <a:pt x="65663" y="62475"/>
                  </a:lnTo>
                  <a:lnTo>
                    <a:pt x="74588" y="61838"/>
                  </a:lnTo>
                  <a:lnTo>
                    <a:pt x="74588" y="61838"/>
                  </a:lnTo>
                  <a:close/>
                  <a:moveTo>
                    <a:pt x="71400" y="42075"/>
                  </a:moveTo>
                  <a:lnTo>
                    <a:pt x="75862" y="53550"/>
                  </a:lnTo>
                  <a:lnTo>
                    <a:pt x="81600" y="64388"/>
                  </a:lnTo>
                  <a:lnTo>
                    <a:pt x="85425" y="56738"/>
                  </a:lnTo>
                  <a:lnTo>
                    <a:pt x="79688" y="45263"/>
                  </a:lnTo>
                  <a:lnTo>
                    <a:pt x="77775" y="37613"/>
                  </a:lnTo>
                  <a:lnTo>
                    <a:pt x="71400" y="37613"/>
                  </a:lnTo>
                  <a:lnTo>
                    <a:pt x="71400" y="42075"/>
                  </a:lnTo>
                  <a:close/>
                  <a:moveTo>
                    <a:pt x="0" y="15300"/>
                  </a:moveTo>
                  <a:lnTo>
                    <a:pt x="2550" y="22313"/>
                  </a:lnTo>
                  <a:lnTo>
                    <a:pt x="22313" y="77775"/>
                  </a:lnTo>
                  <a:lnTo>
                    <a:pt x="26137" y="91163"/>
                  </a:lnTo>
                  <a:lnTo>
                    <a:pt x="26775" y="106463"/>
                  </a:lnTo>
                  <a:lnTo>
                    <a:pt x="28050" y="104550"/>
                  </a:lnTo>
                  <a:lnTo>
                    <a:pt x="59288" y="80325"/>
                  </a:lnTo>
                  <a:lnTo>
                    <a:pt x="53550" y="36338"/>
                  </a:lnTo>
                  <a:lnTo>
                    <a:pt x="66300" y="33788"/>
                  </a:lnTo>
                  <a:lnTo>
                    <a:pt x="66300" y="33788"/>
                  </a:lnTo>
                  <a:lnTo>
                    <a:pt x="37612" y="0"/>
                  </a:lnTo>
                  <a:lnTo>
                    <a:pt x="7650" y="11475"/>
                  </a:lnTo>
                  <a:lnTo>
                    <a:pt x="0" y="15300"/>
                  </a:lnTo>
                  <a:lnTo>
                    <a:pt x="0" y="1530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46" name="Freeform 45">
              <a:extLst>
                <a:ext uri="{FF2B5EF4-FFF2-40B4-BE49-F238E27FC236}">
                  <a16:creationId xmlns:a16="http://schemas.microsoft.com/office/drawing/2014/main" id="{DA285545-FC90-5AA2-7AB6-24E3365D27D5}"/>
                </a:ext>
              </a:extLst>
            </p:cNvPr>
            <p:cNvSpPr/>
            <p:nvPr/>
          </p:nvSpPr>
          <p:spPr>
            <a:xfrm>
              <a:off x="6836756" y="1417147"/>
              <a:ext cx="179137" cy="349988"/>
            </a:xfrm>
            <a:custGeom>
              <a:avLst/>
              <a:gdLst>
                <a:gd name="connsiteX0" fmla="*/ 179138 w 179137"/>
                <a:gd name="connsiteY0" fmla="*/ 323213 h 349988"/>
                <a:gd name="connsiteX1" fmla="*/ 149813 w 179137"/>
                <a:gd name="connsiteY1" fmla="*/ 218025 h 349988"/>
                <a:gd name="connsiteX2" fmla="*/ 154913 w 179137"/>
                <a:gd name="connsiteY2" fmla="*/ 179775 h 349988"/>
                <a:gd name="connsiteX3" fmla="*/ 154913 w 179137"/>
                <a:gd name="connsiteY3" fmla="*/ 138338 h 349988"/>
                <a:gd name="connsiteX4" fmla="*/ 147900 w 179137"/>
                <a:gd name="connsiteY4" fmla="*/ 105188 h 349988"/>
                <a:gd name="connsiteX5" fmla="*/ 175950 w 179137"/>
                <a:gd name="connsiteY5" fmla="*/ 68850 h 349988"/>
                <a:gd name="connsiteX6" fmla="*/ 177225 w 179137"/>
                <a:gd name="connsiteY6" fmla="*/ 57375 h 349988"/>
                <a:gd name="connsiteX7" fmla="*/ 161925 w 179137"/>
                <a:gd name="connsiteY7" fmla="*/ 0 h 349988"/>
                <a:gd name="connsiteX8" fmla="*/ 153638 w 179137"/>
                <a:gd name="connsiteY8" fmla="*/ 3188 h 349988"/>
                <a:gd name="connsiteX9" fmla="*/ 118575 w 179137"/>
                <a:gd name="connsiteY9" fmla="*/ 15938 h 349988"/>
                <a:gd name="connsiteX10" fmla="*/ 84150 w 179137"/>
                <a:gd name="connsiteY10" fmla="*/ 29325 h 349988"/>
                <a:gd name="connsiteX11" fmla="*/ 4463 w 179137"/>
                <a:gd name="connsiteY11" fmla="*/ 58650 h 349988"/>
                <a:gd name="connsiteX12" fmla="*/ 0 w 179137"/>
                <a:gd name="connsiteY12" fmla="*/ 59925 h 349988"/>
                <a:gd name="connsiteX13" fmla="*/ 29325 w 179137"/>
                <a:gd name="connsiteY13" fmla="*/ 127500 h 349988"/>
                <a:gd name="connsiteX14" fmla="*/ 39525 w 179137"/>
                <a:gd name="connsiteY14" fmla="*/ 191250 h 349988"/>
                <a:gd name="connsiteX15" fmla="*/ 73313 w 179137"/>
                <a:gd name="connsiteY15" fmla="*/ 244800 h 349988"/>
                <a:gd name="connsiteX16" fmla="*/ 105825 w 179137"/>
                <a:gd name="connsiteY16" fmla="*/ 349988 h 349988"/>
                <a:gd name="connsiteX17" fmla="*/ 107100 w 179137"/>
                <a:gd name="connsiteY17" fmla="*/ 349351 h 349988"/>
                <a:gd name="connsiteX18" fmla="*/ 112200 w 179137"/>
                <a:gd name="connsiteY18" fmla="*/ 347438 h 349988"/>
                <a:gd name="connsiteX19" fmla="*/ 126863 w 179137"/>
                <a:gd name="connsiteY19" fmla="*/ 342976 h 349988"/>
                <a:gd name="connsiteX20" fmla="*/ 139613 w 179137"/>
                <a:gd name="connsiteY20" fmla="*/ 338513 h 349988"/>
                <a:gd name="connsiteX21" fmla="*/ 175950 w 179137"/>
                <a:gd name="connsiteY21" fmla="*/ 327038 h 349988"/>
                <a:gd name="connsiteX22" fmla="*/ 179138 w 179137"/>
                <a:gd name="connsiteY22" fmla="*/ 323213 h 349988"/>
                <a:gd name="connsiteX23" fmla="*/ 179138 w 179137"/>
                <a:gd name="connsiteY23" fmla="*/ 323213 h 349988"/>
                <a:gd name="connsiteX24" fmla="*/ 179138 w 179137"/>
                <a:gd name="connsiteY24" fmla="*/ 323213 h 34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137" h="349988">
                  <a:moveTo>
                    <a:pt x="179138" y="323213"/>
                  </a:moveTo>
                  <a:lnTo>
                    <a:pt x="149813" y="218025"/>
                  </a:lnTo>
                  <a:lnTo>
                    <a:pt x="154913" y="179775"/>
                  </a:lnTo>
                  <a:lnTo>
                    <a:pt x="154913" y="138338"/>
                  </a:lnTo>
                  <a:lnTo>
                    <a:pt x="147900" y="105188"/>
                  </a:lnTo>
                  <a:lnTo>
                    <a:pt x="175950" y="68850"/>
                  </a:lnTo>
                  <a:lnTo>
                    <a:pt x="177225" y="57375"/>
                  </a:lnTo>
                  <a:lnTo>
                    <a:pt x="161925" y="0"/>
                  </a:lnTo>
                  <a:lnTo>
                    <a:pt x="153638" y="3188"/>
                  </a:lnTo>
                  <a:lnTo>
                    <a:pt x="118575" y="15938"/>
                  </a:lnTo>
                  <a:lnTo>
                    <a:pt x="84150" y="29325"/>
                  </a:lnTo>
                  <a:lnTo>
                    <a:pt x="4463" y="58650"/>
                  </a:lnTo>
                  <a:lnTo>
                    <a:pt x="0" y="59925"/>
                  </a:lnTo>
                  <a:lnTo>
                    <a:pt x="29325" y="127500"/>
                  </a:lnTo>
                  <a:lnTo>
                    <a:pt x="39525" y="191250"/>
                  </a:lnTo>
                  <a:lnTo>
                    <a:pt x="73313" y="244800"/>
                  </a:lnTo>
                  <a:lnTo>
                    <a:pt x="105825" y="349988"/>
                  </a:lnTo>
                  <a:lnTo>
                    <a:pt x="107100" y="349351"/>
                  </a:lnTo>
                  <a:lnTo>
                    <a:pt x="112200" y="347438"/>
                  </a:lnTo>
                  <a:lnTo>
                    <a:pt x="126863" y="342976"/>
                  </a:lnTo>
                  <a:lnTo>
                    <a:pt x="139613" y="338513"/>
                  </a:lnTo>
                  <a:lnTo>
                    <a:pt x="175950" y="327038"/>
                  </a:lnTo>
                  <a:lnTo>
                    <a:pt x="179138" y="323213"/>
                  </a:lnTo>
                  <a:lnTo>
                    <a:pt x="179138" y="323213"/>
                  </a:lnTo>
                  <a:lnTo>
                    <a:pt x="179138" y="3232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47" name="Freeform 46">
              <a:extLst>
                <a:ext uri="{FF2B5EF4-FFF2-40B4-BE49-F238E27FC236}">
                  <a16:creationId xmlns:a16="http://schemas.microsoft.com/office/drawing/2014/main" id="{65B5BD32-29B1-1738-FCB5-9027E62C1254}"/>
                </a:ext>
              </a:extLst>
            </p:cNvPr>
            <p:cNvSpPr/>
            <p:nvPr/>
          </p:nvSpPr>
          <p:spPr>
            <a:xfrm>
              <a:off x="5660566" y="3099513"/>
              <a:ext cx="429676" cy="664276"/>
            </a:xfrm>
            <a:custGeom>
              <a:avLst/>
              <a:gdLst>
                <a:gd name="connsiteX0" fmla="*/ 637 w 429676"/>
                <a:gd name="connsiteY0" fmla="*/ 43350 h 664276"/>
                <a:gd name="connsiteX1" fmla="*/ 3188 w 429676"/>
                <a:gd name="connsiteY1" fmla="*/ 48450 h 664276"/>
                <a:gd name="connsiteX2" fmla="*/ 12750 w 429676"/>
                <a:gd name="connsiteY2" fmla="*/ 54188 h 664276"/>
                <a:gd name="connsiteX3" fmla="*/ 16575 w 429676"/>
                <a:gd name="connsiteY3" fmla="*/ 317476 h 664276"/>
                <a:gd name="connsiteX4" fmla="*/ 17850 w 429676"/>
                <a:gd name="connsiteY4" fmla="*/ 461551 h 664276"/>
                <a:gd name="connsiteX5" fmla="*/ 51000 w 429676"/>
                <a:gd name="connsiteY5" fmla="*/ 659177 h 664276"/>
                <a:gd name="connsiteX6" fmla="*/ 53550 w 429676"/>
                <a:gd name="connsiteY6" fmla="*/ 658539 h 664276"/>
                <a:gd name="connsiteX7" fmla="*/ 82875 w 429676"/>
                <a:gd name="connsiteY7" fmla="*/ 664276 h 664276"/>
                <a:gd name="connsiteX8" fmla="*/ 90525 w 429676"/>
                <a:gd name="connsiteY8" fmla="*/ 607539 h 664276"/>
                <a:gd name="connsiteX9" fmla="*/ 103275 w 429676"/>
                <a:gd name="connsiteY9" fmla="*/ 640051 h 664276"/>
                <a:gd name="connsiteX10" fmla="*/ 124950 w 429676"/>
                <a:gd name="connsiteY10" fmla="*/ 659814 h 664276"/>
                <a:gd name="connsiteX11" fmla="*/ 166388 w 429676"/>
                <a:gd name="connsiteY11" fmla="*/ 635589 h 664276"/>
                <a:gd name="connsiteX12" fmla="*/ 161925 w 429676"/>
                <a:gd name="connsiteY12" fmla="*/ 631764 h 664276"/>
                <a:gd name="connsiteX13" fmla="*/ 163200 w 429676"/>
                <a:gd name="connsiteY13" fmla="*/ 632401 h 664276"/>
                <a:gd name="connsiteX14" fmla="*/ 133875 w 429676"/>
                <a:gd name="connsiteY14" fmla="*/ 566101 h 664276"/>
                <a:gd name="connsiteX15" fmla="*/ 411188 w 429676"/>
                <a:gd name="connsiteY15" fmla="*/ 520839 h 664276"/>
                <a:gd name="connsiteX16" fmla="*/ 429676 w 429676"/>
                <a:gd name="connsiteY16" fmla="*/ 517651 h 664276"/>
                <a:gd name="connsiteX17" fmla="*/ 429676 w 429676"/>
                <a:gd name="connsiteY17" fmla="*/ 517013 h 664276"/>
                <a:gd name="connsiteX18" fmla="*/ 412463 w 429676"/>
                <a:gd name="connsiteY18" fmla="*/ 483864 h 664276"/>
                <a:gd name="connsiteX19" fmla="*/ 411188 w 429676"/>
                <a:gd name="connsiteY19" fmla="*/ 436688 h 664276"/>
                <a:gd name="connsiteX20" fmla="*/ 397163 w 429676"/>
                <a:gd name="connsiteY20" fmla="*/ 411188 h 664276"/>
                <a:gd name="connsiteX21" fmla="*/ 404176 w 429676"/>
                <a:gd name="connsiteY21" fmla="*/ 360826 h 664276"/>
                <a:gd name="connsiteX22" fmla="*/ 415651 w 429676"/>
                <a:gd name="connsiteY22" fmla="*/ 348076 h 664276"/>
                <a:gd name="connsiteX23" fmla="*/ 367838 w 429676"/>
                <a:gd name="connsiteY23" fmla="*/ 263288 h 664276"/>
                <a:gd name="connsiteX24" fmla="*/ 281776 w 429676"/>
                <a:gd name="connsiteY24" fmla="*/ 1275 h 664276"/>
                <a:gd name="connsiteX25" fmla="*/ 281138 w 429676"/>
                <a:gd name="connsiteY25" fmla="*/ 0 h 664276"/>
                <a:gd name="connsiteX26" fmla="*/ 262013 w 429676"/>
                <a:gd name="connsiteY26" fmla="*/ 3188 h 664276"/>
                <a:gd name="connsiteX27" fmla="*/ 159375 w 429676"/>
                <a:gd name="connsiteY27" fmla="*/ 19762 h 664276"/>
                <a:gd name="connsiteX28" fmla="*/ 107738 w 429676"/>
                <a:gd name="connsiteY28" fmla="*/ 26137 h 664276"/>
                <a:gd name="connsiteX29" fmla="*/ 0 w 429676"/>
                <a:gd name="connsiteY29" fmla="*/ 40800 h 664276"/>
                <a:gd name="connsiteX30" fmla="*/ 637 w 429676"/>
                <a:gd name="connsiteY30" fmla="*/ 43350 h 664276"/>
                <a:gd name="connsiteX31" fmla="*/ 637 w 429676"/>
                <a:gd name="connsiteY31" fmla="*/ 43350 h 66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9676" h="664276">
                  <a:moveTo>
                    <a:pt x="637" y="43350"/>
                  </a:moveTo>
                  <a:lnTo>
                    <a:pt x="3188" y="48450"/>
                  </a:lnTo>
                  <a:lnTo>
                    <a:pt x="12750" y="54188"/>
                  </a:lnTo>
                  <a:lnTo>
                    <a:pt x="16575" y="317476"/>
                  </a:lnTo>
                  <a:lnTo>
                    <a:pt x="17850" y="461551"/>
                  </a:lnTo>
                  <a:lnTo>
                    <a:pt x="51000" y="659177"/>
                  </a:lnTo>
                  <a:lnTo>
                    <a:pt x="53550" y="658539"/>
                  </a:lnTo>
                  <a:lnTo>
                    <a:pt x="82875" y="664276"/>
                  </a:lnTo>
                  <a:lnTo>
                    <a:pt x="90525" y="607539"/>
                  </a:lnTo>
                  <a:lnTo>
                    <a:pt x="103275" y="640051"/>
                  </a:lnTo>
                  <a:lnTo>
                    <a:pt x="124950" y="659814"/>
                  </a:lnTo>
                  <a:lnTo>
                    <a:pt x="166388" y="635589"/>
                  </a:lnTo>
                  <a:lnTo>
                    <a:pt x="161925" y="631764"/>
                  </a:lnTo>
                  <a:lnTo>
                    <a:pt x="163200" y="632401"/>
                  </a:lnTo>
                  <a:lnTo>
                    <a:pt x="133875" y="566101"/>
                  </a:lnTo>
                  <a:lnTo>
                    <a:pt x="411188" y="520839"/>
                  </a:lnTo>
                  <a:lnTo>
                    <a:pt x="429676" y="517651"/>
                  </a:lnTo>
                  <a:lnTo>
                    <a:pt x="429676" y="517013"/>
                  </a:lnTo>
                  <a:lnTo>
                    <a:pt x="412463" y="483864"/>
                  </a:lnTo>
                  <a:lnTo>
                    <a:pt x="411188" y="436688"/>
                  </a:lnTo>
                  <a:lnTo>
                    <a:pt x="397163" y="411188"/>
                  </a:lnTo>
                  <a:lnTo>
                    <a:pt x="404176" y="360826"/>
                  </a:lnTo>
                  <a:lnTo>
                    <a:pt x="415651" y="348076"/>
                  </a:lnTo>
                  <a:lnTo>
                    <a:pt x="367838" y="263288"/>
                  </a:lnTo>
                  <a:lnTo>
                    <a:pt x="281776" y="1275"/>
                  </a:lnTo>
                  <a:lnTo>
                    <a:pt x="281138" y="0"/>
                  </a:lnTo>
                  <a:lnTo>
                    <a:pt x="262013" y="3188"/>
                  </a:lnTo>
                  <a:lnTo>
                    <a:pt x="159375" y="19762"/>
                  </a:lnTo>
                  <a:lnTo>
                    <a:pt x="107738" y="26137"/>
                  </a:lnTo>
                  <a:lnTo>
                    <a:pt x="0" y="40800"/>
                  </a:lnTo>
                  <a:lnTo>
                    <a:pt x="637" y="43350"/>
                  </a:lnTo>
                  <a:lnTo>
                    <a:pt x="637" y="433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48" name="Freeform 47">
              <a:extLst>
                <a:ext uri="{FF2B5EF4-FFF2-40B4-BE49-F238E27FC236}">
                  <a16:creationId xmlns:a16="http://schemas.microsoft.com/office/drawing/2014/main" id="{4C4E2431-CF73-F2D4-13E3-583C1F69D152}"/>
                </a:ext>
              </a:extLst>
            </p:cNvPr>
            <p:cNvSpPr/>
            <p:nvPr/>
          </p:nvSpPr>
          <p:spPr>
            <a:xfrm>
              <a:off x="5794442" y="3573814"/>
              <a:ext cx="981751" cy="838314"/>
            </a:xfrm>
            <a:custGeom>
              <a:avLst/>
              <a:gdLst>
                <a:gd name="connsiteX0" fmla="*/ 769464 w 981751"/>
                <a:gd name="connsiteY0" fmla="*/ 829389 h 838314"/>
                <a:gd name="connsiteX1" fmla="*/ 768189 w 981751"/>
                <a:gd name="connsiteY1" fmla="*/ 829389 h 838314"/>
                <a:gd name="connsiteX2" fmla="*/ 769464 w 981751"/>
                <a:gd name="connsiteY2" fmla="*/ 829389 h 838314"/>
                <a:gd name="connsiteX3" fmla="*/ 769464 w 981751"/>
                <a:gd name="connsiteY3" fmla="*/ 829389 h 838314"/>
                <a:gd name="connsiteX4" fmla="*/ 769464 w 981751"/>
                <a:gd name="connsiteY4" fmla="*/ 829389 h 838314"/>
                <a:gd name="connsiteX5" fmla="*/ 763089 w 981751"/>
                <a:gd name="connsiteY5" fmla="*/ 828752 h 838314"/>
                <a:gd name="connsiteX6" fmla="*/ 763089 w 981751"/>
                <a:gd name="connsiteY6" fmla="*/ 828752 h 838314"/>
                <a:gd name="connsiteX7" fmla="*/ 763089 w 981751"/>
                <a:gd name="connsiteY7" fmla="*/ 828752 h 838314"/>
                <a:gd name="connsiteX8" fmla="*/ 763089 w 981751"/>
                <a:gd name="connsiteY8" fmla="*/ 828752 h 838314"/>
                <a:gd name="connsiteX9" fmla="*/ 764364 w 981751"/>
                <a:gd name="connsiteY9" fmla="*/ 828114 h 838314"/>
                <a:gd name="connsiteX10" fmla="*/ 764364 w 981751"/>
                <a:gd name="connsiteY10" fmla="*/ 828114 h 838314"/>
                <a:gd name="connsiteX11" fmla="*/ 764364 w 981751"/>
                <a:gd name="connsiteY11" fmla="*/ 828114 h 838314"/>
                <a:gd name="connsiteX12" fmla="*/ 764364 w 981751"/>
                <a:gd name="connsiteY12" fmla="*/ 828114 h 838314"/>
                <a:gd name="connsiteX13" fmla="*/ 677026 w 981751"/>
                <a:gd name="connsiteY13" fmla="*/ 837676 h 838314"/>
                <a:gd name="connsiteX14" fmla="*/ 677026 w 981751"/>
                <a:gd name="connsiteY14" fmla="*/ 837676 h 838314"/>
                <a:gd name="connsiteX15" fmla="*/ 677026 w 981751"/>
                <a:gd name="connsiteY15" fmla="*/ 837676 h 838314"/>
                <a:gd name="connsiteX16" fmla="*/ 677026 w 981751"/>
                <a:gd name="connsiteY16" fmla="*/ 837676 h 838314"/>
                <a:gd name="connsiteX17" fmla="*/ 675751 w 981751"/>
                <a:gd name="connsiteY17" fmla="*/ 838314 h 838314"/>
                <a:gd name="connsiteX18" fmla="*/ 675751 w 981751"/>
                <a:gd name="connsiteY18" fmla="*/ 838314 h 838314"/>
                <a:gd name="connsiteX19" fmla="*/ 675751 w 981751"/>
                <a:gd name="connsiteY19" fmla="*/ 838314 h 838314"/>
                <a:gd name="connsiteX20" fmla="*/ 675751 w 981751"/>
                <a:gd name="connsiteY20" fmla="*/ 838314 h 838314"/>
                <a:gd name="connsiteX21" fmla="*/ 676389 w 981751"/>
                <a:gd name="connsiteY21" fmla="*/ 837676 h 838314"/>
                <a:gd name="connsiteX22" fmla="*/ 676389 w 981751"/>
                <a:gd name="connsiteY22" fmla="*/ 837676 h 838314"/>
                <a:gd name="connsiteX23" fmla="*/ 676389 w 981751"/>
                <a:gd name="connsiteY23" fmla="*/ 837676 h 838314"/>
                <a:gd name="connsiteX24" fmla="*/ 676389 w 981751"/>
                <a:gd name="connsiteY24" fmla="*/ 837676 h 838314"/>
                <a:gd name="connsiteX25" fmla="*/ 670014 w 981751"/>
                <a:gd name="connsiteY25" fmla="*/ 838314 h 838314"/>
                <a:gd name="connsiteX26" fmla="*/ 670014 w 981751"/>
                <a:gd name="connsiteY26" fmla="*/ 838314 h 838314"/>
                <a:gd name="connsiteX27" fmla="*/ 670014 w 981751"/>
                <a:gd name="connsiteY27" fmla="*/ 838314 h 838314"/>
                <a:gd name="connsiteX28" fmla="*/ 670014 w 981751"/>
                <a:gd name="connsiteY28" fmla="*/ 838314 h 838314"/>
                <a:gd name="connsiteX29" fmla="*/ 852339 w 981751"/>
                <a:gd name="connsiteY29" fmla="*/ 797514 h 838314"/>
                <a:gd name="connsiteX30" fmla="*/ 852339 w 981751"/>
                <a:gd name="connsiteY30" fmla="*/ 797514 h 838314"/>
                <a:gd name="connsiteX31" fmla="*/ 852339 w 981751"/>
                <a:gd name="connsiteY31" fmla="*/ 798789 h 838314"/>
                <a:gd name="connsiteX32" fmla="*/ 852339 w 981751"/>
                <a:gd name="connsiteY32" fmla="*/ 797514 h 838314"/>
                <a:gd name="connsiteX33" fmla="*/ 869552 w 981751"/>
                <a:gd name="connsiteY33" fmla="*/ 793051 h 838314"/>
                <a:gd name="connsiteX34" fmla="*/ 869552 w 981751"/>
                <a:gd name="connsiteY34" fmla="*/ 791776 h 838314"/>
                <a:gd name="connsiteX35" fmla="*/ 868277 w 981751"/>
                <a:gd name="connsiteY35" fmla="*/ 793689 h 838314"/>
                <a:gd name="connsiteX36" fmla="*/ 869552 w 981751"/>
                <a:gd name="connsiteY36" fmla="*/ 793051 h 838314"/>
                <a:gd name="connsiteX37" fmla="*/ 869552 w 981751"/>
                <a:gd name="connsiteY37" fmla="*/ 793051 h 838314"/>
                <a:gd name="connsiteX38" fmla="*/ 863814 w 981751"/>
                <a:gd name="connsiteY38" fmla="*/ 792414 h 838314"/>
                <a:gd name="connsiteX39" fmla="*/ 861264 w 981751"/>
                <a:gd name="connsiteY39" fmla="*/ 789864 h 838314"/>
                <a:gd name="connsiteX40" fmla="*/ 860627 w 981751"/>
                <a:gd name="connsiteY40" fmla="*/ 790502 h 838314"/>
                <a:gd name="connsiteX41" fmla="*/ 863814 w 981751"/>
                <a:gd name="connsiteY41" fmla="*/ 792414 h 838314"/>
                <a:gd name="connsiteX42" fmla="*/ 863814 w 981751"/>
                <a:gd name="connsiteY42" fmla="*/ 792414 h 838314"/>
                <a:gd name="connsiteX43" fmla="*/ 861902 w 981751"/>
                <a:gd name="connsiteY43" fmla="*/ 796877 h 838314"/>
                <a:gd name="connsiteX44" fmla="*/ 854252 w 981751"/>
                <a:gd name="connsiteY44" fmla="*/ 786676 h 838314"/>
                <a:gd name="connsiteX45" fmla="*/ 858714 w 981751"/>
                <a:gd name="connsiteY45" fmla="*/ 794964 h 838314"/>
                <a:gd name="connsiteX46" fmla="*/ 861902 w 981751"/>
                <a:gd name="connsiteY46" fmla="*/ 796877 h 838314"/>
                <a:gd name="connsiteX47" fmla="*/ 861902 w 981751"/>
                <a:gd name="connsiteY47" fmla="*/ 796877 h 838314"/>
                <a:gd name="connsiteX48" fmla="*/ 922464 w 981751"/>
                <a:gd name="connsiteY48" fmla="*/ 759264 h 838314"/>
                <a:gd name="connsiteX49" fmla="*/ 922464 w 981751"/>
                <a:gd name="connsiteY49" fmla="*/ 761814 h 838314"/>
                <a:gd name="connsiteX50" fmla="*/ 923740 w 981751"/>
                <a:gd name="connsiteY50" fmla="*/ 760539 h 838314"/>
                <a:gd name="connsiteX51" fmla="*/ 922464 w 981751"/>
                <a:gd name="connsiteY51" fmla="*/ 759264 h 838314"/>
                <a:gd name="connsiteX52" fmla="*/ 931389 w 981751"/>
                <a:gd name="connsiteY52" fmla="*/ 752889 h 838314"/>
                <a:gd name="connsiteX53" fmla="*/ 933302 w 981751"/>
                <a:gd name="connsiteY53" fmla="*/ 749701 h 838314"/>
                <a:gd name="connsiteX54" fmla="*/ 931389 w 981751"/>
                <a:gd name="connsiteY54" fmla="*/ 752889 h 838314"/>
                <a:gd name="connsiteX55" fmla="*/ 931389 w 981751"/>
                <a:gd name="connsiteY55" fmla="*/ 752889 h 838314"/>
                <a:gd name="connsiteX56" fmla="*/ 931389 w 981751"/>
                <a:gd name="connsiteY56" fmla="*/ 752889 h 838314"/>
                <a:gd name="connsiteX57" fmla="*/ 933302 w 981751"/>
                <a:gd name="connsiteY57" fmla="*/ 746514 h 838314"/>
                <a:gd name="connsiteX58" fmla="*/ 933302 w 981751"/>
                <a:gd name="connsiteY58" fmla="*/ 746514 h 838314"/>
                <a:gd name="connsiteX59" fmla="*/ 933302 w 981751"/>
                <a:gd name="connsiteY59" fmla="*/ 746514 h 838314"/>
                <a:gd name="connsiteX60" fmla="*/ 933302 w 981751"/>
                <a:gd name="connsiteY60" fmla="*/ 746514 h 838314"/>
                <a:gd name="connsiteX61" fmla="*/ 921827 w 981751"/>
                <a:gd name="connsiteY61" fmla="*/ 744601 h 838314"/>
                <a:gd name="connsiteX62" fmla="*/ 921827 w 981751"/>
                <a:gd name="connsiteY62" fmla="*/ 744601 h 838314"/>
                <a:gd name="connsiteX63" fmla="*/ 921827 w 981751"/>
                <a:gd name="connsiteY63" fmla="*/ 744601 h 838314"/>
                <a:gd name="connsiteX64" fmla="*/ 921827 w 981751"/>
                <a:gd name="connsiteY64" fmla="*/ 744601 h 838314"/>
                <a:gd name="connsiteX65" fmla="*/ 928202 w 981751"/>
                <a:gd name="connsiteY65" fmla="*/ 735039 h 838314"/>
                <a:gd name="connsiteX66" fmla="*/ 928202 w 981751"/>
                <a:gd name="connsiteY66" fmla="*/ 735039 h 838314"/>
                <a:gd name="connsiteX67" fmla="*/ 928202 w 981751"/>
                <a:gd name="connsiteY67" fmla="*/ 735039 h 838314"/>
                <a:gd name="connsiteX68" fmla="*/ 928202 w 981751"/>
                <a:gd name="connsiteY68" fmla="*/ 735039 h 838314"/>
                <a:gd name="connsiteX69" fmla="*/ 928202 w 981751"/>
                <a:gd name="connsiteY69" fmla="*/ 735039 h 838314"/>
                <a:gd name="connsiteX70" fmla="*/ 910352 w 981751"/>
                <a:gd name="connsiteY70" fmla="*/ 734401 h 838314"/>
                <a:gd name="connsiteX71" fmla="*/ 910352 w 981751"/>
                <a:gd name="connsiteY71" fmla="*/ 734401 h 838314"/>
                <a:gd name="connsiteX72" fmla="*/ 910352 w 981751"/>
                <a:gd name="connsiteY72" fmla="*/ 734401 h 838314"/>
                <a:gd name="connsiteX73" fmla="*/ 910352 w 981751"/>
                <a:gd name="connsiteY73" fmla="*/ 734401 h 838314"/>
                <a:gd name="connsiteX74" fmla="*/ 932027 w 981751"/>
                <a:gd name="connsiteY74" fmla="*/ 719739 h 838314"/>
                <a:gd name="connsiteX75" fmla="*/ 930752 w 981751"/>
                <a:gd name="connsiteY75" fmla="*/ 720376 h 838314"/>
                <a:gd name="connsiteX76" fmla="*/ 932664 w 981751"/>
                <a:gd name="connsiteY76" fmla="*/ 721014 h 838314"/>
                <a:gd name="connsiteX77" fmla="*/ 932027 w 981751"/>
                <a:gd name="connsiteY77" fmla="*/ 719739 h 838314"/>
                <a:gd name="connsiteX78" fmla="*/ 932027 w 981751"/>
                <a:gd name="connsiteY78" fmla="*/ 719739 h 838314"/>
                <a:gd name="connsiteX79" fmla="*/ 934577 w 981751"/>
                <a:gd name="connsiteY79" fmla="*/ 719739 h 838314"/>
                <a:gd name="connsiteX80" fmla="*/ 933302 w 981751"/>
                <a:gd name="connsiteY80" fmla="*/ 718464 h 838314"/>
                <a:gd name="connsiteX81" fmla="*/ 934577 w 981751"/>
                <a:gd name="connsiteY81" fmla="*/ 719739 h 838314"/>
                <a:gd name="connsiteX82" fmla="*/ 934577 w 981751"/>
                <a:gd name="connsiteY82" fmla="*/ 719739 h 838314"/>
                <a:gd name="connsiteX83" fmla="*/ 934577 w 981751"/>
                <a:gd name="connsiteY83" fmla="*/ 719739 h 838314"/>
                <a:gd name="connsiteX84" fmla="*/ 930115 w 981751"/>
                <a:gd name="connsiteY84" fmla="*/ 718464 h 838314"/>
                <a:gd name="connsiteX85" fmla="*/ 930115 w 981751"/>
                <a:gd name="connsiteY85" fmla="*/ 718464 h 838314"/>
                <a:gd name="connsiteX86" fmla="*/ 930115 w 981751"/>
                <a:gd name="connsiteY86" fmla="*/ 718464 h 838314"/>
                <a:gd name="connsiteX87" fmla="*/ 930115 w 981751"/>
                <a:gd name="connsiteY87" fmla="*/ 718464 h 838314"/>
                <a:gd name="connsiteX88" fmla="*/ 930115 w 981751"/>
                <a:gd name="connsiteY88" fmla="*/ 718464 h 838314"/>
                <a:gd name="connsiteX89" fmla="*/ 953702 w 981751"/>
                <a:gd name="connsiteY89" fmla="*/ 714001 h 838314"/>
                <a:gd name="connsiteX90" fmla="*/ 953702 w 981751"/>
                <a:gd name="connsiteY90" fmla="*/ 714001 h 838314"/>
                <a:gd name="connsiteX91" fmla="*/ 952427 w 981751"/>
                <a:gd name="connsiteY91" fmla="*/ 715914 h 838314"/>
                <a:gd name="connsiteX92" fmla="*/ 953702 w 981751"/>
                <a:gd name="connsiteY92" fmla="*/ 714001 h 838314"/>
                <a:gd name="connsiteX93" fmla="*/ 953702 w 981751"/>
                <a:gd name="connsiteY93" fmla="*/ 714001 h 838314"/>
                <a:gd name="connsiteX94" fmla="*/ 927564 w 981751"/>
                <a:gd name="connsiteY94" fmla="*/ 716551 h 838314"/>
                <a:gd name="connsiteX95" fmla="*/ 926289 w 981751"/>
                <a:gd name="connsiteY95" fmla="*/ 716551 h 838314"/>
                <a:gd name="connsiteX96" fmla="*/ 927564 w 981751"/>
                <a:gd name="connsiteY96" fmla="*/ 716551 h 838314"/>
                <a:gd name="connsiteX97" fmla="*/ 927564 w 981751"/>
                <a:gd name="connsiteY97" fmla="*/ 716551 h 838314"/>
                <a:gd name="connsiteX98" fmla="*/ 940952 w 981751"/>
                <a:gd name="connsiteY98" fmla="*/ 708264 h 838314"/>
                <a:gd name="connsiteX99" fmla="*/ 939039 w 981751"/>
                <a:gd name="connsiteY99" fmla="*/ 708264 h 838314"/>
                <a:gd name="connsiteX100" fmla="*/ 938402 w 981751"/>
                <a:gd name="connsiteY100" fmla="*/ 708901 h 838314"/>
                <a:gd name="connsiteX101" fmla="*/ 940952 w 981751"/>
                <a:gd name="connsiteY101" fmla="*/ 708264 h 838314"/>
                <a:gd name="connsiteX102" fmla="*/ 940952 w 981751"/>
                <a:gd name="connsiteY102" fmla="*/ 708264 h 838314"/>
                <a:gd name="connsiteX103" fmla="*/ 946052 w 981751"/>
                <a:gd name="connsiteY103" fmla="*/ 705714 h 838314"/>
                <a:gd name="connsiteX104" fmla="*/ 946052 w 981751"/>
                <a:gd name="connsiteY104" fmla="*/ 705714 h 838314"/>
                <a:gd name="connsiteX105" fmla="*/ 946052 w 981751"/>
                <a:gd name="connsiteY105" fmla="*/ 705714 h 838314"/>
                <a:gd name="connsiteX106" fmla="*/ 946052 w 981751"/>
                <a:gd name="connsiteY106" fmla="*/ 705714 h 838314"/>
                <a:gd name="connsiteX107" fmla="*/ 891864 w 981751"/>
                <a:gd name="connsiteY107" fmla="*/ 707626 h 838314"/>
                <a:gd name="connsiteX108" fmla="*/ 891864 w 981751"/>
                <a:gd name="connsiteY108" fmla="*/ 706351 h 838314"/>
                <a:gd name="connsiteX109" fmla="*/ 891864 w 981751"/>
                <a:gd name="connsiteY109" fmla="*/ 707626 h 838314"/>
                <a:gd name="connsiteX110" fmla="*/ 891864 w 981751"/>
                <a:gd name="connsiteY110" fmla="*/ 707626 h 838314"/>
                <a:gd name="connsiteX111" fmla="*/ 897602 w 981751"/>
                <a:gd name="connsiteY111" fmla="*/ 705714 h 838314"/>
                <a:gd name="connsiteX112" fmla="*/ 895689 w 981751"/>
                <a:gd name="connsiteY112" fmla="*/ 705714 h 838314"/>
                <a:gd name="connsiteX113" fmla="*/ 897602 w 981751"/>
                <a:gd name="connsiteY113" fmla="*/ 709539 h 838314"/>
                <a:gd name="connsiteX114" fmla="*/ 897602 w 981751"/>
                <a:gd name="connsiteY114" fmla="*/ 705714 h 838314"/>
                <a:gd name="connsiteX115" fmla="*/ 882302 w 981751"/>
                <a:gd name="connsiteY115" fmla="*/ 706351 h 838314"/>
                <a:gd name="connsiteX116" fmla="*/ 882302 w 981751"/>
                <a:gd name="connsiteY116" fmla="*/ 702526 h 838314"/>
                <a:gd name="connsiteX117" fmla="*/ 879114 w 981751"/>
                <a:gd name="connsiteY117" fmla="*/ 703164 h 838314"/>
                <a:gd name="connsiteX118" fmla="*/ 882302 w 981751"/>
                <a:gd name="connsiteY118" fmla="*/ 706351 h 838314"/>
                <a:gd name="connsiteX119" fmla="*/ 873377 w 981751"/>
                <a:gd name="connsiteY119" fmla="*/ 700614 h 838314"/>
                <a:gd name="connsiteX120" fmla="*/ 876564 w 981751"/>
                <a:gd name="connsiteY120" fmla="*/ 703801 h 838314"/>
                <a:gd name="connsiteX121" fmla="*/ 876564 w 981751"/>
                <a:gd name="connsiteY121" fmla="*/ 702526 h 838314"/>
                <a:gd name="connsiteX122" fmla="*/ 873377 w 981751"/>
                <a:gd name="connsiteY122" fmla="*/ 700614 h 838314"/>
                <a:gd name="connsiteX123" fmla="*/ 873377 w 981751"/>
                <a:gd name="connsiteY123" fmla="*/ 700614 h 838314"/>
                <a:gd name="connsiteX124" fmla="*/ 967727 w 981751"/>
                <a:gd name="connsiteY124" fmla="*/ 704439 h 838314"/>
                <a:gd name="connsiteX125" fmla="*/ 956252 w 981751"/>
                <a:gd name="connsiteY125" fmla="*/ 709539 h 838314"/>
                <a:gd name="connsiteX126" fmla="*/ 960077 w 981751"/>
                <a:gd name="connsiteY126" fmla="*/ 710176 h 838314"/>
                <a:gd name="connsiteX127" fmla="*/ 967727 w 981751"/>
                <a:gd name="connsiteY127" fmla="*/ 704439 h 838314"/>
                <a:gd name="connsiteX128" fmla="*/ 877839 w 981751"/>
                <a:gd name="connsiteY128" fmla="*/ 698701 h 838314"/>
                <a:gd name="connsiteX129" fmla="*/ 874014 w 981751"/>
                <a:gd name="connsiteY129" fmla="*/ 698701 h 838314"/>
                <a:gd name="connsiteX130" fmla="*/ 874014 w 981751"/>
                <a:gd name="connsiteY130" fmla="*/ 699976 h 838314"/>
                <a:gd name="connsiteX131" fmla="*/ 877839 w 981751"/>
                <a:gd name="connsiteY131" fmla="*/ 698701 h 838314"/>
                <a:gd name="connsiteX132" fmla="*/ 979202 w 981751"/>
                <a:gd name="connsiteY132" fmla="*/ 666189 h 838314"/>
                <a:gd name="connsiteX133" fmla="*/ 979840 w 981751"/>
                <a:gd name="connsiteY133" fmla="*/ 663001 h 838314"/>
                <a:gd name="connsiteX134" fmla="*/ 980477 w 981751"/>
                <a:gd name="connsiteY134" fmla="*/ 654714 h 838314"/>
                <a:gd name="connsiteX135" fmla="*/ 979202 w 981751"/>
                <a:gd name="connsiteY135" fmla="*/ 666189 h 838314"/>
                <a:gd name="connsiteX136" fmla="*/ 979202 w 981751"/>
                <a:gd name="connsiteY136" fmla="*/ 666189 h 838314"/>
                <a:gd name="connsiteX137" fmla="*/ 979840 w 981751"/>
                <a:gd name="connsiteY137" fmla="*/ 630489 h 838314"/>
                <a:gd name="connsiteX138" fmla="*/ 977289 w 981751"/>
                <a:gd name="connsiteY138" fmla="*/ 624114 h 838314"/>
                <a:gd name="connsiteX139" fmla="*/ 976014 w 981751"/>
                <a:gd name="connsiteY139" fmla="*/ 626664 h 838314"/>
                <a:gd name="connsiteX140" fmla="*/ 979840 w 981751"/>
                <a:gd name="connsiteY140" fmla="*/ 630489 h 838314"/>
                <a:gd name="connsiteX141" fmla="*/ 831302 w 981751"/>
                <a:gd name="connsiteY141" fmla="*/ 646426 h 838314"/>
                <a:gd name="connsiteX142" fmla="*/ 830027 w 981751"/>
                <a:gd name="connsiteY142" fmla="*/ 648339 h 838314"/>
                <a:gd name="connsiteX143" fmla="*/ 833214 w 981751"/>
                <a:gd name="connsiteY143" fmla="*/ 648976 h 838314"/>
                <a:gd name="connsiteX144" fmla="*/ 831302 w 981751"/>
                <a:gd name="connsiteY144" fmla="*/ 646426 h 838314"/>
                <a:gd name="connsiteX145" fmla="*/ 831302 w 981751"/>
                <a:gd name="connsiteY145" fmla="*/ 646426 h 838314"/>
                <a:gd name="connsiteX146" fmla="*/ 819827 w 981751"/>
                <a:gd name="connsiteY146" fmla="*/ 640051 h 838314"/>
                <a:gd name="connsiteX147" fmla="*/ 814089 w 981751"/>
                <a:gd name="connsiteY147" fmla="*/ 641964 h 838314"/>
                <a:gd name="connsiteX148" fmla="*/ 818552 w 981751"/>
                <a:gd name="connsiteY148" fmla="*/ 642601 h 838314"/>
                <a:gd name="connsiteX149" fmla="*/ 819827 w 981751"/>
                <a:gd name="connsiteY149" fmla="*/ 640051 h 838314"/>
                <a:gd name="connsiteX150" fmla="*/ 819827 w 981751"/>
                <a:gd name="connsiteY150" fmla="*/ 640051 h 838314"/>
                <a:gd name="connsiteX151" fmla="*/ 806439 w 981751"/>
                <a:gd name="connsiteY151" fmla="*/ 641326 h 838314"/>
                <a:gd name="connsiteX152" fmla="*/ 806439 w 981751"/>
                <a:gd name="connsiteY152" fmla="*/ 639414 h 838314"/>
                <a:gd name="connsiteX153" fmla="*/ 805802 w 981751"/>
                <a:gd name="connsiteY153" fmla="*/ 640051 h 838314"/>
                <a:gd name="connsiteX154" fmla="*/ 806439 w 981751"/>
                <a:gd name="connsiteY154" fmla="*/ 641326 h 838314"/>
                <a:gd name="connsiteX155" fmla="*/ 806439 w 981751"/>
                <a:gd name="connsiteY155" fmla="*/ 641326 h 838314"/>
                <a:gd name="connsiteX156" fmla="*/ 793052 w 981751"/>
                <a:gd name="connsiteY156" fmla="*/ 640689 h 838314"/>
                <a:gd name="connsiteX157" fmla="*/ 789227 w 981751"/>
                <a:gd name="connsiteY157" fmla="*/ 643239 h 838314"/>
                <a:gd name="connsiteX158" fmla="*/ 794326 w 981751"/>
                <a:gd name="connsiteY158" fmla="*/ 645789 h 838314"/>
                <a:gd name="connsiteX159" fmla="*/ 793052 w 981751"/>
                <a:gd name="connsiteY159" fmla="*/ 640689 h 838314"/>
                <a:gd name="connsiteX160" fmla="*/ 793052 w 981751"/>
                <a:gd name="connsiteY160" fmla="*/ 640689 h 838314"/>
                <a:gd name="connsiteX161" fmla="*/ 810902 w 981751"/>
                <a:gd name="connsiteY161" fmla="*/ 641326 h 838314"/>
                <a:gd name="connsiteX162" fmla="*/ 810264 w 981751"/>
                <a:gd name="connsiteY162" fmla="*/ 639414 h 838314"/>
                <a:gd name="connsiteX163" fmla="*/ 807076 w 981751"/>
                <a:gd name="connsiteY163" fmla="*/ 638776 h 838314"/>
                <a:gd name="connsiteX164" fmla="*/ 810902 w 981751"/>
                <a:gd name="connsiteY164" fmla="*/ 641326 h 838314"/>
                <a:gd name="connsiteX165" fmla="*/ 810902 w 981751"/>
                <a:gd name="connsiteY165" fmla="*/ 641326 h 838314"/>
                <a:gd name="connsiteX166" fmla="*/ 726751 w 981751"/>
                <a:gd name="connsiteY166" fmla="*/ 578851 h 838314"/>
                <a:gd name="connsiteX167" fmla="*/ 722927 w 981751"/>
                <a:gd name="connsiteY167" fmla="*/ 580764 h 838314"/>
                <a:gd name="connsiteX168" fmla="*/ 730576 w 981751"/>
                <a:gd name="connsiteY168" fmla="*/ 583314 h 838314"/>
                <a:gd name="connsiteX169" fmla="*/ 726751 w 981751"/>
                <a:gd name="connsiteY169" fmla="*/ 578851 h 838314"/>
                <a:gd name="connsiteX170" fmla="*/ 726751 w 981751"/>
                <a:gd name="connsiteY170" fmla="*/ 578851 h 838314"/>
                <a:gd name="connsiteX171" fmla="*/ 711451 w 981751"/>
                <a:gd name="connsiteY171" fmla="*/ 558451 h 838314"/>
                <a:gd name="connsiteX172" fmla="*/ 706351 w 981751"/>
                <a:gd name="connsiteY172" fmla="*/ 550801 h 838314"/>
                <a:gd name="connsiteX173" fmla="*/ 708264 w 981751"/>
                <a:gd name="connsiteY173" fmla="*/ 556539 h 838314"/>
                <a:gd name="connsiteX174" fmla="*/ 711451 w 981751"/>
                <a:gd name="connsiteY174" fmla="*/ 558451 h 838314"/>
                <a:gd name="connsiteX175" fmla="*/ 711451 w 981751"/>
                <a:gd name="connsiteY175" fmla="*/ 558451 h 838314"/>
                <a:gd name="connsiteX176" fmla="*/ 731214 w 981751"/>
                <a:gd name="connsiteY176" fmla="*/ 571201 h 838314"/>
                <a:gd name="connsiteX177" fmla="*/ 721652 w 981751"/>
                <a:gd name="connsiteY177" fmla="*/ 550801 h 838314"/>
                <a:gd name="connsiteX178" fmla="*/ 715277 w 981751"/>
                <a:gd name="connsiteY178" fmla="*/ 548888 h 838314"/>
                <a:gd name="connsiteX179" fmla="*/ 731214 w 981751"/>
                <a:gd name="connsiteY179" fmla="*/ 571201 h 838314"/>
                <a:gd name="connsiteX180" fmla="*/ 705714 w 981751"/>
                <a:gd name="connsiteY180" fmla="*/ 545701 h 838314"/>
                <a:gd name="connsiteX181" fmla="*/ 703802 w 981751"/>
                <a:gd name="connsiteY181" fmla="*/ 540601 h 838314"/>
                <a:gd name="connsiteX182" fmla="*/ 702527 w 981751"/>
                <a:gd name="connsiteY182" fmla="*/ 537414 h 838314"/>
                <a:gd name="connsiteX183" fmla="*/ 705714 w 981751"/>
                <a:gd name="connsiteY183" fmla="*/ 545701 h 838314"/>
                <a:gd name="connsiteX184" fmla="*/ 705714 w 981751"/>
                <a:gd name="connsiteY184" fmla="*/ 545701 h 838314"/>
                <a:gd name="connsiteX185" fmla="*/ 652164 w 981751"/>
                <a:gd name="connsiteY185" fmla="*/ 474301 h 838314"/>
                <a:gd name="connsiteX186" fmla="*/ 640689 w 981751"/>
                <a:gd name="connsiteY186" fmla="*/ 466013 h 838314"/>
                <a:gd name="connsiteX187" fmla="*/ 645151 w 981751"/>
                <a:gd name="connsiteY187" fmla="*/ 470476 h 838314"/>
                <a:gd name="connsiteX188" fmla="*/ 652164 w 981751"/>
                <a:gd name="connsiteY188" fmla="*/ 474301 h 838314"/>
                <a:gd name="connsiteX189" fmla="*/ 941589 w 981751"/>
                <a:gd name="connsiteY189" fmla="*/ 430951 h 838314"/>
                <a:gd name="connsiteX190" fmla="*/ 894414 w 981751"/>
                <a:gd name="connsiteY190" fmla="*/ 353175 h 838314"/>
                <a:gd name="connsiteX191" fmla="*/ 891864 w 981751"/>
                <a:gd name="connsiteY191" fmla="*/ 353175 h 838314"/>
                <a:gd name="connsiteX192" fmla="*/ 941589 w 981751"/>
                <a:gd name="connsiteY192" fmla="*/ 430951 h 838314"/>
                <a:gd name="connsiteX193" fmla="*/ 941589 w 981751"/>
                <a:gd name="connsiteY193" fmla="*/ 430951 h 838314"/>
                <a:gd name="connsiteX194" fmla="*/ 617101 w 981751"/>
                <a:gd name="connsiteY194" fmla="*/ 306001 h 838314"/>
                <a:gd name="connsiteX195" fmla="*/ 615189 w 981751"/>
                <a:gd name="connsiteY195" fmla="*/ 305363 h 838314"/>
                <a:gd name="connsiteX196" fmla="*/ 617101 w 981751"/>
                <a:gd name="connsiteY196" fmla="*/ 306001 h 838314"/>
                <a:gd name="connsiteX197" fmla="*/ 617101 w 981751"/>
                <a:gd name="connsiteY197" fmla="*/ 306001 h 838314"/>
                <a:gd name="connsiteX198" fmla="*/ 617101 w 981751"/>
                <a:gd name="connsiteY198" fmla="*/ 306001 h 838314"/>
                <a:gd name="connsiteX199" fmla="*/ 613276 w 981751"/>
                <a:gd name="connsiteY199" fmla="*/ 301538 h 838314"/>
                <a:gd name="connsiteX200" fmla="*/ 613276 w 981751"/>
                <a:gd name="connsiteY200" fmla="*/ 301538 h 838314"/>
                <a:gd name="connsiteX201" fmla="*/ 613276 w 981751"/>
                <a:gd name="connsiteY201" fmla="*/ 302813 h 838314"/>
                <a:gd name="connsiteX202" fmla="*/ 613276 w 981751"/>
                <a:gd name="connsiteY202" fmla="*/ 301538 h 838314"/>
                <a:gd name="connsiteX203" fmla="*/ 613276 w 981751"/>
                <a:gd name="connsiteY203" fmla="*/ 301538 h 838314"/>
                <a:gd name="connsiteX204" fmla="*/ 608176 w 981751"/>
                <a:gd name="connsiteY204" fmla="*/ 294525 h 838314"/>
                <a:gd name="connsiteX205" fmla="*/ 608176 w 981751"/>
                <a:gd name="connsiteY205" fmla="*/ 294525 h 838314"/>
                <a:gd name="connsiteX206" fmla="*/ 608176 w 981751"/>
                <a:gd name="connsiteY206" fmla="*/ 294525 h 838314"/>
                <a:gd name="connsiteX207" fmla="*/ 608176 w 981751"/>
                <a:gd name="connsiteY207" fmla="*/ 294525 h 838314"/>
                <a:gd name="connsiteX208" fmla="*/ 611364 w 981751"/>
                <a:gd name="connsiteY208" fmla="*/ 291976 h 838314"/>
                <a:gd name="connsiteX209" fmla="*/ 613276 w 981751"/>
                <a:gd name="connsiteY209" fmla="*/ 293251 h 838314"/>
                <a:gd name="connsiteX210" fmla="*/ 613276 w 981751"/>
                <a:gd name="connsiteY210" fmla="*/ 291976 h 838314"/>
                <a:gd name="connsiteX211" fmla="*/ 611364 w 981751"/>
                <a:gd name="connsiteY211" fmla="*/ 291976 h 838314"/>
                <a:gd name="connsiteX212" fmla="*/ 615189 w 981751"/>
                <a:gd name="connsiteY212" fmla="*/ 290063 h 838314"/>
                <a:gd name="connsiteX213" fmla="*/ 612639 w 981751"/>
                <a:gd name="connsiteY213" fmla="*/ 290700 h 838314"/>
                <a:gd name="connsiteX214" fmla="*/ 613276 w 981751"/>
                <a:gd name="connsiteY214" fmla="*/ 290700 h 838314"/>
                <a:gd name="connsiteX215" fmla="*/ 615189 w 981751"/>
                <a:gd name="connsiteY215" fmla="*/ 290063 h 838314"/>
                <a:gd name="connsiteX216" fmla="*/ 615189 w 981751"/>
                <a:gd name="connsiteY216" fmla="*/ 290063 h 838314"/>
                <a:gd name="connsiteX217" fmla="*/ 610726 w 981751"/>
                <a:gd name="connsiteY217" fmla="*/ 289425 h 838314"/>
                <a:gd name="connsiteX218" fmla="*/ 608814 w 981751"/>
                <a:gd name="connsiteY218" fmla="*/ 287513 h 838314"/>
                <a:gd name="connsiteX219" fmla="*/ 609451 w 981751"/>
                <a:gd name="connsiteY219" fmla="*/ 288150 h 838314"/>
                <a:gd name="connsiteX220" fmla="*/ 610726 w 981751"/>
                <a:gd name="connsiteY220" fmla="*/ 289425 h 838314"/>
                <a:gd name="connsiteX221" fmla="*/ 610726 w 981751"/>
                <a:gd name="connsiteY221" fmla="*/ 289425 h 838314"/>
                <a:gd name="connsiteX222" fmla="*/ 605626 w 981751"/>
                <a:gd name="connsiteY222" fmla="*/ 282413 h 838314"/>
                <a:gd name="connsiteX223" fmla="*/ 604351 w 981751"/>
                <a:gd name="connsiteY223" fmla="*/ 282413 h 838314"/>
                <a:gd name="connsiteX224" fmla="*/ 605626 w 981751"/>
                <a:gd name="connsiteY224" fmla="*/ 282413 h 838314"/>
                <a:gd name="connsiteX225" fmla="*/ 605626 w 981751"/>
                <a:gd name="connsiteY225" fmla="*/ 282413 h 838314"/>
                <a:gd name="connsiteX226" fmla="*/ 605626 w 981751"/>
                <a:gd name="connsiteY226" fmla="*/ 282413 h 838314"/>
                <a:gd name="connsiteX227" fmla="*/ 610726 w 981751"/>
                <a:gd name="connsiteY227" fmla="*/ 274126 h 838314"/>
                <a:gd name="connsiteX228" fmla="*/ 608176 w 981751"/>
                <a:gd name="connsiteY228" fmla="*/ 274126 h 838314"/>
                <a:gd name="connsiteX229" fmla="*/ 607539 w 981751"/>
                <a:gd name="connsiteY229" fmla="*/ 274763 h 838314"/>
                <a:gd name="connsiteX230" fmla="*/ 610726 w 981751"/>
                <a:gd name="connsiteY230" fmla="*/ 274126 h 838314"/>
                <a:gd name="connsiteX231" fmla="*/ 610726 w 981751"/>
                <a:gd name="connsiteY231" fmla="*/ 274126 h 838314"/>
                <a:gd name="connsiteX232" fmla="*/ 613276 w 981751"/>
                <a:gd name="connsiteY232" fmla="*/ 275400 h 838314"/>
                <a:gd name="connsiteX233" fmla="*/ 610089 w 981751"/>
                <a:gd name="connsiteY233" fmla="*/ 272213 h 838314"/>
                <a:gd name="connsiteX234" fmla="*/ 611364 w 981751"/>
                <a:gd name="connsiteY234" fmla="*/ 272850 h 838314"/>
                <a:gd name="connsiteX235" fmla="*/ 613276 w 981751"/>
                <a:gd name="connsiteY235" fmla="*/ 275400 h 838314"/>
                <a:gd name="connsiteX236" fmla="*/ 613276 w 981751"/>
                <a:gd name="connsiteY236" fmla="*/ 275400 h 838314"/>
                <a:gd name="connsiteX237" fmla="*/ 588414 w 981751"/>
                <a:gd name="connsiteY237" fmla="*/ 247988 h 838314"/>
                <a:gd name="connsiteX238" fmla="*/ 587139 w 981751"/>
                <a:gd name="connsiteY238" fmla="*/ 247350 h 838314"/>
                <a:gd name="connsiteX239" fmla="*/ 587139 w 981751"/>
                <a:gd name="connsiteY239" fmla="*/ 247988 h 838314"/>
                <a:gd name="connsiteX240" fmla="*/ 588414 w 981751"/>
                <a:gd name="connsiteY240" fmla="*/ 247988 h 838314"/>
                <a:gd name="connsiteX241" fmla="*/ 561001 w 981751"/>
                <a:gd name="connsiteY241" fmla="*/ 247988 h 838314"/>
                <a:gd name="connsiteX242" fmla="*/ 559089 w 981751"/>
                <a:gd name="connsiteY242" fmla="*/ 245438 h 838314"/>
                <a:gd name="connsiteX243" fmla="*/ 559726 w 981751"/>
                <a:gd name="connsiteY243" fmla="*/ 248626 h 838314"/>
                <a:gd name="connsiteX244" fmla="*/ 561001 w 981751"/>
                <a:gd name="connsiteY244" fmla="*/ 247988 h 838314"/>
                <a:gd name="connsiteX245" fmla="*/ 561001 w 981751"/>
                <a:gd name="connsiteY245" fmla="*/ 247988 h 838314"/>
                <a:gd name="connsiteX246" fmla="*/ 327038 w 981751"/>
                <a:gd name="connsiteY246" fmla="*/ 226950 h 838314"/>
                <a:gd name="connsiteX247" fmla="*/ 346163 w 981751"/>
                <a:gd name="connsiteY247" fmla="*/ 212288 h 838314"/>
                <a:gd name="connsiteX248" fmla="*/ 325126 w 981751"/>
                <a:gd name="connsiteY248" fmla="*/ 226313 h 838314"/>
                <a:gd name="connsiteX249" fmla="*/ 327038 w 981751"/>
                <a:gd name="connsiteY249" fmla="*/ 226950 h 838314"/>
                <a:gd name="connsiteX250" fmla="*/ 327038 w 981751"/>
                <a:gd name="connsiteY250" fmla="*/ 226950 h 838314"/>
                <a:gd name="connsiteX251" fmla="*/ 365288 w 981751"/>
                <a:gd name="connsiteY251" fmla="*/ 196350 h 838314"/>
                <a:gd name="connsiteX252" fmla="*/ 367201 w 981751"/>
                <a:gd name="connsiteY252" fmla="*/ 194438 h 838314"/>
                <a:gd name="connsiteX253" fmla="*/ 359551 w 981751"/>
                <a:gd name="connsiteY253" fmla="*/ 197625 h 838314"/>
                <a:gd name="connsiteX254" fmla="*/ 365288 w 981751"/>
                <a:gd name="connsiteY254" fmla="*/ 196350 h 838314"/>
                <a:gd name="connsiteX255" fmla="*/ 365288 w 981751"/>
                <a:gd name="connsiteY255" fmla="*/ 196350 h 838314"/>
                <a:gd name="connsiteX256" fmla="*/ 121125 w 981751"/>
                <a:gd name="connsiteY256" fmla="*/ 153000 h 838314"/>
                <a:gd name="connsiteX257" fmla="*/ 51000 w 981751"/>
                <a:gd name="connsiteY257" fmla="*/ 175313 h 838314"/>
                <a:gd name="connsiteX258" fmla="*/ 89250 w 981751"/>
                <a:gd name="connsiteY258" fmla="*/ 163838 h 838314"/>
                <a:gd name="connsiteX259" fmla="*/ 121125 w 981751"/>
                <a:gd name="connsiteY259" fmla="*/ 153000 h 838314"/>
                <a:gd name="connsiteX260" fmla="*/ 295801 w 981751"/>
                <a:gd name="connsiteY260" fmla="*/ 43987 h 838314"/>
                <a:gd name="connsiteX261" fmla="*/ 277313 w 981751"/>
                <a:gd name="connsiteY261" fmla="*/ 47175 h 838314"/>
                <a:gd name="connsiteX262" fmla="*/ 0 w 981751"/>
                <a:gd name="connsiteY262" fmla="*/ 92438 h 838314"/>
                <a:gd name="connsiteX263" fmla="*/ 29325 w 981751"/>
                <a:gd name="connsiteY263" fmla="*/ 158738 h 838314"/>
                <a:gd name="connsiteX264" fmla="*/ 31238 w 981751"/>
                <a:gd name="connsiteY264" fmla="*/ 159375 h 838314"/>
                <a:gd name="connsiteX265" fmla="*/ 24225 w 981751"/>
                <a:gd name="connsiteY265" fmla="*/ 186150 h 838314"/>
                <a:gd name="connsiteX266" fmla="*/ 44625 w 981751"/>
                <a:gd name="connsiteY266" fmla="*/ 176588 h 838314"/>
                <a:gd name="connsiteX267" fmla="*/ 66938 w 981751"/>
                <a:gd name="connsiteY267" fmla="*/ 156825 h 838314"/>
                <a:gd name="connsiteX268" fmla="*/ 105188 w 981751"/>
                <a:gd name="connsiteY268" fmla="*/ 155550 h 838314"/>
                <a:gd name="connsiteX269" fmla="*/ 149813 w 981751"/>
                <a:gd name="connsiteY269" fmla="*/ 139613 h 838314"/>
                <a:gd name="connsiteX270" fmla="*/ 180413 w 981751"/>
                <a:gd name="connsiteY270" fmla="*/ 144075 h 838314"/>
                <a:gd name="connsiteX271" fmla="*/ 173400 w 981751"/>
                <a:gd name="connsiteY271" fmla="*/ 155550 h 838314"/>
                <a:gd name="connsiteX272" fmla="*/ 228225 w 981751"/>
                <a:gd name="connsiteY272" fmla="*/ 174038 h 838314"/>
                <a:gd name="connsiteX273" fmla="*/ 276038 w 981751"/>
                <a:gd name="connsiteY273" fmla="*/ 196988 h 838314"/>
                <a:gd name="connsiteX274" fmla="*/ 287513 w 981751"/>
                <a:gd name="connsiteY274" fmla="*/ 222488 h 838314"/>
                <a:gd name="connsiteX275" fmla="*/ 322576 w 981751"/>
                <a:gd name="connsiteY275" fmla="*/ 214838 h 838314"/>
                <a:gd name="connsiteX276" fmla="*/ 406088 w 981751"/>
                <a:gd name="connsiteY276" fmla="*/ 146625 h 838314"/>
                <a:gd name="connsiteX277" fmla="*/ 437326 w 981751"/>
                <a:gd name="connsiteY277" fmla="*/ 147900 h 838314"/>
                <a:gd name="connsiteX278" fmla="*/ 562914 w 981751"/>
                <a:gd name="connsiteY278" fmla="*/ 242888 h 838314"/>
                <a:gd name="connsiteX279" fmla="*/ 588414 w 981751"/>
                <a:gd name="connsiteY279" fmla="*/ 237788 h 838314"/>
                <a:gd name="connsiteX280" fmla="*/ 615826 w 981751"/>
                <a:gd name="connsiteY280" fmla="*/ 273488 h 838314"/>
                <a:gd name="connsiteX281" fmla="*/ 620926 w 981751"/>
                <a:gd name="connsiteY281" fmla="*/ 330226 h 838314"/>
                <a:gd name="connsiteX282" fmla="*/ 612639 w 981751"/>
                <a:gd name="connsiteY282" fmla="*/ 365926 h 838314"/>
                <a:gd name="connsiteX283" fmla="*/ 616464 w 981751"/>
                <a:gd name="connsiteY283" fmla="*/ 383775 h 838314"/>
                <a:gd name="connsiteX284" fmla="*/ 638776 w 981751"/>
                <a:gd name="connsiteY284" fmla="*/ 429038 h 838314"/>
                <a:gd name="connsiteX285" fmla="*/ 627939 w 981751"/>
                <a:gd name="connsiteY285" fmla="*/ 393976 h 838314"/>
                <a:gd name="connsiteX286" fmla="*/ 657264 w 981751"/>
                <a:gd name="connsiteY286" fmla="*/ 393338 h 838314"/>
                <a:gd name="connsiteX287" fmla="*/ 659814 w 981751"/>
                <a:gd name="connsiteY287" fmla="*/ 418838 h 838314"/>
                <a:gd name="connsiteX288" fmla="*/ 644514 w 981751"/>
                <a:gd name="connsiteY288" fmla="*/ 458363 h 838314"/>
                <a:gd name="connsiteX289" fmla="*/ 698064 w 981751"/>
                <a:gd name="connsiteY289" fmla="*/ 531676 h 838314"/>
                <a:gd name="connsiteX290" fmla="*/ 717826 w 981751"/>
                <a:gd name="connsiteY290" fmla="*/ 532314 h 838314"/>
                <a:gd name="connsiteX291" fmla="*/ 701251 w 981751"/>
                <a:gd name="connsiteY291" fmla="*/ 510001 h 838314"/>
                <a:gd name="connsiteX292" fmla="*/ 721652 w 981751"/>
                <a:gd name="connsiteY292" fmla="*/ 512551 h 838314"/>
                <a:gd name="connsiteX293" fmla="*/ 733764 w 981751"/>
                <a:gd name="connsiteY293" fmla="*/ 504901 h 838314"/>
                <a:gd name="connsiteX294" fmla="*/ 728664 w 981751"/>
                <a:gd name="connsiteY294" fmla="*/ 545701 h 838314"/>
                <a:gd name="connsiteX295" fmla="*/ 756714 w 981751"/>
                <a:gd name="connsiteY295" fmla="*/ 567376 h 838314"/>
                <a:gd name="connsiteX296" fmla="*/ 775201 w 981751"/>
                <a:gd name="connsiteY296" fmla="*/ 617739 h 838314"/>
                <a:gd name="connsiteX297" fmla="*/ 800064 w 981751"/>
                <a:gd name="connsiteY297" fmla="*/ 633039 h 838314"/>
                <a:gd name="connsiteX298" fmla="*/ 832577 w 981751"/>
                <a:gd name="connsiteY298" fmla="*/ 641326 h 838314"/>
                <a:gd name="connsiteX299" fmla="*/ 877202 w 981751"/>
                <a:gd name="connsiteY299" fmla="*/ 697426 h 838314"/>
                <a:gd name="connsiteX300" fmla="*/ 900152 w 981751"/>
                <a:gd name="connsiteY300" fmla="*/ 709539 h 838314"/>
                <a:gd name="connsiteX301" fmla="*/ 868914 w 981751"/>
                <a:gd name="connsiteY301" fmla="*/ 711451 h 838314"/>
                <a:gd name="connsiteX302" fmla="*/ 882939 w 981751"/>
                <a:gd name="connsiteY302" fmla="*/ 727389 h 838314"/>
                <a:gd name="connsiteX303" fmla="*/ 933939 w 981751"/>
                <a:gd name="connsiteY303" fmla="*/ 710814 h 838314"/>
                <a:gd name="connsiteX304" fmla="*/ 958802 w 981751"/>
                <a:gd name="connsiteY304" fmla="*/ 696789 h 838314"/>
                <a:gd name="connsiteX305" fmla="*/ 981752 w 981751"/>
                <a:gd name="connsiteY305" fmla="*/ 615826 h 838314"/>
                <a:gd name="connsiteX306" fmla="*/ 970277 w 981751"/>
                <a:gd name="connsiteY306" fmla="*/ 490238 h 838314"/>
                <a:gd name="connsiteX307" fmla="*/ 967727 w 981751"/>
                <a:gd name="connsiteY307" fmla="*/ 477488 h 838314"/>
                <a:gd name="connsiteX308" fmla="*/ 905889 w 981751"/>
                <a:gd name="connsiteY308" fmla="*/ 374851 h 838314"/>
                <a:gd name="connsiteX309" fmla="*/ 852977 w 981751"/>
                <a:gd name="connsiteY309" fmla="*/ 300263 h 838314"/>
                <a:gd name="connsiteX310" fmla="*/ 823014 w 981751"/>
                <a:gd name="connsiteY310" fmla="*/ 239700 h 838314"/>
                <a:gd name="connsiteX311" fmla="*/ 847877 w 981751"/>
                <a:gd name="connsiteY311" fmla="*/ 260738 h 838314"/>
                <a:gd name="connsiteX312" fmla="*/ 852977 w 981751"/>
                <a:gd name="connsiteY312" fmla="*/ 256913 h 838314"/>
                <a:gd name="connsiteX313" fmla="*/ 864452 w 981751"/>
                <a:gd name="connsiteY313" fmla="*/ 310463 h 838314"/>
                <a:gd name="connsiteX314" fmla="*/ 893139 w 981751"/>
                <a:gd name="connsiteY314" fmla="*/ 350626 h 838314"/>
                <a:gd name="connsiteX315" fmla="*/ 865089 w 981751"/>
                <a:gd name="connsiteY315" fmla="*/ 296438 h 838314"/>
                <a:gd name="connsiteX316" fmla="*/ 866364 w 981751"/>
                <a:gd name="connsiteY316" fmla="*/ 270938 h 838314"/>
                <a:gd name="connsiteX317" fmla="*/ 783489 w 981751"/>
                <a:gd name="connsiteY317" fmla="*/ 170213 h 838314"/>
                <a:gd name="connsiteX318" fmla="*/ 763726 w 981751"/>
                <a:gd name="connsiteY318" fmla="*/ 138337 h 838314"/>
                <a:gd name="connsiteX319" fmla="*/ 736951 w 981751"/>
                <a:gd name="connsiteY319" fmla="*/ 84788 h 838314"/>
                <a:gd name="connsiteX320" fmla="*/ 719101 w 981751"/>
                <a:gd name="connsiteY320" fmla="*/ 39525 h 838314"/>
                <a:gd name="connsiteX321" fmla="*/ 705076 w 981751"/>
                <a:gd name="connsiteY321" fmla="*/ 23587 h 838314"/>
                <a:gd name="connsiteX322" fmla="*/ 701889 w 981751"/>
                <a:gd name="connsiteY322" fmla="*/ 3188 h 838314"/>
                <a:gd name="connsiteX323" fmla="*/ 701251 w 981751"/>
                <a:gd name="connsiteY323" fmla="*/ 2550 h 838314"/>
                <a:gd name="connsiteX324" fmla="*/ 656626 w 981751"/>
                <a:gd name="connsiteY324" fmla="*/ 0 h 838314"/>
                <a:gd name="connsiteX325" fmla="*/ 639414 w 981751"/>
                <a:gd name="connsiteY325" fmla="*/ 13387 h 838314"/>
                <a:gd name="connsiteX326" fmla="*/ 629214 w 981751"/>
                <a:gd name="connsiteY326" fmla="*/ 63112 h 838314"/>
                <a:gd name="connsiteX327" fmla="*/ 619651 w 981751"/>
                <a:gd name="connsiteY327" fmla="*/ 40163 h 838314"/>
                <a:gd name="connsiteX328" fmla="*/ 316838 w 981751"/>
                <a:gd name="connsiteY328" fmla="*/ 77775 h 838314"/>
                <a:gd name="connsiteX329" fmla="*/ 295801 w 981751"/>
                <a:gd name="connsiteY329" fmla="*/ 43987 h 838314"/>
                <a:gd name="connsiteX330" fmla="*/ 295801 w 981751"/>
                <a:gd name="connsiteY330" fmla="*/ 43987 h 838314"/>
                <a:gd name="connsiteX331" fmla="*/ 295801 w 981751"/>
                <a:gd name="connsiteY331" fmla="*/ 43987 h 83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981751" h="838314">
                  <a:moveTo>
                    <a:pt x="769464" y="829389"/>
                  </a:moveTo>
                  <a:lnTo>
                    <a:pt x="768189" y="829389"/>
                  </a:lnTo>
                  <a:lnTo>
                    <a:pt x="769464" y="829389"/>
                  </a:lnTo>
                  <a:lnTo>
                    <a:pt x="769464" y="829389"/>
                  </a:lnTo>
                  <a:lnTo>
                    <a:pt x="769464" y="829389"/>
                  </a:lnTo>
                  <a:close/>
                  <a:moveTo>
                    <a:pt x="763089" y="828752"/>
                  </a:moveTo>
                  <a:lnTo>
                    <a:pt x="763089" y="828752"/>
                  </a:lnTo>
                  <a:lnTo>
                    <a:pt x="763089" y="828752"/>
                  </a:lnTo>
                  <a:lnTo>
                    <a:pt x="763089" y="828752"/>
                  </a:lnTo>
                  <a:close/>
                  <a:moveTo>
                    <a:pt x="764364" y="828114"/>
                  </a:moveTo>
                  <a:lnTo>
                    <a:pt x="764364" y="828114"/>
                  </a:lnTo>
                  <a:lnTo>
                    <a:pt x="764364" y="828114"/>
                  </a:lnTo>
                  <a:lnTo>
                    <a:pt x="764364" y="828114"/>
                  </a:lnTo>
                  <a:close/>
                  <a:moveTo>
                    <a:pt x="677026" y="837676"/>
                  </a:moveTo>
                  <a:lnTo>
                    <a:pt x="677026" y="837676"/>
                  </a:lnTo>
                  <a:lnTo>
                    <a:pt x="677026" y="837676"/>
                  </a:lnTo>
                  <a:lnTo>
                    <a:pt x="677026" y="837676"/>
                  </a:lnTo>
                  <a:close/>
                  <a:moveTo>
                    <a:pt x="675751" y="838314"/>
                  </a:moveTo>
                  <a:lnTo>
                    <a:pt x="675751" y="838314"/>
                  </a:lnTo>
                  <a:lnTo>
                    <a:pt x="675751" y="838314"/>
                  </a:lnTo>
                  <a:lnTo>
                    <a:pt x="675751" y="838314"/>
                  </a:lnTo>
                  <a:close/>
                  <a:moveTo>
                    <a:pt x="676389" y="837676"/>
                  </a:moveTo>
                  <a:lnTo>
                    <a:pt x="676389" y="837676"/>
                  </a:lnTo>
                  <a:lnTo>
                    <a:pt x="676389" y="837676"/>
                  </a:lnTo>
                  <a:lnTo>
                    <a:pt x="676389" y="837676"/>
                  </a:lnTo>
                  <a:close/>
                  <a:moveTo>
                    <a:pt x="670014" y="838314"/>
                  </a:moveTo>
                  <a:lnTo>
                    <a:pt x="670014" y="838314"/>
                  </a:lnTo>
                  <a:lnTo>
                    <a:pt x="670014" y="838314"/>
                  </a:lnTo>
                  <a:lnTo>
                    <a:pt x="670014" y="838314"/>
                  </a:lnTo>
                  <a:close/>
                  <a:moveTo>
                    <a:pt x="852339" y="797514"/>
                  </a:moveTo>
                  <a:lnTo>
                    <a:pt x="852339" y="797514"/>
                  </a:lnTo>
                  <a:lnTo>
                    <a:pt x="852339" y="798789"/>
                  </a:lnTo>
                  <a:lnTo>
                    <a:pt x="852339" y="797514"/>
                  </a:lnTo>
                  <a:close/>
                  <a:moveTo>
                    <a:pt x="869552" y="793051"/>
                  </a:moveTo>
                  <a:lnTo>
                    <a:pt x="869552" y="791776"/>
                  </a:lnTo>
                  <a:lnTo>
                    <a:pt x="868277" y="793689"/>
                  </a:lnTo>
                  <a:lnTo>
                    <a:pt x="869552" y="793051"/>
                  </a:lnTo>
                  <a:lnTo>
                    <a:pt x="869552" y="793051"/>
                  </a:lnTo>
                  <a:close/>
                  <a:moveTo>
                    <a:pt x="863814" y="792414"/>
                  </a:moveTo>
                  <a:lnTo>
                    <a:pt x="861264" y="789864"/>
                  </a:lnTo>
                  <a:lnTo>
                    <a:pt x="860627" y="790502"/>
                  </a:lnTo>
                  <a:lnTo>
                    <a:pt x="863814" y="792414"/>
                  </a:lnTo>
                  <a:lnTo>
                    <a:pt x="863814" y="792414"/>
                  </a:lnTo>
                  <a:close/>
                  <a:moveTo>
                    <a:pt x="861902" y="796877"/>
                  </a:moveTo>
                  <a:lnTo>
                    <a:pt x="854252" y="786676"/>
                  </a:lnTo>
                  <a:lnTo>
                    <a:pt x="858714" y="794964"/>
                  </a:lnTo>
                  <a:lnTo>
                    <a:pt x="861902" y="796877"/>
                  </a:lnTo>
                  <a:lnTo>
                    <a:pt x="861902" y="796877"/>
                  </a:lnTo>
                  <a:close/>
                  <a:moveTo>
                    <a:pt x="922464" y="759264"/>
                  </a:moveTo>
                  <a:lnTo>
                    <a:pt x="922464" y="761814"/>
                  </a:lnTo>
                  <a:lnTo>
                    <a:pt x="923740" y="760539"/>
                  </a:lnTo>
                  <a:lnTo>
                    <a:pt x="922464" y="759264"/>
                  </a:lnTo>
                  <a:close/>
                  <a:moveTo>
                    <a:pt x="931389" y="752889"/>
                  </a:moveTo>
                  <a:lnTo>
                    <a:pt x="933302" y="749701"/>
                  </a:lnTo>
                  <a:lnTo>
                    <a:pt x="931389" y="752889"/>
                  </a:lnTo>
                  <a:lnTo>
                    <a:pt x="931389" y="752889"/>
                  </a:lnTo>
                  <a:lnTo>
                    <a:pt x="931389" y="752889"/>
                  </a:lnTo>
                  <a:close/>
                  <a:moveTo>
                    <a:pt x="933302" y="746514"/>
                  </a:moveTo>
                  <a:lnTo>
                    <a:pt x="933302" y="746514"/>
                  </a:lnTo>
                  <a:lnTo>
                    <a:pt x="933302" y="746514"/>
                  </a:lnTo>
                  <a:lnTo>
                    <a:pt x="933302" y="746514"/>
                  </a:lnTo>
                  <a:close/>
                  <a:moveTo>
                    <a:pt x="921827" y="744601"/>
                  </a:moveTo>
                  <a:lnTo>
                    <a:pt x="921827" y="744601"/>
                  </a:lnTo>
                  <a:lnTo>
                    <a:pt x="921827" y="744601"/>
                  </a:lnTo>
                  <a:lnTo>
                    <a:pt x="921827" y="744601"/>
                  </a:lnTo>
                  <a:close/>
                  <a:moveTo>
                    <a:pt x="928202" y="735039"/>
                  </a:moveTo>
                  <a:lnTo>
                    <a:pt x="928202" y="735039"/>
                  </a:lnTo>
                  <a:lnTo>
                    <a:pt x="928202" y="735039"/>
                  </a:lnTo>
                  <a:lnTo>
                    <a:pt x="928202" y="735039"/>
                  </a:lnTo>
                  <a:lnTo>
                    <a:pt x="928202" y="735039"/>
                  </a:lnTo>
                  <a:close/>
                  <a:moveTo>
                    <a:pt x="910352" y="734401"/>
                  </a:moveTo>
                  <a:lnTo>
                    <a:pt x="910352" y="734401"/>
                  </a:lnTo>
                  <a:lnTo>
                    <a:pt x="910352" y="734401"/>
                  </a:lnTo>
                  <a:lnTo>
                    <a:pt x="910352" y="734401"/>
                  </a:lnTo>
                  <a:close/>
                  <a:moveTo>
                    <a:pt x="932027" y="719739"/>
                  </a:moveTo>
                  <a:lnTo>
                    <a:pt x="930752" y="720376"/>
                  </a:lnTo>
                  <a:lnTo>
                    <a:pt x="932664" y="721014"/>
                  </a:lnTo>
                  <a:lnTo>
                    <a:pt x="932027" y="719739"/>
                  </a:lnTo>
                  <a:lnTo>
                    <a:pt x="932027" y="719739"/>
                  </a:lnTo>
                  <a:close/>
                  <a:moveTo>
                    <a:pt x="934577" y="719739"/>
                  </a:moveTo>
                  <a:lnTo>
                    <a:pt x="933302" y="718464"/>
                  </a:lnTo>
                  <a:lnTo>
                    <a:pt x="934577" y="719739"/>
                  </a:lnTo>
                  <a:lnTo>
                    <a:pt x="934577" y="719739"/>
                  </a:lnTo>
                  <a:lnTo>
                    <a:pt x="934577" y="719739"/>
                  </a:lnTo>
                  <a:close/>
                  <a:moveTo>
                    <a:pt x="930115" y="718464"/>
                  </a:moveTo>
                  <a:lnTo>
                    <a:pt x="930115" y="718464"/>
                  </a:lnTo>
                  <a:lnTo>
                    <a:pt x="930115" y="718464"/>
                  </a:lnTo>
                  <a:lnTo>
                    <a:pt x="930115" y="718464"/>
                  </a:lnTo>
                  <a:lnTo>
                    <a:pt x="930115" y="718464"/>
                  </a:lnTo>
                  <a:close/>
                  <a:moveTo>
                    <a:pt x="953702" y="714001"/>
                  </a:moveTo>
                  <a:lnTo>
                    <a:pt x="953702" y="714001"/>
                  </a:lnTo>
                  <a:lnTo>
                    <a:pt x="952427" y="715914"/>
                  </a:lnTo>
                  <a:lnTo>
                    <a:pt x="953702" y="714001"/>
                  </a:lnTo>
                  <a:lnTo>
                    <a:pt x="953702" y="714001"/>
                  </a:lnTo>
                  <a:close/>
                  <a:moveTo>
                    <a:pt x="927564" y="716551"/>
                  </a:moveTo>
                  <a:lnTo>
                    <a:pt x="926289" y="716551"/>
                  </a:lnTo>
                  <a:lnTo>
                    <a:pt x="927564" y="716551"/>
                  </a:lnTo>
                  <a:lnTo>
                    <a:pt x="927564" y="716551"/>
                  </a:lnTo>
                  <a:close/>
                  <a:moveTo>
                    <a:pt x="940952" y="708264"/>
                  </a:moveTo>
                  <a:lnTo>
                    <a:pt x="939039" y="708264"/>
                  </a:lnTo>
                  <a:lnTo>
                    <a:pt x="938402" y="708901"/>
                  </a:lnTo>
                  <a:lnTo>
                    <a:pt x="940952" y="708264"/>
                  </a:lnTo>
                  <a:lnTo>
                    <a:pt x="940952" y="708264"/>
                  </a:lnTo>
                  <a:close/>
                  <a:moveTo>
                    <a:pt x="946052" y="705714"/>
                  </a:moveTo>
                  <a:lnTo>
                    <a:pt x="946052" y="705714"/>
                  </a:lnTo>
                  <a:lnTo>
                    <a:pt x="946052" y="705714"/>
                  </a:lnTo>
                  <a:lnTo>
                    <a:pt x="946052" y="705714"/>
                  </a:lnTo>
                  <a:close/>
                  <a:moveTo>
                    <a:pt x="891864" y="707626"/>
                  </a:moveTo>
                  <a:lnTo>
                    <a:pt x="891864" y="706351"/>
                  </a:lnTo>
                  <a:lnTo>
                    <a:pt x="891864" y="707626"/>
                  </a:lnTo>
                  <a:lnTo>
                    <a:pt x="891864" y="707626"/>
                  </a:lnTo>
                  <a:close/>
                  <a:moveTo>
                    <a:pt x="897602" y="705714"/>
                  </a:moveTo>
                  <a:lnTo>
                    <a:pt x="895689" y="705714"/>
                  </a:lnTo>
                  <a:lnTo>
                    <a:pt x="897602" y="709539"/>
                  </a:lnTo>
                  <a:lnTo>
                    <a:pt x="897602" y="705714"/>
                  </a:lnTo>
                  <a:close/>
                  <a:moveTo>
                    <a:pt x="882302" y="706351"/>
                  </a:moveTo>
                  <a:lnTo>
                    <a:pt x="882302" y="702526"/>
                  </a:lnTo>
                  <a:lnTo>
                    <a:pt x="879114" y="703164"/>
                  </a:lnTo>
                  <a:lnTo>
                    <a:pt x="882302" y="706351"/>
                  </a:lnTo>
                  <a:close/>
                  <a:moveTo>
                    <a:pt x="873377" y="700614"/>
                  </a:moveTo>
                  <a:lnTo>
                    <a:pt x="876564" y="703801"/>
                  </a:lnTo>
                  <a:lnTo>
                    <a:pt x="876564" y="702526"/>
                  </a:lnTo>
                  <a:lnTo>
                    <a:pt x="873377" y="700614"/>
                  </a:lnTo>
                  <a:lnTo>
                    <a:pt x="873377" y="700614"/>
                  </a:lnTo>
                  <a:close/>
                  <a:moveTo>
                    <a:pt x="967727" y="704439"/>
                  </a:moveTo>
                  <a:lnTo>
                    <a:pt x="956252" y="709539"/>
                  </a:lnTo>
                  <a:lnTo>
                    <a:pt x="960077" y="710176"/>
                  </a:lnTo>
                  <a:lnTo>
                    <a:pt x="967727" y="704439"/>
                  </a:lnTo>
                  <a:close/>
                  <a:moveTo>
                    <a:pt x="877839" y="698701"/>
                  </a:moveTo>
                  <a:lnTo>
                    <a:pt x="874014" y="698701"/>
                  </a:lnTo>
                  <a:lnTo>
                    <a:pt x="874014" y="699976"/>
                  </a:lnTo>
                  <a:lnTo>
                    <a:pt x="877839" y="698701"/>
                  </a:lnTo>
                  <a:close/>
                  <a:moveTo>
                    <a:pt x="979202" y="666189"/>
                  </a:moveTo>
                  <a:lnTo>
                    <a:pt x="979840" y="663001"/>
                  </a:lnTo>
                  <a:lnTo>
                    <a:pt x="980477" y="654714"/>
                  </a:lnTo>
                  <a:lnTo>
                    <a:pt x="979202" y="666189"/>
                  </a:lnTo>
                  <a:lnTo>
                    <a:pt x="979202" y="666189"/>
                  </a:lnTo>
                  <a:close/>
                  <a:moveTo>
                    <a:pt x="979840" y="630489"/>
                  </a:moveTo>
                  <a:lnTo>
                    <a:pt x="977289" y="624114"/>
                  </a:lnTo>
                  <a:lnTo>
                    <a:pt x="976014" y="626664"/>
                  </a:lnTo>
                  <a:lnTo>
                    <a:pt x="979840" y="630489"/>
                  </a:lnTo>
                  <a:close/>
                  <a:moveTo>
                    <a:pt x="831302" y="646426"/>
                  </a:moveTo>
                  <a:lnTo>
                    <a:pt x="830027" y="648339"/>
                  </a:lnTo>
                  <a:lnTo>
                    <a:pt x="833214" y="648976"/>
                  </a:lnTo>
                  <a:lnTo>
                    <a:pt x="831302" y="646426"/>
                  </a:lnTo>
                  <a:lnTo>
                    <a:pt x="831302" y="646426"/>
                  </a:lnTo>
                  <a:close/>
                  <a:moveTo>
                    <a:pt x="819827" y="640051"/>
                  </a:moveTo>
                  <a:lnTo>
                    <a:pt x="814089" y="641964"/>
                  </a:lnTo>
                  <a:lnTo>
                    <a:pt x="818552" y="642601"/>
                  </a:lnTo>
                  <a:lnTo>
                    <a:pt x="819827" y="640051"/>
                  </a:lnTo>
                  <a:lnTo>
                    <a:pt x="819827" y="640051"/>
                  </a:lnTo>
                  <a:close/>
                  <a:moveTo>
                    <a:pt x="806439" y="641326"/>
                  </a:moveTo>
                  <a:lnTo>
                    <a:pt x="806439" y="639414"/>
                  </a:lnTo>
                  <a:lnTo>
                    <a:pt x="805802" y="640051"/>
                  </a:lnTo>
                  <a:lnTo>
                    <a:pt x="806439" y="641326"/>
                  </a:lnTo>
                  <a:lnTo>
                    <a:pt x="806439" y="641326"/>
                  </a:lnTo>
                  <a:close/>
                  <a:moveTo>
                    <a:pt x="793052" y="640689"/>
                  </a:moveTo>
                  <a:lnTo>
                    <a:pt x="789227" y="643239"/>
                  </a:lnTo>
                  <a:lnTo>
                    <a:pt x="794326" y="645789"/>
                  </a:lnTo>
                  <a:lnTo>
                    <a:pt x="793052" y="640689"/>
                  </a:lnTo>
                  <a:lnTo>
                    <a:pt x="793052" y="640689"/>
                  </a:lnTo>
                  <a:close/>
                  <a:moveTo>
                    <a:pt x="810902" y="641326"/>
                  </a:moveTo>
                  <a:lnTo>
                    <a:pt x="810264" y="639414"/>
                  </a:lnTo>
                  <a:lnTo>
                    <a:pt x="807076" y="638776"/>
                  </a:lnTo>
                  <a:lnTo>
                    <a:pt x="810902" y="641326"/>
                  </a:lnTo>
                  <a:lnTo>
                    <a:pt x="810902" y="641326"/>
                  </a:lnTo>
                  <a:close/>
                  <a:moveTo>
                    <a:pt x="726751" y="578851"/>
                  </a:moveTo>
                  <a:lnTo>
                    <a:pt x="722927" y="580764"/>
                  </a:lnTo>
                  <a:lnTo>
                    <a:pt x="730576" y="583314"/>
                  </a:lnTo>
                  <a:lnTo>
                    <a:pt x="726751" y="578851"/>
                  </a:lnTo>
                  <a:lnTo>
                    <a:pt x="726751" y="578851"/>
                  </a:lnTo>
                  <a:close/>
                  <a:moveTo>
                    <a:pt x="711451" y="558451"/>
                  </a:moveTo>
                  <a:lnTo>
                    <a:pt x="706351" y="550801"/>
                  </a:lnTo>
                  <a:lnTo>
                    <a:pt x="708264" y="556539"/>
                  </a:lnTo>
                  <a:lnTo>
                    <a:pt x="711451" y="558451"/>
                  </a:lnTo>
                  <a:lnTo>
                    <a:pt x="711451" y="558451"/>
                  </a:lnTo>
                  <a:close/>
                  <a:moveTo>
                    <a:pt x="731214" y="571201"/>
                  </a:moveTo>
                  <a:lnTo>
                    <a:pt x="721652" y="550801"/>
                  </a:lnTo>
                  <a:lnTo>
                    <a:pt x="715277" y="548888"/>
                  </a:lnTo>
                  <a:lnTo>
                    <a:pt x="731214" y="571201"/>
                  </a:lnTo>
                  <a:close/>
                  <a:moveTo>
                    <a:pt x="705714" y="545701"/>
                  </a:moveTo>
                  <a:lnTo>
                    <a:pt x="703802" y="540601"/>
                  </a:lnTo>
                  <a:lnTo>
                    <a:pt x="702527" y="537414"/>
                  </a:lnTo>
                  <a:lnTo>
                    <a:pt x="705714" y="545701"/>
                  </a:lnTo>
                  <a:lnTo>
                    <a:pt x="705714" y="545701"/>
                  </a:lnTo>
                  <a:close/>
                  <a:moveTo>
                    <a:pt x="652164" y="474301"/>
                  </a:moveTo>
                  <a:lnTo>
                    <a:pt x="640689" y="466013"/>
                  </a:lnTo>
                  <a:lnTo>
                    <a:pt x="645151" y="470476"/>
                  </a:lnTo>
                  <a:lnTo>
                    <a:pt x="652164" y="474301"/>
                  </a:lnTo>
                  <a:close/>
                  <a:moveTo>
                    <a:pt x="941589" y="430951"/>
                  </a:moveTo>
                  <a:lnTo>
                    <a:pt x="894414" y="353175"/>
                  </a:lnTo>
                  <a:lnTo>
                    <a:pt x="891864" y="353175"/>
                  </a:lnTo>
                  <a:lnTo>
                    <a:pt x="941589" y="430951"/>
                  </a:lnTo>
                  <a:lnTo>
                    <a:pt x="941589" y="430951"/>
                  </a:lnTo>
                  <a:close/>
                  <a:moveTo>
                    <a:pt x="617101" y="306001"/>
                  </a:moveTo>
                  <a:lnTo>
                    <a:pt x="615189" y="305363"/>
                  </a:lnTo>
                  <a:lnTo>
                    <a:pt x="617101" y="306001"/>
                  </a:lnTo>
                  <a:lnTo>
                    <a:pt x="617101" y="306001"/>
                  </a:lnTo>
                  <a:lnTo>
                    <a:pt x="617101" y="306001"/>
                  </a:lnTo>
                  <a:close/>
                  <a:moveTo>
                    <a:pt x="613276" y="301538"/>
                  </a:moveTo>
                  <a:lnTo>
                    <a:pt x="613276" y="301538"/>
                  </a:lnTo>
                  <a:lnTo>
                    <a:pt x="613276" y="302813"/>
                  </a:lnTo>
                  <a:lnTo>
                    <a:pt x="613276" y="301538"/>
                  </a:lnTo>
                  <a:lnTo>
                    <a:pt x="613276" y="301538"/>
                  </a:lnTo>
                  <a:close/>
                  <a:moveTo>
                    <a:pt x="608176" y="294525"/>
                  </a:moveTo>
                  <a:lnTo>
                    <a:pt x="608176" y="294525"/>
                  </a:lnTo>
                  <a:lnTo>
                    <a:pt x="608176" y="294525"/>
                  </a:lnTo>
                  <a:lnTo>
                    <a:pt x="608176" y="294525"/>
                  </a:lnTo>
                  <a:close/>
                  <a:moveTo>
                    <a:pt x="611364" y="291976"/>
                  </a:moveTo>
                  <a:lnTo>
                    <a:pt x="613276" y="293251"/>
                  </a:lnTo>
                  <a:lnTo>
                    <a:pt x="613276" y="291976"/>
                  </a:lnTo>
                  <a:lnTo>
                    <a:pt x="611364" y="291976"/>
                  </a:lnTo>
                  <a:close/>
                  <a:moveTo>
                    <a:pt x="615189" y="290063"/>
                  </a:moveTo>
                  <a:lnTo>
                    <a:pt x="612639" y="290700"/>
                  </a:lnTo>
                  <a:lnTo>
                    <a:pt x="613276" y="290700"/>
                  </a:lnTo>
                  <a:lnTo>
                    <a:pt x="615189" y="290063"/>
                  </a:lnTo>
                  <a:lnTo>
                    <a:pt x="615189" y="290063"/>
                  </a:lnTo>
                  <a:close/>
                  <a:moveTo>
                    <a:pt x="610726" y="289425"/>
                  </a:moveTo>
                  <a:lnTo>
                    <a:pt x="608814" y="287513"/>
                  </a:lnTo>
                  <a:lnTo>
                    <a:pt x="609451" y="288150"/>
                  </a:lnTo>
                  <a:lnTo>
                    <a:pt x="610726" y="289425"/>
                  </a:lnTo>
                  <a:lnTo>
                    <a:pt x="610726" y="289425"/>
                  </a:lnTo>
                  <a:close/>
                  <a:moveTo>
                    <a:pt x="605626" y="282413"/>
                  </a:moveTo>
                  <a:lnTo>
                    <a:pt x="604351" y="282413"/>
                  </a:lnTo>
                  <a:lnTo>
                    <a:pt x="605626" y="282413"/>
                  </a:lnTo>
                  <a:lnTo>
                    <a:pt x="605626" y="282413"/>
                  </a:lnTo>
                  <a:lnTo>
                    <a:pt x="605626" y="282413"/>
                  </a:lnTo>
                  <a:close/>
                  <a:moveTo>
                    <a:pt x="610726" y="274126"/>
                  </a:moveTo>
                  <a:lnTo>
                    <a:pt x="608176" y="274126"/>
                  </a:lnTo>
                  <a:lnTo>
                    <a:pt x="607539" y="274763"/>
                  </a:lnTo>
                  <a:lnTo>
                    <a:pt x="610726" y="274126"/>
                  </a:lnTo>
                  <a:lnTo>
                    <a:pt x="610726" y="274126"/>
                  </a:lnTo>
                  <a:close/>
                  <a:moveTo>
                    <a:pt x="613276" y="275400"/>
                  </a:moveTo>
                  <a:lnTo>
                    <a:pt x="610089" y="272213"/>
                  </a:lnTo>
                  <a:lnTo>
                    <a:pt x="611364" y="272850"/>
                  </a:lnTo>
                  <a:lnTo>
                    <a:pt x="613276" y="275400"/>
                  </a:lnTo>
                  <a:lnTo>
                    <a:pt x="613276" y="275400"/>
                  </a:lnTo>
                  <a:close/>
                  <a:moveTo>
                    <a:pt x="588414" y="247988"/>
                  </a:moveTo>
                  <a:lnTo>
                    <a:pt x="587139" y="247350"/>
                  </a:lnTo>
                  <a:lnTo>
                    <a:pt x="587139" y="247988"/>
                  </a:lnTo>
                  <a:lnTo>
                    <a:pt x="588414" y="247988"/>
                  </a:lnTo>
                  <a:close/>
                  <a:moveTo>
                    <a:pt x="561001" y="247988"/>
                  </a:moveTo>
                  <a:lnTo>
                    <a:pt x="559089" y="245438"/>
                  </a:lnTo>
                  <a:lnTo>
                    <a:pt x="559726" y="248626"/>
                  </a:lnTo>
                  <a:lnTo>
                    <a:pt x="561001" y="247988"/>
                  </a:lnTo>
                  <a:lnTo>
                    <a:pt x="561001" y="247988"/>
                  </a:lnTo>
                  <a:close/>
                  <a:moveTo>
                    <a:pt x="327038" y="226950"/>
                  </a:moveTo>
                  <a:lnTo>
                    <a:pt x="346163" y="212288"/>
                  </a:lnTo>
                  <a:lnTo>
                    <a:pt x="325126" y="226313"/>
                  </a:lnTo>
                  <a:lnTo>
                    <a:pt x="327038" y="226950"/>
                  </a:lnTo>
                  <a:lnTo>
                    <a:pt x="327038" y="226950"/>
                  </a:lnTo>
                  <a:close/>
                  <a:moveTo>
                    <a:pt x="365288" y="196350"/>
                  </a:moveTo>
                  <a:lnTo>
                    <a:pt x="367201" y="194438"/>
                  </a:lnTo>
                  <a:lnTo>
                    <a:pt x="359551" y="197625"/>
                  </a:lnTo>
                  <a:lnTo>
                    <a:pt x="365288" y="196350"/>
                  </a:lnTo>
                  <a:lnTo>
                    <a:pt x="365288" y="196350"/>
                  </a:lnTo>
                  <a:close/>
                  <a:moveTo>
                    <a:pt x="121125" y="153000"/>
                  </a:moveTo>
                  <a:lnTo>
                    <a:pt x="51000" y="175313"/>
                  </a:lnTo>
                  <a:lnTo>
                    <a:pt x="89250" y="163838"/>
                  </a:lnTo>
                  <a:lnTo>
                    <a:pt x="121125" y="153000"/>
                  </a:lnTo>
                  <a:close/>
                  <a:moveTo>
                    <a:pt x="295801" y="43987"/>
                  </a:moveTo>
                  <a:lnTo>
                    <a:pt x="277313" y="47175"/>
                  </a:lnTo>
                  <a:lnTo>
                    <a:pt x="0" y="92438"/>
                  </a:lnTo>
                  <a:lnTo>
                    <a:pt x="29325" y="158738"/>
                  </a:lnTo>
                  <a:lnTo>
                    <a:pt x="31238" y="159375"/>
                  </a:lnTo>
                  <a:lnTo>
                    <a:pt x="24225" y="186150"/>
                  </a:lnTo>
                  <a:lnTo>
                    <a:pt x="44625" y="176588"/>
                  </a:lnTo>
                  <a:lnTo>
                    <a:pt x="66938" y="156825"/>
                  </a:lnTo>
                  <a:lnTo>
                    <a:pt x="105188" y="155550"/>
                  </a:lnTo>
                  <a:lnTo>
                    <a:pt x="149813" y="139613"/>
                  </a:lnTo>
                  <a:lnTo>
                    <a:pt x="180413" y="144075"/>
                  </a:lnTo>
                  <a:lnTo>
                    <a:pt x="173400" y="155550"/>
                  </a:lnTo>
                  <a:lnTo>
                    <a:pt x="228225" y="174038"/>
                  </a:lnTo>
                  <a:lnTo>
                    <a:pt x="276038" y="196988"/>
                  </a:lnTo>
                  <a:lnTo>
                    <a:pt x="287513" y="222488"/>
                  </a:lnTo>
                  <a:lnTo>
                    <a:pt x="322576" y="214838"/>
                  </a:lnTo>
                  <a:lnTo>
                    <a:pt x="406088" y="146625"/>
                  </a:lnTo>
                  <a:lnTo>
                    <a:pt x="437326" y="147900"/>
                  </a:lnTo>
                  <a:lnTo>
                    <a:pt x="562914" y="242888"/>
                  </a:lnTo>
                  <a:lnTo>
                    <a:pt x="588414" y="237788"/>
                  </a:lnTo>
                  <a:lnTo>
                    <a:pt x="615826" y="273488"/>
                  </a:lnTo>
                  <a:lnTo>
                    <a:pt x="620926" y="330226"/>
                  </a:lnTo>
                  <a:lnTo>
                    <a:pt x="612639" y="365926"/>
                  </a:lnTo>
                  <a:lnTo>
                    <a:pt x="616464" y="383775"/>
                  </a:lnTo>
                  <a:lnTo>
                    <a:pt x="638776" y="429038"/>
                  </a:lnTo>
                  <a:lnTo>
                    <a:pt x="627939" y="393976"/>
                  </a:lnTo>
                  <a:lnTo>
                    <a:pt x="657264" y="393338"/>
                  </a:lnTo>
                  <a:lnTo>
                    <a:pt x="659814" y="418838"/>
                  </a:lnTo>
                  <a:lnTo>
                    <a:pt x="644514" y="458363"/>
                  </a:lnTo>
                  <a:lnTo>
                    <a:pt x="698064" y="531676"/>
                  </a:lnTo>
                  <a:lnTo>
                    <a:pt x="717826" y="532314"/>
                  </a:lnTo>
                  <a:lnTo>
                    <a:pt x="701251" y="510001"/>
                  </a:lnTo>
                  <a:lnTo>
                    <a:pt x="721652" y="512551"/>
                  </a:lnTo>
                  <a:lnTo>
                    <a:pt x="733764" y="504901"/>
                  </a:lnTo>
                  <a:lnTo>
                    <a:pt x="728664" y="545701"/>
                  </a:lnTo>
                  <a:lnTo>
                    <a:pt x="756714" y="567376"/>
                  </a:lnTo>
                  <a:lnTo>
                    <a:pt x="775201" y="617739"/>
                  </a:lnTo>
                  <a:lnTo>
                    <a:pt x="800064" y="633039"/>
                  </a:lnTo>
                  <a:lnTo>
                    <a:pt x="832577" y="641326"/>
                  </a:lnTo>
                  <a:lnTo>
                    <a:pt x="877202" y="697426"/>
                  </a:lnTo>
                  <a:lnTo>
                    <a:pt x="900152" y="709539"/>
                  </a:lnTo>
                  <a:lnTo>
                    <a:pt x="868914" y="711451"/>
                  </a:lnTo>
                  <a:lnTo>
                    <a:pt x="882939" y="727389"/>
                  </a:lnTo>
                  <a:lnTo>
                    <a:pt x="933939" y="710814"/>
                  </a:lnTo>
                  <a:lnTo>
                    <a:pt x="958802" y="696789"/>
                  </a:lnTo>
                  <a:lnTo>
                    <a:pt x="981752" y="615826"/>
                  </a:lnTo>
                  <a:lnTo>
                    <a:pt x="970277" y="490238"/>
                  </a:lnTo>
                  <a:lnTo>
                    <a:pt x="967727" y="477488"/>
                  </a:lnTo>
                  <a:lnTo>
                    <a:pt x="905889" y="374851"/>
                  </a:lnTo>
                  <a:lnTo>
                    <a:pt x="852977" y="300263"/>
                  </a:lnTo>
                  <a:lnTo>
                    <a:pt x="823014" y="239700"/>
                  </a:lnTo>
                  <a:lnTo>
                    <a:pt x="847877" y="260738"/>
                  </a:lnTo>
                  <a:lnTo>
                    <a:pt x="852977" y="256913"/>
                  </a:lnTo>
                  <a:lnTo>
                    <a:pt x="864452" y="310463"/>
                  </a:lnTo>
                  <a:lnTo>
                    <a:pt x="893139" y="350626"/>
                  </a:lnTo>
                  <a:lnTo>
                    <a:pt x="865089" y="296438"/>
                  </a:lnTo>
                  <a:lnTo>
                    <a:pt x="866364" y="270938"/>
                  </a:lnTo>
                  <a:lnTo>
                    <a:pt x="783489" y="170213"/>
                  </a:lnTo>
                  <a:lnTo>
                    <a:pt x="763726" y="138337"/>
                  </a:lnTo>
                  <a:lnTo>
                    <a:pt x="736951" y="84788"/>
                  </a:lnTo>
                  <a:lnTo>
                    <a:pt x="719101" y="39525"/>
                  </a:lnTo>
                  <a:lnTo>
                    <a:pt x="705076" y="23587"/>
                  </a:lnTo>
                  <a:lnTo>
                    <a:pt x="701889" y="3188"/>
                  </a:lnTo>
                  <a:lnTo>
                    <a:pt x="701251" y="2550"/>
                  </a:lnTo>
                  <a:lnTo>
                    <a:pt x="656626" y="0"/>
                  </a:lnTo>
                  <a:lnTo>
                    <a:pt x="639414" y="13387"/>
                  </a:lnTo>
                  <a:lnTo>
                    <a:pt x="629214" y="63112"/>
                  </a:lnTo>
                  <a:lnTo>
                    <a:pt x="619651" y="40163"/>
                  </a:lnTo>
                  <a:lnTo>
                    <a:pt x="316838" y="77775"/>
                  </a:lnTo>
                  <a:lnTo>
                    <a:pt x="295801" y="43987"/>
                  </a:lnTo>
                  <a:lnTo>
                    <a:pt x="295801" y="43987"/>
                  </a:lnTo>
                  <a:lnTo>
                    <a:pt x="295801" y="43987"/>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49" name="Freeform 49">
              <a:extLst>
                <a:ext uri="{FF2B5EF4-FFF2-40B4-BE49-F238E27FC236}">
                  <a16:creationId xmlns:a16="http://schemas.microsoft.com/office/drawing/2014/main" id="{417D448D-EDEA-F3B1-0EE3-3C17C0C84F1F}"/>
                </a:ext>
              </a:extLst>
            </p:cNvPr>
            <p:cNvSpPr/>
            <p:nvPr/>
          </p:nvSpPr>
          <p:spPr>
            <a:xfrm>
              <a:off x="5325878" y="3142225"/>
              <a:ext cx="386325" cy="659176"/>
            </a:xfrm>
            <a:custGeom>
              <a:avLst/>
              <a:gdLst>
                <a:gd name="connsiteX0" fmla="*/ 325126 w 386325"/>
                <a:gd name="connsiteY0" fmla="*/ 648976 h 659176"/>
                <a:gd name="connsiteX1" fmla="*/ 321938 w 386325"/>
                <a:gd name="connsiteY1" fmla="*/ 649614 h 659176"/>
                <a:gd name="connsiteX2" fmla="*/ 321938 w 386325"/>
                <a:gd name="connsiteY2" fmla="*/ 650251 h 659176"/>
                <a:gd name="connsiteX3" fmla="*/ 325126 w 386325"/>
                <a:gd name="connsiteY3" fmla="*/ 648976 h 659176"/>
                <a:gd name="connsiteX4" fmla="*/ 325126 w 386325"/>
                <a:gd name="connsiteY4" fmla="*/ 648976 h 659176"/>
                <a:gd name="connsiteX5" fmla="*/ 385051 w 386325"/>
                <a:gd name="connsiteY5" fmla="*/ 641326 h 659176"/>
                <a:gd name="connsiteX6" fmla="*/ 375488 w 386325"/>
                <a:gd name="connsiteY6" fmla="*/ 641326 h 659176"/>
                <a:gd name="connsiteX7" fmla="*/ 385051 w 386325"/>
                <a:gd name="connsiteY7" fmla="*/ 641326 h 659176"/>
                <a:gd name="connsiteX8" fmla="*/ 385051 w 386325"/>
                <a:gd name="connsiteY8" fmla="*/ 641326 h 659176"/>
                <a:gd name="connsiteX9" fmla="*/ 385051 w 386325"/>
                <a:gd name="connsiteY9" fmla="*/ 641326 h 659176"/>
                <a:gd name="connsiteX10" fmla="*/ 309825 w 386325"/>
                <a:gd name="connsiteY10" fmla="*/ 647701 h 659176"/>
                <a:gd name="connsiteX11" fmla="*/ 307276 w 386325"/>
                <a:gd name="connsiteY11" fmla="*/ 650251 h 659176"/>
                <a:gd name="connsiteX12" fmla="*/ 307913 w 386325"/>
                <a:gd name="connsiteY12" fmla="*/ 650889 h 659176"/>
                <a:gd name="connsiteX13" fmla="*/ 309825 w 386325"/>
                <a:gd name="connsiteY13" fmla="*/ 647701 h 659176"/>
                <a:gd name="connsiteX14" fmla="*/ 309825 w 386325"/>
                <a:gd name="connsiteY14" fmla="*/ 647701 h 659176"/>
                <a:gd name="connsiteX15" fmla="*/ 371026 w 386325"/>
                <a:gd name="connsiteY15" fmla="*/ 642601 h 659176"/>
                <a:gd name="connsiteX16" fmla="*/ 346801 w 386325"/>
                <a:gd name="connsiteY16" fmla="*/ 642601 h 659176"/>
                <a:gd name="connsiteX17" fmla="*/ 369751 w 386325"/>
                <a:gd name="connsiteY17" fmla="*/ 643239 h 659176"/>
                <a:gd name="connsiteX18" fmla="*/ 371026 w 386325"/>
                <a:gd name="connsiteY18" fmla="*/ 642601 h 659176"/>
                <a:gd name="connsiteX19" fmla="*/ 102638 w 386325"/>
                <a:gd name="connsiteY19" fmla="*/ 29963 h 659176"/>
                <a:gd name="connsiteX20" fmla="*/ 102638 w 386325"/>
                <a:gd name="connsiteY20" fmla="*/ 29963 h 659176"/>
                <a:gd name="connsiteX21" fmla="*/ 75225 w 386325"/>
                <a:gd name="connsiteY21" fmla="*/ 75862 h 659176"/>
                <a:gd name="connsiteX22" fmla="*/ 77775 w 386325"/>
                <a:gd name="connsiteY22" fmla="*/ 110288 h 659176"/>
                <a:gd name="connsiteX23" fmla="*/ 41438 w 386325"/>
                <a:gd name="connsiteY23" fmla="*/ 150450 h 659176"/>
                <a:gd name="connsiteX24" fmla="*/ 51637 w 386325"/>
                <a:gd name="connsiteY24" fmla="*/ 161925 h 659176"/>
                <a:gd name="connsiteX25" fmla="*/ 27412 w 386325"/>
                <a:gd name="connsiteY25" fmla="*/ 264563 h 659176"/>
                <a:gd name="connsiteX26" fmla="*/ 38887 w 386325"/>
                <a:gd name="connsiteY26" fmla="*/ 286238 h 659176"/>
                <a:gd name="connsiteX27" fmla="*/ 32512 w 386325"/>
                <a:gd name="connsiteY27" fmla="*/ 290700 h 659176"/>
                <a:gd name="connsiteX28" fmla="*/ 33150 w 386325"/>
                <a:gd name="connsiteY28" fmla="*/ 304726 h 659176"/>
                <a:gd name="connsiteX29" fmla="*/ 33150 w 386325"/>
                <a:gd name="connsiteY29" fmla="*/ 309188 h 659176"/>
                <a:gd name="connsiteX30" fmla="*/ 47813 w 386325"/>
                <a:gd name="connsiteY30" fmla="*/ 343613 h 659176"/>
                <a:gd name="connsiteX31" fmla="*/ 46538 w 386325"/>
                <a:gd name="connsiteY31" fmla="*/ 364651 h 659176"/>
                <a:gd name="connsiteX32" fmla="*/ 70125 w 386325"/>
                <a:gd name="connsiteY32" fmla="*/ 393976 h 659176"/>
                <a:gd name="connsiteX33" fmla="*/ 21037 w 386325"/>
                <a:gd name="connsiteY33" fmla="*/ 477488 h 659176"/>
                <a:gd name="connsiteX34" fmla="*/ 13387 w 386325"/>
                <a:gd name="connsiteY34" fmla="*/ 527851 h 659176"/>
                <a:gd name="connsiteX35" fmla="*/ 0 w 386325"/>
                <a:gd name="connsiteY35" fmla="*/ 547613 h 659176"/>
                <a:gd name="connsiteX36" fmla="*/ 9563 w 386325"/>
                <a:gd name="connsiteY36" fmla="*/ 570564 h 659176"/>
                <a:gd name="connsiteX37" fmla="*/ 1275 w 386325"/>
                <a:gd name="connsiteY37" fmla="*/ 578851 h 659176"/>
                <a:gd name="connsiteX38" fmla="*/ 223125 w 386325"/>
                <a:gd name="connsiteY38" fmla="*/ 554626 h 659176"/>
                <a:gd name="connsiteX39" fmla="*/ 215475 w 386325"/>
                <a:gd name="connsiteY39" fmla="*/ 585863 h 659176"/>
                <a:gd name="connsiteX40" fmla="*/ 244163 w 386325"/>
                <a:gd name="connsiteY40" fmla="*/ 640689 h 659176"/>
                <a:gd name="connsiteX41" fmla="*/ 258825 w 386325"/>
                <a:gd name="connsiteY41" fmla="*/ 659176 h 659176"/>
                <a:gd name="connsiteX42" fmla="*/ 258825 w 386325"/>
                <a:gd name="connsiteY42" fmla="*/ 658539 h 659176"/>
                <a:gd name="connsiteX43" fmla="*/ 282413 w 386325"/>
                <a:gd name="connsiteY43" fmla="*/ 631126 h 659176"/>
                <a:gd name="connsiteX44" fmla="*/ 332776 w 386325"/>
                <a:gd name="connsiteY44" fmla="*/ 619651 h 659176"/>
                <a:gd name="connsiteX45" fmla="*/ 379313 w 386325"/>
                <a:gd name="connsiteY45" fmla="*/ 624751 h 659176"/>
                <a:gd name="connsiteX46" fmla="*/ 386326 w 386325"/>
                <a:gd name="connsiteY46" fmla="*/ 615189 h 659176"/>
                <a:gd name="connsiteX47" fmla="*/ 386326 w 386325"/>
                <a:gd name="connsiteY47" fmla="*/ 615826 h 659176"/>
                <a:gd name="connsiteX48" fmla="*/ 353176 w 386325"/>
                <a:gd name="connsiteY48" fmla="*/ 418201 h 659176"/>
                <a:gd name="connsiteX49" fmla="*/ 351901 w 386325"/>
                <a:gd name="connsiteY49" fmla="*/ 274126 h 659176"/>
                <a:gd name="connsiteX50" fmla="*/ 348076 w 386325"/>
                <a:gd name="connsiteY50" fmla="*/ 10838 h 659176"/>
                <a:gd name="connsiteX51" fmla="*/ 338513 w 386325"/>
                <a:gd name="connsiteY51" fmla="*/ 5100 h 659176"/>
                <a:gd name="connsiteX52" fmla="*/ 335963 w 386325"/>
                <a:gd name="connsiteY52" fmla="*/ 0 h 659176"/>
                <a:gd name="connsiteX53" fmla="*/ 334688 w 386325"/>
                <a:gd name="connsiteY53" fmla="*/ 0 h 659176"/>
                <a:gd name="connsiteX54" fmla="*/ 302176 w 386325"/>
                <a:gd name="connsiteY54" fmla="*/ 4463 h 659176"/>
                <a:gd name="connsiteX55" fmla="*/ 246075 w 386325"/>
                <a:gd name="connsiteY55" fmla="*/ 12112 h 659176"/>
                <a:gd name="connsiteX56" fmla="*/ 117938 w 386325"/>
                <a:gd name="connsiteY56" fmla="*/ 28050 h 659176"/>
                <a:gd name="connsiteX57" fmla="*/ 102638 w 386325"/>
                <a:gd name="connsiteY57" fmla="*/ 29963 h 659176"/>
                <a:gd name="connsiteX58" fmla="*/ 102638 w 386325"/>
                <a:gd name="connsiteY58" fmla="*/ 29963 h 65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86325" h="659176">
                  <a:moveTo>
                    <a:pt x="325126" y="648976"/>
                  </a:moveTo>
                  <a:lnTo>
                    <a:pt x="321938" y="649614"/>
                  </a:lnTo>
                  <a:lnTo>
                    <a:pt x="321938" y="650251"/>
                  </a:lnTo>
                  <a:lnTo>
                    <a:pt x="325126" y="648976"/>
                  </a:lnTo>
                  <a:lnTo>
                    <a:pt x="325126" y="648976"/>
                  </a:lnTo>
                  <a:close/>
                  <a:moveTo>
                    <a:pt x="385051" y="641326"/>
                  </a:moveTo>
                  <a:lnTo>
                    <a:pt x="375488" y="641326"/>
                  </a:lnTo>
                  <a:lnTo>
                    <a:pt x="385051" y="641326"/>
                  </a:lnTo>
                  <a:lnTo>
                    <a:pt x="385051" y="641326"/>
                  </a:lnTo>
                  <a:lnTo>
                    <a:pt x="385051" y="641326"/>
                  </a:lnTo>
                  <a:close/>
                  <a:moveTo>
                    <a:pt x="309825" y="647701"/>
                  </a:moveTo>
                  <a:lnTo>
                    <a:pt x="307276" y="650251"/>
                  </a:lnTo>
                  <a:lnTo>
                    <a:pt x="307913" y="650889"/>
                  </a:lnTo>
                  <a:lnTo>
                    <a:pt x="309825" y="647701"/>
                  </a:lnTo>
                  <a:lnTo>
                    <a:pt x="309825" y="647701"/>
                  </a:lnTo>
                  <a:close/>
                  <a:moveTo>
                    <a:pt x="371026" y="642601"/>
                  </a:moveTo>
                  <a:lnTo>
                    <a:pt x="346801" y="642601"/>
                  </a:lnTo>
                  <a:lnTo>
                    <a:pt x="369751" y="643239"/>
                  </a:lnTo>
                  <a:lnTo>
                    <a:pt x="371026" y="642601"/>
                  </a:lnTo>
                  <a:close/>
                  <a:moveTo>
                    <a:pt x="102638" y="29963"/>
                  </a:moveTo>
                  <a:lnTo>
                    <a:pt x="102638" y="29963"/>
                  </a:lnTo>
                  <a:lnTo>
                    <a:pt x="75225" y="75862"/>
                  </a:lnTo>
                  <a:lnTo>
                    <a:pt x="77775" y="110288"/>
                  </a:lnTo>
                  <a:lnTo>
                    <a:pt x="41438" y="150450"/>
                  </a:lnTo>
                  <a:lnTo>
                    <a:pt x="51637" y="161925"/>
                  </a:lnTo>
                  <a:lnTo>
                    <a:pt x="27412" y="264563"/>
                  </a:lnTo>
                  <a:lnTo>
                    <a:pt x="38887" y="286238"/>
                  </a:lnTo>
                  <a:lnTo>
                    <a:pt x="32512" y="290700"/>
                  </a:lnTo>
                  <a:lnTo>
                    <a:pt x="33150" y="304726"/>
                  </a:lnTo>
                  <a:lnTo>
                    <a:pt x="33150" y="309188"/>
                  </a:lnTo>
                  <a:lnTo>
                    <a:pt x="47813" y="343613"/>
                  </a:lnTo>
                  <a:lnTo>
                    <a:pt x="46538" y="364651"/>
                  </a:lnTo>
                  <a:lnTo>
                    <a:pt x="70125" y="393976"/>
                  </a:lnTo>
                  <a:lnTo>
                    <a:pt x="21037" y="477488"/>
                  </a:lnTo>
                  <a:lnTo>
                    <a:pt x="13387" y="527851"/>
                  </a:lnTo>
                  <a:lnTo>
                    <a:pt x="0" y="547613"/>
                  </a:lnTo>
                  <a:lnTo>
                    <a:pt x="9563" y="570564"/>
                  </a:lnTo>
                  <a:lnTo>
                    <a:pt x="1275" y="578851"/>
                  </a:lnTo>
                  <a:lnTo>
                    <a:pt x="223125" y="554626"/>
                  </a:lnTo>
                  <a:lnTo>
                    <a:pt x="215475" y="585863"/>
                  </a:lnTo>
                  <a:lnTo>
                    <a:pt x="244163" y="640689"/>
                  </a:lnTo>
                  <a:lnTo>
                    <a:pt x="258825" y="659176"/>
                  </a:lnTo>
                  <a:lnTo>
                    <a:pt x="258825" y="658539"/>
                  </a:lnTo>
                  <a:lnTo>
                    <a:pt x="282413" y="631126"/>
                  </a:lnTo>
                  <a:lnTo>
                    <a:pt x="332776" y="619651"/>
                  </a:lnTo>
                  <a:lnTo>
                    <a:pt x="379313" y="624751"/>
                  </a:lnTo>
                  <a:lnTo>
                    <a:pt x="386326" y="615189"/>
                  </a:lnTo>
                  <a:lnTo>
                    <a:pt x="386326" y="615826"/>
                  </a:lnTo>
                  <a:lnTo>
                    <a:pt x="353176" y="418201"/>
                  </a:lnTo>
                  <a:lnTo>
                    <a:pt x="351901" y="274126"/>
                  </a:lnTo>
                  <a:lnTo>
                    <a:pt x="348076" y="10838"/>
                  </a:lnTo>
                  <a:lnTo>
                    <a:pt x="338513" y="5100"/>
                  </a:lnTo>
                  <a:lnTo>
                    <a:pt x="335963" y="0"/>
                  </a:lnTo>
                  <a:lnTo>
                    <a:pt x="334688" y="0"/>
                  </a:lnTo>
                  <a:lnTo>
                    <a:pt x="302176" y="4463"/>
                  </a:lnTo>
                  <a:lnTo>
                    <a:pt x="246075" y="12112"/>
                  </a:lnTo>
                  <a:lnTo>
                    <a:pt x="117938" y="28050"/>
                  </a:lnTo>
                  <a:lnTo>
                    <a:pt x="102638" y="29963"/>
                  </a:lnTo>
                  <a:lnTo>
                    <a:pt x="102638" y="299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0" name="Freeform 50">
              <a:extLst>
                <a:ext uri="{FF2B5EF4-FFF2-40B4-BE49-F238E27FC236}">
                  <a16:creationId xmlns:a16="http://schemas.microsoft.com/office/drawing/2014/main" id="{A0B970D3-05E1-60A0-57CD-836BDD964BAE}"/>
                </a:ext>
              </a:extLst>
            </p:cNvPr>
            <p:cNvSpPr/>
            <p:nvPr/>
          </p:nvSpPr>
          <p:spPr>
            <a:xfrm>
              <a:off x="6193517" y="2978387"/>
              <a:ext cx="538051" cy="408000"/>
            </a:xfrm>
            <a:custGeom>
              <a:avLst/>
              <a:gdLst>
                <a:gd name="connsiteX0" fmla="*/ 17850 w 538051"/>
                <a:gd name="connsiteY0" fmla="*/ 69488 h 408000"/>
                <a:gd name="connsiteX1" fmla="*/ 17850 w 538051"/>
                <a:gd name="connsiteY1" fmla="*/ 69488 h 408000"/>
                <a:gd name="connsiteX2" fmla="*/ 0 w 538051"/>
                <a:gd name="connsiteY2" fmla="*/ 104550 h 408000"/>
                <a:gd name="connsiteX3" fmla="*/ 3188 w 538051"/>
                <a:gd name="connsiteY3" fmla="*/ 117300 h 408000"/>
                <a:gd name="connsiteX4" fmla="*/ 61200 w 538051"/>
                <a:gd name="connsiteY4" fmla="*/ 141525 h 408000"/>
                <a:gd name="connsiteX5" fmla="*/ 91800 w 538051"/>
                <a:gd name="connsiteY5" fmla="*/ 179775 h 408000"/>
                <a:gd name="connsiteX6" fmla="*/ 215476 w 538051"/>
                <a:gd name="connsiteY6" fmla="*/ 283688 h 408000"/>
                <a:gd name="connsiteX7" fmla="*/ 244801 w 538051"/>
                <a:gd name="connsiteY7" fmla="*/ 297075 h 408000"/>
                <a:gd name="connsiteX8" fmla="*/ 297713 w 538051"/>
                <a:gd name="connsiteY8" fmla="*/ 372301 h 408000"/>
                <a:gd name="connsiteX9" fmla="*/ 335963 w 538051"/>
                <a:gd name="connsiteY9" fmla="*/ 408001 h 408000"/>
                <a:gd name="connsiteX10" fmla="*/ 335963 w 538051"/>
                <a:gd name="connsiteY10" fmla="*/ 408001 h 408000"/>
                <a:gd name="connsiteX11" fmla="*/ 342338 w 538051"/>
                <a:gd name="connsiteY11" fmla="*/ 378038 h 408000"/>
                <a:gd name="connsiteX12" fmla="*/ 331501 w 538051"/>
                <a:gd name="connsiteY12" fmla="*/ 349351 h 408000"/>
                <a:gd name="connsiteX13" fmla="*/ 359551 w 538051"/>
                <a:gd name="connsiteY13" fmla="*/ 369751 h 408000"/>
                <a:gd name="connsiteX14" fmla="*/ 374851 w 538051"/>
                <a:gd name="connsiteY14" fmla="*/ 357638 h 408000"/>
                <a:gd name="connsiteX15" fmla="*/ 348076 w 538051"/>
                <a:gd name="connsiteY15" fmla="*/ 335963 h 408000"/>
                <a:gd name="connsiteX16" fmla="*/ 380588 w 538051"/>
                <a:gd name="connsiteY16" fmla="*/ 334051 h 408000"/>
                <a:gd name="connsiteX17" fmla="*/ 430951 w 538051"/>
                <a:gd name="connsiteY17" fmla="*/ 291976 h 408000"/>
                <a:gd name="connsiteX18" fmla="*/ 425213 w 538051"/>
                <a:gd name="connsiteY18" fmla="*/ 280501 h 408000"/>
                <a:gd name="connsiteX19" fmla="*/ 456451 w 538051"/>
                <a:gd name="connsiteY19" fmla="*/ 256913 h 408000"/>
                <a:gd name="connsiteX20" fmla="*/ 453264 w 538051"/>
                <a:gd name="connsiteY20" fmla="*/ 245438 h 408000"/>
                <a:gd name="connsiteX21" fmla="*/ 475576 w 538051"/>
                <a:gd name="connsiteY21" fmla="*/ 231413 h 408000"/>
                <a:gd name="connsiteX22" fmla="*/ 476851 w 538051"/>
                <a:gd name="connsiteY22" fmla="*/ 198263 h 408000"/>
                <a:gd name="connsiteX23" fmla="*/ 511914 w 538051"/>
                <a:gd name="connsiteY23" fmla="*/ 132600 h 408000"/>
                <a:gd name="connsiteX24" fmla="*/ 535501 w 538051"/>
                <a:gd name="connsiteY24" fmla="*/ 102000 h 408000"/>
                <a:gd name="connsiteX25" fmla="*/ 538051 w 538051"/>
                <a:gd name="connsiteY25" fmla="*/ 100725 h 408000"/>
                <a:gd name="connsiteX26" fmla="*/ 395251 w 538051"/>
                <a:gd name="connsiteY26" fmla="*/ 10200 h 408000"/>
                <a:gd name="connsiteX27" fmla="*/ 341701 w 538051"/>
                <a:gd name="connsiteY27" fmla="*/ 21037 h 408000"/>
                <a:gd name="connsiteX28" fmla="*/ 269026 w 538051"/>
                <a:gd name="connsiteY28" fmla="*/ 18488 h 408000"/>
                <a:gd name="connsiteX29" fmla="*/ 233326 w 538051"/>
                <a:gd name="connsiteY29" fmla="*/ 0 h 408000"/>
                <a:gd name="connsiteX30" fmla="*/ 20400 w 538051"/>
                <a:gd name="connsiteY30" fmla="*/ 67575 h 408000"/>
                <a:gd name="connsiteX31" fmla="*/ 17850 w 538051"/>
                <a:gd name="connsiteY31" fmla="*/ 69488 h 408000"/>
                <a:gd name="connsiteX32" fmla="*/ 17850 w 538051"/>
                <a:gd name="connsiteY32" fmla="*/ 69488 h 4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8051" h="408000">
                  <a:moveTo>
                    <a:pt x="17850" y="69488"/>
                  </a:moveTo>
                  <a:lnTo>
                    <a:pt x="17850" y="69488"/>
                  </a:lnTo>
                  <a:lnTo>
                    <a:pt x="0" y="104550"/>
                  </a:lnTo>
                  <a:lnTo>
                    <a:pt x="3188" y="117300"/>
                  </a:lnTo>
                  <a:lnTo>
                    <a:pt x="61200" y="141525"/>
                  </a:lnTo>
                  <a:lnTo>
                    <a:pt x="91800" y="179775"/>
                  </a:lnTo>
                  <a:lnTo>
                    <a:pt x="215476" y="283688"/>
                  </a:lnTo>
                  <a:lnTo>
                    <a:pt x="244801" y="297075"/>
                  </a:lnTo>
                  <a:lnTo>
                    <a:pt x="297713" y="372301"/>
                  </a:lnTo>
                  <a:lnTo>
                    <a:pt x="335963" y="408001"/>
                  </a:lnTo>
                  <a:lnTo>
                    <a:pt x="335963" y="408001"/>
                  </a:lnTo>
                  <a:lnTo>
                    <a:pt x="342338" y="378038"/>
                  </a:lnTo>
                  <a:lnTo>
                    <a:pt x="331501" y="349351"/>
                  </a:lnTo>
                  <a:lnTo>
                    <a:pt x="359551" y="369751"/>
                  </a:lnTo>
                  <a:lnTo>
                    <a:pt x="374851" y="357638"/>
                  </a:lnTo>
                  <a:lnTo>
                    <a:pt x="348076" y="335963"/>
                  </a:lnTo>
                  <a:lnTo>
                    <a:pt x="380588" y="334051"/>
                  </a:lnTo>
                  <a:lnTo>
                    <a:pt x="430951" y="291976"/>
                  </a:lnTo>
                  <a:lnTo>
                    <a:pt x="425213" y="280501"/>
                  </a:lnTo>
                  <a:lnTo>
                    <a:pt x="456451" y="256913"/>
                  </a:lnTo>
                  <a:lnTo>
                    <a:pt x="453264" y="245438"/>
                  </a:lnTo>
                  <a:lnTo>
                    <a:pt x="475576" y="231413"/>
                  </a:lnTo>
                  <a:lnTo>
                    <a:pt x="476851" y="198263"/>
                  </a:lnTo>
                  <a:lnTo>
                    <a:pt x="511914" y="132600"/>
                  </a:lnTo>
                  <a:lnTo>
                    <a:pt x="535501" y="102000"/>
                  </a:lnTo>
                  <a:lnTo>
                    <a:pt x="538051" y="100725"/>
                  </a:lnTo>
                  <a:lnTo>
                    <a:pt x="395251" y="10200"/>
                  </a:lnTo>
                  <a:lnTo>
                    <a:pt x="341701" y="21037"/>
                  </a:lnTo>
                  <a:lnTo>
                    <a:pt x="269026" y="18488"/>
                  </a:lnTo>
                  <a:lnTo>
                    <a:pt x="233326" y="0"/>
                  </a:lnTo>
                  <a:lnTo>
                    <a:pt x="20400" y="67575"/>
                  </a:lnTo>
                  <a:lnTo>
                    <a:pt x="17850" y="69488"/>
                  </a:lnTo>
                  <a:lnTo>
                    <a:pt x="17850" y="69488"/>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51" name="Freeform 52">
              <a:extLst>
                <a:ext uri="{FF2B5EF4-FFF2-40B4-BE49-F238E27FC236}">
                  <a16:creationId xmlns:a16="http://schemas.microsoft.com/office/drawing/2014/main" id="{530FEFD3-5590-FF98-4600-47B60AEE2532}"/>
                </a:ext>
              </a:extLst>
            </p:cNvPr>
            <p:cNvSpPr/>
            <p:nvPr/>
          </p:nvSpPr>
          <p:spPr>
            <a:xfrm>
              <a:off x="5605104" y="2185973"/>
              <a:ext cx="335963" cy="580126"/>
            </a:xfrm>
            <a:custGeom>
              <a:avLst/>
              <a:gdLst>
                <a:gd name="connsiteX0" fmla="*/ 267751 w 335963"/>
                <a:gd name="connsiteY0" fmla="*/ 0 h 580126"/>
                <a:gd name="connsiteX1" fmla="*/ 168938 w 335963"/>
                <a:gd name="connsiteY1" fmla="*/ 17212 h 580126"/>
                <a:gd name="connsiteX2" fmla="*/ 146625 w 335963"/>
                <a:gd name="connsiteY2" fmla="*/ 21675 h 580126"/>
                <a:gd name="connsiteX3" fmla="*/ 66938 w 335963"/>
                <a:gd name="connsiteY3" fmla="*/ 34425 h 580126"/>
                <a:gd name="connsiteX4" fmla="*/ 50363 w 335963"/>
                <a:gd name="connsiteY4" fmla="*/ 47813 h 580126"/>
                <a:gd name="connsiteX5" fmla="*/ 25500 w 335963"/>
                <a:gd name="connsiteY5" fmla="*/ 59288 h 580126"/>
                <a:gd name="connsiteX6" fmla="*/ 15300 w 335963"/>
                <a:gd name="connsiteY6" fmla="*/ 58650 h 580126"/>
                <a:gd name="connsiteX7" fmla="*/ 3825 w 335963"/>
                <a:gd name="connsiteY7" fmla="*/ 52913 h 580126"/>
                <a:gd name="connsiteX8" fmla="*/ 0 w 335963"/>
                <a:gd name="connsiteY8" fmla="*/ 49087 h 580126"/>
                <a:gd name="connsiteX9" fmla="*/ 45263 w 335963"/>
                <a:gd name="connsiteY9" fmla="*/ 365926 h 580126"/>
                <a:gd name="connsiteX10" fmla="*/ 35700 w 335963"/>
                <a:gd name="connsiteY10" fmla="*/ 399713 h 580126"/>
                <a:gd name="connsiteX11" fmla="*/ 51638 w 335963"/>
                <a:gd name="connsiteY11" fmla="*/ 430313 h 580126"/>
                <a:gd name="connsiteX12" fmla="*/ 56738 w 335963"/>
                <a:gd name="connsiteY12" fmla="*/ 455176 h 580126"/>
                <a:gd name="connsiteX13" fmla="*/ 32513 w 335963"/>
                <a:gd name="connsiteY13" fmla="*/ 511913 h 580126"/>
                <a:gd name="connsiteX14" fmla="*/ 18488 w 335963"/>
                <a:gd name="connsiteY14" fmla="*/ 522751 h 580126"/>
                <a:gd name="connsiteX15" fmla="*/ 17850 w 335963"/>
                <a:gd name="connsiteY15" fmla="*/ 579489 h 580126"/>
                <a:gd name="connsiteX16" fmla="*/ 20400 w 335963"/>
                <a:gd name="connsiteY16" fmla="*/ 580126 h 580126"/>
                <a:gd name="connsiteX17" fmla="*/ 22950 w 335963"/>
                <a:gd name="connsiteY17" fmla="*/ 579489 h 580126"/>
                <a:gd name="connsiteX18" fmla="*/ 33150 w 335963"/>
                <a:gd name="connsiteY18" fmla="*/ 561638 h 580126"/>
                <a:gd name="connsiteX19" fmla="*/ 56738 w 335963"/>
                <a:gd name="connsiteY19" fmla="*/ 561638 h 580126"/>
                <a:gd name="connsiteX20" fmla="*/ 86063 w 335963"/>
                <a:gd name="connsiteY20" fmla="*/ 551439 h 580126"/>
                <a:gd name="connsiteX21" fmla="*/ 121763 w 335963"/>
                <a:gd name="connsiteY21" fmla="*/ 564826 h 580126"/>
                <a:gd name="connsiteX22" fmla="*/ 125588 w 335963"/>
                <a:gd name="connsiteY22" fmla="*/ 550164 h 580126"/>
                <a:gd name="connsiteX23" fmla="*/ 145988 w 335963"/>
                <a:gd name="connsiteY23" fmla="*/ 534864 h 580126"/>
                <a:gd name="connsiteX24" fmla="*/ 177225 w 335963"/>
                <a:gd name="connsiteY24" fmla="*/ 539326 h 580126"/>
                <a:gd name="connsiteX25" fmla="*/ 193801 w 335963"/>
                <a:gd name="connsiteY25" fmla="*/ 506176 h 580126"/>
                <a:gd name="connsiteX26" fmla="*/ 239701 w 335963"/>
                <a:gd name="connsiteY26" fmla="*/ 510001 h 580126"/>
                <a:gd name="connsiteX27" fmla="*/ 239063 w 335963"/>
                <a:gd name="connsiteY27" fmla="*/ 491513 h 580126"/>
                <a:gd name="connsiteX28" fmla="*/ 279225 w 335963"/>
                <a:gd name="connsiteY28" fmla="*/ 437963 h 580126"/>
                <a:gd name="connsiteX29" fmla="*/ 272850 w 335963"/>
                <a:gd name="connsiteY29" fmla="*/ 413738 h 580126"/>
                <a:gd name="connsiteX30" fmla="*/ 301538 w 335963"/>
                <a:gd name="connsiteY30" fmla="*/ 413101 h 580126"/>
                <a:gd name="connsiteX31" fmla="*/ 335963 w 335963"/>
                <a:gd name="connsiteY31" fmla="*/ 385051 h 580126"/>
                <a:gd name="connsiteX32" fmla="*/ 327676 w 335963"/>
                <a:gd name="connsiteY32" fmla="*/ 353176 h 580126"/>
                <a:gd name="connsiteX33" fmla="*/ 328951 w 335963"/>
                <a:gd name="connsiteY33" fmla="*/ 351901 h 580126"/>
                <a:gd name="connsiteX34" fmla="*/ 327676 w 335963"/>
                <a:gd name="connsiteY34" fmla="*/ 340426 h 580126"/>
                <a:gd name="connsiteX35" fmla="*/ 289426 w 335963"/>
                <a:gd name="connsiteY35" fmla="*/ 112838 h 580126"/>
                <a:gd name="connsiteX36" fmla="*/ 272213 w 335963"/>
                <a:gd name="connsiteY36" fmla="*/ 15300 h 580126"/>
                <a:gd name="connsiteX37" fmla="*/ 270301 w 335963"/>
                <a:gd name="connsiteY37" fmla="*/ 4462 h 580126"/>
                <a:gd name="connsiteX38" fmla="*/ 267751 w 335963"/>
                <a:gd name="connsiteY38" fmla="*/ 0 h 580126"/>
                <a:gd name="connsiteX39" fmla="*/ 267751 w 335963"/>
                <a:gd name="connsiteY39" fmla="*/ 0 h 5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5963" h="580126">
                  <a:moveTo>
                    <a:pt x="267751" y="0"/>
                  </a:moveTo>
                  <a:lnTo>
                    <a:pt x="168938" y="17212"/>
                  </a:lnTo>
                  <a:lnTo>
                    <a:pt x="146625" y="21675"/>
                  </a:lnTo>
                  <a:lnTo>
                    <a:pt x="66938" y="34425"/>
                  </a:lnTo>
                  <a:lnTo>
                    <a:pt x="50363" y="47813"/>
                  </a:lnTo>
                  <a:lnTo>
                    <a:pt x="25500" y="59288"/>
                  </a:lnTo>
                  <a:lnTo>
                    <a:pt x="15300" y="58650"/>
                  </a:lnTo>
                  <a:lnTo>
                    <a:pt x="3825" y="52913"/>
                  </a:lnTo>
                  <a:lnTo>
                    <a:pt x="0" y="49087"/>
                  </a:lnTo>
                  <a:lnTo>
                    <a:pt x="45263" y="365926"/>
                  </a:lnTo>
                  <a:lnTo>
                    <a:pt x="35700" y="399713"/>
                  </a:lnTo>
                  <a:lnTo>
                    <a:pt x="51638" y="430313"/>
                  </a:lnTo>
                  <a:lnTo>
                    <a:pt x="56738" y="455176"/>
                  </a:lnTo>
                  <a:lnTo>
                    <a:pt x="32513" y="511913"/>
                  </a:lnTo>
                  <a:lnTo>
                    <a:pt x="18488" y="522751"/>
                  </a:lnTo>
                  <a:lnTo>
                    <a:pt x="17850" y="579489"/>
                  </a:lnTo>
                  <a:lnTo>
                    <a:pt x="20400" y="580126"/>
                  </a:lnTo>
                  <a:lnTo>
                    <a:pt x="22950" y="579489"/>
                  </a:lnTo>
                  <a:lnTo>
                    <a:pt x="33150" y="561638"/>
                  </a:lnTo>
                  <a:lnTo>
                    <a:pt x="56738" y="561638"/>
                  </a:lnTo>
                  <a:lnTo>
                    <a:pt x="86063" y="551439"/>
                  </a:lnTo>
                  <a:lnTo>
                    <a:pt x="121763" y="564826"/>
                  </a:lnTo>
                  <a:lnTo>
                    <a:pt x="125588" y="550164"/>
                  </a:lnTo>
                  <a:lnTo>
                    <a:pt x="145988" y="534864"/>
                  </a:lnTo>
                  <a:lnTo>
                    <a:pt x="177225" y="539326"/>
                  </a:lnTo>
                  <a:lnTo>
                    <a:pt x="193801" y="506176"/>
                  </a:lnTo>
                  <a:lnTo>
                    <a:pt x="239701" y="510001"/>
                  </a:lnTo>
                  <a:lnTo>
                    <a:pt x="239063" y="491513"/>
                  </a:lnTo>
                  <a:lnTo>
                    <a:pt x="279225" y="437963"/>
                  </a:lnTo>
                  <a:lnTo>
                    <a:pt x="272850" y="413738"/>
                  </a:lnTo>
                  <a:lnTo>
                    <a:pt x="301538" y="413101"/>
                  </a:lnTo>
                  <a:lnTo>
                    <a:pt x="335963" y="385051"/>
                  </a:lnTo>
                  <a:lnTo>
                    <a:pt x="327676" y="353176"/>
                  </a:lnTo>
                  <a:lnTo>
                    <a:pt x="328951" y="351901"/>
                  </a:lnTo>
                  <a:lnTo>
                    <a:pt x="327676" y="340426"/>
                  </a:lnTo>
                  <a:lnTo>
                    <a:pt x="289426" y="112838"/>
                  </a:lnTo>
                  <a:lnTo>
                    <a:pt x="272213" y="15300"/>
                  </a:lnTo>
                  <a:lnTo>
                    <a:pt x="270301" y="4462"/>
                  </a:lnTo>
                  <a:lnTo>
                    <a:pt x="267751" y="0"/>
                  </a:lnTo>
                  <a:lnTo>
                    <a:pt x="267751" y="0"/>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52" name="Freeform 53">
              <a:extLst>
                <a:ext uri="{FF2B5EF4-FFF2-40B4-BE49-F238E27FC236}">
                  <a16:creationId xmlns:a16="http://schemas.microsoft.com/office/drawing/2014/main" id="{26863E22-D969-E8B5-7E6A-452667EDF3EB}"/>
                </a:ext>
              </a:extLst>
            </p:cNvPr>
            <p:cNvSpPr/>
            <p:nvPr/>
          </p:nvSpPr>
          <p:spPr>
            <a:xfrm>
              <a:off x="5486529" y="2533411"/>
              <a:ext cx="781576" cy="430313"/>
            </a:xfrm>
            <a:custGeom>
              <a:avLst/>
              <a:gdLst>
                <a:gd name="connsiteX0" fmla="*/ 8287 w 781576"/>
                <a:gd name="connsiteY0" fmla="*/ 426488 h 430313"/>
                <a:gd name="connsiteX1" fmla="*/ 6375 w 781576"/>
                <a:gd name="connsiteY1" fmla="*/ 421388 h 430313"/>
                <a:gd name="connsiteX2" fmla="*/ 2550 w 781576"/>
                <a:gd name="connsiteY2" fmla="*/ 420113 h 430313"/>
                <a:gd name="connsiteX3" fmla="*/ 0 w 781576"/>
                <a:gd name="connsiteY3" fmla="*/ 428401 h 430313"/>
                <a:gd name="connsiteX4" fmla="*/ 637 w 781576"/>
                <a:gd name="connsiteY4" fmla="*/ 429038 h 430313"/>
                <a:gd name="connsiteX5" fmla="*/ 7650 w 781576"/>
                <a:gd name="connsiteY5" fmla="*/ 428401 h 430313"/>
                <a:gd name="connsiteX6" fmla="*/ 8287 w 781576"/>
                <a:gd name="connsiteY6" fmla="*/ 426488 h 430313"/>
                <a:gd name="connsiteX7" fmla="*/ 8287 w 781576"/>
                <a:gd name="connsiteY7" fmla="*/ 426488 h 430313"/>
                <a:gd name="connsiteX8" fmla="*/ 447526 w 781576"/>
                <a:gd name="connsiteY8" fmla="*/ 6375 h 430313"/>
                <a:gd name="connsiteX9" fmla="*/ 446251 w 781576"/>
                <a:gd name="connsiteY9" fmla="*/ 7650 h 430313"/>
                <a:gd name="connsiteX10" fmla="*/ 454538 w 781576"/>
                <a:gd name="connsiteY10" fmla="*/ 39525 h 430313"/>
                <a:gd name="connsiteX11" fmla="*/ 420113 w 781576"/>
                <a:gd name="connsiteY11" fmla="*/ 67575 h 430313"/>
                <a:gd name="connsiteX12" fmla="*/ 391426 w 781576"/>
                <a:gd name="connsiteY12" fmla="*/ 68213 h 430313"/>
                <a:gd name="connsiteX13" fmla="*/ 397801 w 781576"/>
                <a:gd name="connsiteY13" fmla="*/ 92438 h 430313"/>
                <a:gd name="connsiteX14" fmla="*/ 357638 w 781576"/>
                <a:gd name="connsiteY14" fmla="*/ 145988 h 430313"/>
                <a:gd name="connsiteX15" fmla="*/ 358276 w 781576"/>
                <a:gd name="connsiteY15" fmla="*/ 164475 h 430313"/>
                <a:gd name="connsiteX16" fmla="*/ 312376 w 781576"/>
                <a:gd name="connsiteY16" fmla="*/ 160650 h 430313"/>
                <a:gd name="connsiteX17" fmla="*/ 295800 w 781576"/>
                <a:gd name="connsiteY17" fmla="*/ 193800 h 430313"/>
                <a:gd name="connsiteX18" fmla="*/ 264563 w 781576"/>
                <a:gd name="connsiteY18" fmla="*/ 189338 h 430313"/>
                <a:gd name="connsiteX19" fmla="*/ 244163 w 781576"/>
                <a:gd name="connsiteY19" fmla="*/ 204638 h 430313"/>
                <a:gd name="connsiteX20" fmla="*/ 240338 w 781576"/>
                <a:gd name="connsiteY20" fmla="*/ 219300 h 430313"/>
                <a:gd name="connsiteX21" fmla="*/ 204638 w 781576"/>
                <a:gd name="connsiteY21" fmla="*/ 205913 h 430313"/>
                <a:gd name="connsiteX22" fmla="*/ 175313 w 781576"/>
                <a:gd name="connsiteY22" fmla="*/ 216113 h 430313"/>
                <a:gd name="connsiteX23" fmla="*/ 151725 w 781576"/>
                <a:gd name="connsiteY23" fmla="*/ 216113 h 430313"/>
                <a:gd name="connsiteX24" fmla="*/ 141525 w 781576"/>
                <a:gd name="connsiteY24" fmla="*/ 233963 h 430313"/>
                <a:gd name="connsiteX25" fmla="*/ 138975 w 781576"/>
                <a:gd name="connsiteY25" fmla="*/ 234600 h 430313"/>
                <a:gd name="connsiteX26" fmla="*/ 138975 w 781576"/>
                <a:gd name="connsiteY26" fmla="*/ 236513 h 430313"/>
                <a:gd name="connsiteX27" fmla="*/ 128775 w 781576"/>
                <a:gd name="connsiteY27" fmla="*/ 258188 h 430313"/>
                <a:gd name="connsiteX28" fmla="*/ 140250 w 781576"/>
                <a:gd name="connsiteY28" fmla="*/ 273488 h 430313"/>
                <a:gd name="connsiteX29" fmla="*/ 100088 w 781576"/>
                <a:gd name="connsiteY29" fmla="*/ 297075 h 430313"/>
                <a:gd name="connsiteX30" fmla="*/ 110288 w 781576"/>
                <a:gd name="connsiteY30" fmla="*/ 325763 h 430313"/>
                <a:gd name="connsiteX31" fmla="*/ 98175 w 781576"/>
                <a:gd name="connsiteY31" fmla="*/ 339788 h 430313"/>
                <a:gd name="connsiteX32" fmla="*/ 48450 w 781576"/>
                <a:gd name="connsiteY32" fmla="*/ 326401 h 430313"/>
                <a:gd name="connsiteX33" fmla="*/ 35700 w 781576"/>
                <a:gd name="connsiteY33" fmla="*/ 357001 h 430313"/>
                <a:gd name="connsiteX34" fmla="*/ 39525 w 781576"/>
                <a:gd name="connsiteY34" fmla="*/ 360826 h 430313"/>
                <a:gd name="connsiteX35" fmla="*/ 40800 w 781576"/>
                <a:gd name="connsiteY35" fmla="*/ 363376 h 430313"/>
                <a:gd name="connsiteX36" fmla="*/ 35063 w 781576"/>
                <a:gd name="connsiteY36" fmla="*/ 416288 h 430313"/>
                <a:gd name="connsiteX37" fmla="*/ 32512 w 781576"/>
                <a:gd name="connsiteY37" fmla="*/ 417563 h 430313"/>
                <a:gd name="connsiteX38" fmla="*/ 15938 w 781576"/>
                <a:gd name="connsiteY38" fmla="*/ 428401 h 430313"/>
                <a:gd name="connsiteX39" fmla="*/ 15300 w 781576"/>
                <a:gd name="connsiteY39" fmla="*/ 430313 h 430313"/>
                <a:gd name="connsiteX40" fmla="*/ 33787 w 781576"/>
                <a:gd name="connsiteY40" fmla="*/ 427763 h 430313"/>
                <a:gd name="connsiteX41" fmla="*/ 163200 w 781576"/>
                <a:gd name="connsiteY41" fmla="*/ 410551 h 430313"/>
                <a:gd name="connsiteX42" fmla="*/ 156825 w 781576"/>
                <a:gd name="connsiteY42" fmla="*/ 385051 h 430313"/>
                <a:gd name="connsiteX43" fmla="*/ 178500 w 781576"/>
                <a:gd name="connsiteY43" fmla="*/ 384413 h 430313"/>
                <a:gd name="connsiteX44" fmla="*/ 439876 w 781576"/>
                <a:gd name="connsiteY44" fmla="*/ 349988 h 430313"/>
                <a:gd name="connsiteX45" fmla="*/ 624114 w 781576"/>
                <a:gd name="connsiteY45" fmla="*/ 318751 h 430313"/>
                <a:gd name="connsiteX46" fmla="*/ 626664 w 781576"/>
                <a:gd name="connsiteY46" fmla="*/ 316838 h 430313"/>
                <a:gd name="connsiteX47" fmla="*/ 631126 w 781576"/>
                <a:gd name="connsiteY47" fmla="*/ 311738 h 430313"/>
                <a:gd name="connsiteX48" fmla="*/ 679576 w 781576"/>
                <a:gd name="connsiteY48" fmla="*/ 286238 h 430313"/>
                <a:gd name="connsiteX49" fmla="*/ 716551 w 781576"/>
                <a:gd name="connsiteY49" fmla="*/ 237150 h 430313"/>
                <a:gd name="connsiteX50" fmla="*/ 721652 w 781576"/>
                <a:gd name="connsiteY50" fmla="*/ 220575 h 430313"/>
                <a:gd name="connsiteX51" fmla="*/ 745877 w 781576"/>
                <a:gd name="connsiteY51" fmla="*/ 201450 h 430313"/>
                <a:gd name="connsiteX52" fmla="*/ 777114 w 781576"/>
                <a:gd name="connsiteY52" fmla="*/ 162563 h 430313"/>
                <a:gd name="connsiteX53" fmla="*/ 781576 w 781576"/>
                <a:gd name="connsiteY53" fmla="*/ 156188 h 430313"/>
                <a:gd name="connsiteX54" fmla="*/ 779664 w 781576"/>
                <a:gd name="connsiteY54" fmla="*/ 155550 h 430313"/>
                <a:gd name="connsiteX55" fmla="*/ 763726 w 781576"/>
                <a:gd name="connsiteY55" fmla="*/ 155550 h 430313"/>
                <a:gd name="connsiteX56" fmla="*/ 743326 w 781576"/>
                <a:gd name="connsiteY56" fmla="*/ 144075 h 430313"/>
                <a:gd name="connsiteX57" fmla="*/ 706989 w 781576"/>
                <a:gd name="connsiteY57" fmla="*/ 99450 h 430313"/>
                <a:gd name="connsiteX58" fmla="*/ 694239 w 781576"/>
                <a:gd name="connsiteY58" fmla="*/ 54188 h 430313"/>
                <a:gd name="connsiteX59" fmla="*/ 694239 w 781576"/>
                <a:gd name="connsiteY59" fmla="*/ 52913 h 430313"/>
                <a:gd name="connsiteX60" fmla="*/ 692964 w 781576"/>
                <a:gd name="connsiteY60" fmla="*/ 51637 h 430313"/>
                <a:gd name="connsiteX61" fmla="*/ 665551 w 781576"/>
                <a:gd name="connsiteY61" fmla="*/ 36337 h 430313"/>
                <a:gd name="connsiteX62" fmla="*/ 653439 w 781576"/>
                <a:gd name="connsiteY62" fmla="*/ 15938 h 430313"/>
                <a:gd name="connsiteX63" fmla="*/ 629214 w 781576"/>
                <a:gd name="connsiteY63" fmla="*/ 39525 h 430313"/>
                <a:gd name="connsiteX64" fmla="*/ 613914 w 781576"/>
                <a:gd name="connsiteY64" fmla="*/ 43350 h 430313"/>
                <a:gd name="connsiteX65" fmla="*/ 594789 w 781576"/>
                <a:gd name="connsiteY65" fmla="*/ 35700 h 430313"/>
                <a:gd name="connsiteX66" fmla="*/ 578214 w 781576"/>
                <a:gd name="connsiteY66" fmla="*/ 48450 h 430313"/>
                <a:gd name="connsiteX67" fmla="*/ 543789 w 781576"/>
                <a:gd name="connsiteY67" fmla="*/ 33150 h 430313"/>
                <a:gd name="connsiteX68" fmla="*/ 534226 w 781576"/>
                <a:gd name="connsiteY68" fmla="*/ 36975 h 430313"/>
                <a:gd name="connsiteX69" fmla="*/ 501076 w 781576"/>
                <a:gd name="connsiteY69" fmla="*/ 8287 h 430313"/>
                <a:gd name="connsiteX70" fmla="*/ 484501 w 781576"/>
                <a:gd name="connsiteY70" fmla="*/ 0 h 430313"/>
                <a:gd name="connsiteX71" fmla="*/ 452626 w 781576"/>
                <a:gd name="connsiteY71" fmla="*/ 3825 h 430313"/>
                <a:gd name="connsiteX72" fmla="*/ 447526 w 781576"/>
                <a:gd name="connsiteY72" fmla="*/ 6375 h 430313"/>
                <a:gd name="connsiteX73" fmla="*/ 447526 w 781576"/>
                <a:gd name="connsiteY73" fmla="*/ 6375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81576" h="430313">
                  <a:moveTo>
                    <a:pt x="8287" y="426488"/>
                  </a:moveTo>
                  <a:lnTo>
                    <a:pt x="6375" y="421388"/>
                  </a:lnTo>
                  <a:lnTo>
                    <a:pt x="2550" y="420113"/>
                  </a:lnTo>
                  <a:lnTo>
                    <a:pt x="0" y="428401"/>
                  </a:lnTo>
                  <a:lnTo>
                    <a:pt x="637" y="429038"/>
                  </a:lnTo>
                  <a:lnTo>
                    <a:pt x="7650" y="428401"/>
                  </a:lnTo>
                  <a:lnTo>
                    <a:pt x="8287" y="426488"/>
                  </a:lnTo>
                  <a:lnTo>
                    <a:pt x="8287" y="426488"/>
                  </a:lnTo>
                  <a:close/>
                  <a:moveTo>
                    <a:pt x="447526" y="6375"/>
                  </a:moveTo>
                  <a:lnTo>
                    <a:pt x="446251" y="7650"/>
                  </a:lnTo>
                  <a:lnTo>
                    <a:pt x="454538" y="39525"/>
                  </a:lnTo>
                  <a:lnTo>
                    <a:pt x="420113" y="67575"/>
                  </a:lnTo>
                  <a:lnTo>
                    <a:pt x="391426" y="68213"/>
                  </a:lnTo>
                  <a:lnTo>
                    <a:pt x="397801" y="92438"/>
                  </a:lnTo>
                  <a:lnTo>
                    <a:pt x="357638" y="145988"/>
                  </a:lnTo>
                  <a:lnTo>
                    <a:pt x="358276" y="164475"/>
                  </a:lnTo>
                  <a:lnTo>
                    <a:pt x="312376" y="160650"/>
                  </a:lnTo>
                  <a:lnTo>
                    <a:pt x="295800" y="193800"/>
                  </a:lnTo>
                  <a:lnTo>
                    <a:pt x="264563" y="189338"/>
                  </a:lnTo>
                  <a:lnTo>
                    <a:pt x="244163" y="204638"/>
                  </a:lnTo>
                  <a:lnTo>
                    <a:pt x="240338" y="219300"/>
                  </a:lnTo>
                  <a:lnTo>
                    <a:pt x="204638" y="205913"/>
                  </a:lnTo>
                  <a:lnTo>
                    <a:pt x="175313" y="216113"/>
                  </a:lnTo>
                  <a:lnTo>
                    <a:pt x="151725" y="216113"/>
                  </a:lnTo>
                  <a:lnTo>
                    <a:pt x="141525" y="233963"/>
                  </a:lnTo>
                  <a:lnTo>
                    <a:pt x="138975" y="234600"/>
                  </a:lnTo>
                  <a:lnTo>
                    <a:pt x="138975" y="236513"/>
                  </a:lnTo>
                  <a:lnTo>
                    <a:pt x="128775" y="258188"/>
                  </a:lnTo>
                  <a:lnTo>
                    <a:pt x="140250" y="273488"/>
                  </a:lnTo>
                  <a:lnTo>
                    <a:pt x="100088" y="297075"/>
                  </a:lnTo>
                  <a:lnTo>
                    <a:pt x="110288" y="325763"/>
                  </a:lnTo>
                  <a:lnTo>
                    <a:pt x="98175" y="339788"/>
                  </a:lnTo>
                  <a:lnTo>
                    <a:pt x="48450" y="326401"/>
                  </a:lnTo>
                  <a:lnTo>
                    <a:pt x="35700" y="357001"/>
                  </a:lnTo>
                  <a:lnTo>
                    <a:pt x="39525" y="360826"/>
                  </a:lnTo>
                  <a:lnTo>
                    <a:pt x="40800" y="363376"/>
                  </a:lnTo>
                  <a:lnTo>
                    <a:pt x="35063" y="416288"/>
                  </a:lnTo>
                  <a:lnTo>
                    <a:pt x="32512" y="417563"/>
                  </a:lnTo>
                  <a:lnTo>
                    <a:pt x="15938" y="428401"/>
                  </a:lnTo>
                  <a:lnTo>
                    <a:pt x="15300" y="430313"/>
                  </a:lnTo>
                  <a:lnTo>
                    <a:pt x="33787" y="427763"/>
                  </a:lnTo>
                  <a:lnTo>
                    <a:pt x="163200" y="410551"/>
                  </a:lnTo>
                  <a:lnTo>
                    <a:pt x="156825" y="385051"/>
                  </a:lnTo>
                  <a:lnTo>
                    <a:pt x="178500" y="384413"/>
                  </a:lnTo>
                  <a:lnTo>
                    <a:pt x="439876" y="349988"/>
                  </a:lnTo>
                  <a:lnTo>
                    <a:pt x="624114" y="318751"/>
                  </a:lnTo>
                  <a:lnTo>
                    <a:pt x="626664" y="316838"/>
                  </a:lnTo>
                  <a:lnTo>
                    <a:pt x="631126" y="311738"/>
                  </a:lnTo>
                  <a:lnTo>
                    <a:pt x="679576" y="286238"/>
                  </a:lnTo>
                  <a:lnTo>
                    <a:pt x="716551" y="237150"/>
                  </a:lnTo>
                  <a:lnTo>
                    <a:pt x="721652" y="220575"/>
                  </a:lnTo>
                  <a:lnTo>
                    <a:pt x="745877" y="201450"/>
                  </a:lnTo>
                  <a:lnTo>
                    <a:pt x="777114" y="162563"/>
                  </a:lnTo>
                  <a:lnTo>
                    <a:pt x="781576" y="156188"/>
                  </a:lnTo>
                  <a:lnTo>
                    <a:pt x="779664" y="155550"/>
                  </a:lnTo>
                  <a:lnTo>
                    <a:pt x="763726" y="155550"/>
                  </a:lnTo>
                  <a:lnTo>
                    <a:pt x="743326" y="144075"/>
                  </a:lnTo>
                  <a:lnTo>
                    <a:pt x="706989" y="99450"/>
                  </a:lnTo>
                  <a:lnTo>
                    <a:pt x="694239" y="54188"/>
                  </a:lnTo>
                  <a:lnTo>
                    <a:pt x="694239" y="52913"/>
                  </a:lnTo>
                  <a:lnTo>
                    <a:pt x="692964" y="51637"/>
                  </a:lnTo>
                  <a:lnTo>
                    <a:pt x="665551" y="36337"/>
                  </a:lnTo>
                  <a:lnTo>
                    <a:pt x="653439" y="15938"/>
                  </a:lnTo>
                  <a:lnTo>
                    <a:pt x="629214" y="39525"/>
                  </a:lnTo>
                  <a:lnTo>
                    <a:pt x="613914" y="43350"/>
                  </a:lnTo>
                  <a:lnTo>
                    <a:pt x="594789" y="35700"/>
                  </a:lnTo>
                  <a:lnTo>
                    <a:pt x="578214" y="48450"/>
                  </a:lnTo>
                  <a:lnTo>
                    <a:pt x="543789" y="33150"/>
                  </a:lnTo>
                  <a:lnTo>
                    <a:pt x="534226" y="36975"/>
                  </a:lnTo>
                  <a:lnTo>
                    <a:pt x="501076" y="8287"/>
                  </a:lnTo>
                  <a:lnTo>
                    <a:pt x="484501" y="0"/>
                  </a:lnTo>
                  <a:lnTo>
                    <a:pt x="452626" y="3825"/>
                  </a:lnTo>
                  <a:lnTo>
                    <a:pt x="447526" y="6375"/>
                  </a:lnTo>
                  <a:lnTo>
                    <a:pt x="447526" y="6375"/>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53" name="Freeform 54">
              <a:extLst>
                <a:ext uri="{FF2B5EF4-FFF2-40B4-BE49-F238E27FC236}">
                  <a16:creationId xmlns:a16="http://schemas.microsoft.com/office/drawing/2014/main" id="{1421744C-5F76-6578-5BFB-59528BD89860}"/>
                </a:ext>
              </a:extLst>
            </p:cNvPr>
            <p:cNvSpPr/>
            <p:nvPr/>
          </p:nvSpPr>
          <p:spPr>
            <a:xfrm>
              <a:off x="6080680" y="2651987"/>
              <a:ext cx="928201" cy="430313"/>
            </a:xfrm>
            <a:custGeom>
              <a:avLst/>
              <a:gdLst>
                <a:gd name="connsiteX0" fmla="*/ 717826 w 928201"/>
                <a:gd name="connsiteY0" fmla="*/ 407363 h 430313"/>
                <a:gd name="connsiteX1" fmla="*/ 710814 w 928201"/>
                <a:gd name="connsiteY1" fmla="*/ 414376 h 430313"/>
                <a:gd name="connsiteX2" fmla="*/ 712089 w 928201"/>
                <a:gd name="connsiteY2" fmla="*/ 415651 h 430313"/>
                <a:gd name="connsiteX3" fmla="*/ 717826 w 928201"/>
                <a:gd name="connsiteY3" fmla="*/ 407363 h 430313"/>
                <a:gd name="connsiteX4" fmla="*/ 717826 w 928201"/>
                <a:gd name="connsiteY4" fmla="*/ 407363 h 430313"/>
                <a:gd name="connsiteX5" fmla="*/ 722926 w 928201"/>
                <a:gd name="connsiteY5" fmla="*/ 370388 h 430313"/>
                <a:gd name="connsiteX6" fmla="*/ 719739 w 928201"/>
                <a:gd name="connsiteY6" fmla="*/ 375488 h 430313"/>
                <a:gd name="connsiteX7" fmla="*/ 721014 w 928201"/>
                <a:gd name="connsiteY7" fmla="*/ 380588 h 430313"/>
                <a:gd name="connsiteX8" fmla="*/ 722926 w 928201"/>
                <a:gd name="connsiteY8" fmla="*/ 370388 h 430313"/>
                <a:gd name="connsiteX9" fmla="*/ 722926 w 928201"/>
                <a:gd name="connsiteY9" fmla="*/ 370388 h 430313"/>
                <a:gd name="connsiteX10" fmla="*/ 761814 w 928201"/>
                <a:gd name="connsiteY10" fmla="*/ 310463 h 430313"/>
                <a:gd name="connsiteX11" fmla="*/ 751614 w 928201"/>
                <a:gd name="connsiteY11" fmla="*/ 316838 h 430313"/>
                <a:gd name="connsiteX12" fmla="*/ 746514 w 928201"/>
                <a:gd name="connsiteY12" fmla="*/ 324488 h 430313"/>
                <a:gd name="connsiteX13" fmla="*/ 761814 w 928201"/>
                <a:gd name="connsiteY13" fmla="*/ 310463 h 430313"/>
                <a:gd name="connsiteX14" fmla="*/ 761814 w 928201"/>
                <a:gd name="connsiteY14" fmla="*/ 310463 h 430313"/>
                <a:gd name="connsiteX15" fmla="*/ 844051 w 928201"/>
                <a:gd name="connsiteY15" fmla="*/ 270301 h 430313"/>
                <a:gd name="connsiteX16" fmla="*/ 840227 w 928201"/>
                <a:gd name="connsiteY16" fmla="*/ 267751 h 430313"/>
                <a:gd name="connsiteX17" fmla="*/ 831939 w 928201"/>
                <a:gd name="connsiteY17" fmla="*/ 267113 h 430313"/>
                <a:gd name="connsiteX18" fmla="*/ 844051 w 928201"/>
                <a:gd name="connsiteY18" fmla="*/ 270301 h 430313"/>
                <a:gd name="connsiteX19" fmla="*/ 844051 w 928201"/>
                <a:gd name="connsiteY19" fmla="*/ 270301 h 430313"/>
                <a:gd name="connsiteX20" fmla="*/ 826839 w 928201"/>
                <a:gd name="connsiteY20" fmla="*/ 266475 h 430313"/>
                <a:gd name="connsiteX21" fmla="*/ 821102 w 928201"/>
                <a:gd name="connsiteY21" fmla="*/ 266475 h 430313"/>
                <a:gd name="connsiteX22" fmla="*/ 810901 w 928201"/>
                <a:gd name="connsiteY22" fmla="*/ 271576 h 430313"/>
                <a:gd name="connsiteX23" fmla="*/ 826839 w 928201"/>
                <a:gd name="connsiteY23" fmla="*/ 266475 h 430313"/>
                <a:gd name="connsiteX24" fmla="*/ 847239 w 928201"/>
                <a:gd name="connsiteY24" fmla="*/ 272850 h 430313"/>
                <a:gd name="connsiteX25" fmla="*/ 865727 w 928201"/>
                <a:gd name="connsiteY25" fmla="*/ 226313 h 430313"/>
                <a:gd name="connsiteX26" fmla="*/ 852977 w 928201"/>
                <a:gd name="connsiteY26" fmla="*/ 245438 h 430313"/>
                <a:gd name="connsiteX27" fmla="*/ 847239 w 928201"/>
                <a:gd name="connsiteY27" fmla="*/ 272850 h 430313"/>
                <a:gd name="connsiteX28" fmla="*/ 847239 w 928201"/>
                <a:gd name="connsiteY28" fmla="*/ 272850 h 430313"/>
                <a:gd name="connsiteX29" fmla="*/ 874651 w 928201"/>
                <a:gd name="connsiteY29" fmla="*/ 212288 h 430313"/>
                <a:gd name="connsiteX30" fmla="*/ 882939 w 928201"/>
                <a:gd name="connsiteY30" fmla="*/ 200176 h 430313"/>
                <a:gd name="connsiteX31" fmla="*/ 878477 w 928201"/>
                <a:gd name="connsiteY31" fmla="*/ 200176 h 430313"/>
                <a:gd name="connsiteX32" fmla="*/ 874651 w 928201"/>
                <a:gd name="connsiteY32" fmla="*/ 212288 h 430313"/>
                <a:gd name="connsiteX33" fmla="*/ 928202 w 928201"/>
                <a:gd name="connsiteY33" fmla="*/ 162563 h 430313"/>
                <a:gd name="connsiteX34" fmla="*/ 914177 w 928201"/>
                <a:gd name="connsiteY34" fmla="*/ 91163 h 430313"/>
                <a:gd name="connsiteX35" fmla="*/ 926289 w 928201"/>
                <a:gd name="connsiteY35" fmla="*/ 128138 h 430313"/>
                <a:gd name="connsiteX36" fmla="*/ 928202 w 928201"/>
                <a:gd name="connsiteY36" fmla="*/ 162563 h 430313"/>
                <a:gd name="connsiteX37" fmla="*/ 928202 w 928201"/>
                <a:gd name="connsiteY37" fmla="*/ 162563 h 430313"/>
                <a:gd name="connsiteX38" fmla="*/ 850426 w 928201"/>
                <a:gd name="connsiteY38" fmla="*/ 0 h 430313"/>
                <a:gd name="connsiteX39" fmla="*/ 849151 w 928201"/>
                <a:gd name="connsiteY39" fmla="*/ 638 h 430313"/>
                <a:gd name="connsiteX40" fmla="*/ 847239 w 928201"/>
                <a:gd name="connsiteY40" fmla="*/ 1275 h 430313"/>
                <a:gd name="connsiteX41" fmla="*/ 847239 w 928201"/>
                <a:gd name="connsiteY41" fmla="*/ 1275 h 430313"/>
                <a:gd name="connsiteX42" fmla="*/ 847877 w 928201"/>
                <a:gd name="connsiteY42" fmla="*/ 1275 h 430313"/>
                <a:gd name="connsiteX43" fmla="*/ 882939 w 928201"/>
                <a:gd name="connsiteY43" fmla="*/ 60563 h 430313"/>
                <a:gd name="connsiteX44" fmla="*/ 910989 w 928201"/>
                <a:gd name="connsiteY44" fmla="*/ 88613 h 430313"/>
                <a:gd name="connsiteX45" fmla="*/ 850426 w 928201"/>
                <a:gd name="connsiteY45" fmla="*/ 0 h 430313"/>
                <a:gd name="connsiteX46" fmla="*/ 850426 w 928201"/>
                <a:gd name="connsiteY46" fmla="*/ 0 h 430313"/>
                <a:gd name="connsiteX47" fmla="*/ 850426 w 928201"/>
                <a:gd name="connsiteY47" fmla="*/ 0 h 430313"/>
                <a:gd name="connsiteX48" fmla="*/ 838952 w 928201"/>
                <a:gd name="connsiteY48" fmla="*/ 3825 h 430313"/>
                <a:gd name="connsiteX49" fmla="*/ 833852 w 928201"/>
                <a:gd name="connsiteY49" fmla="*/ 5100 h 430313"/>
                <a:gd name="connsiteX50" fmla="*/ 833852 w 928201"/>
                <a:gd name="connsiteY50" fmla="*/ 5100 h 430313"/>
                <a:gd name="connsiteX51" fmla="*/ 835127 w 928201"/>
                <a:gd name="connsiteY51" fmla="*/ 5738 h 430313"/>
                <a:gd name="connsiteX52" fmla="*/ 846602 w 928201"/>
                <a:gd name="connsiteY52" fmla="*/ 5738 h 430313"/>
                <a:gd name="connsiteX53" fmla="*/ 845327 w 928201"/>
                <a:gd name="connsiteY53" fmla="*/ 1913 h 430313"/>
                <a:gd name="connsiteX54" fmla="*/ 845327 w 928201"/>
                <a:gd name="connsiteY54" fmla="*/ 1913 h 430313"/>
                <a:gd name="connsiteX55" fmla="*/ 842776 w 928201"/>
                <a:gd name="connsiteY55" fmla="*/ 2550 h 430313"/>
                <a:gd name="connsiteX56" fmla="*/ 840864 w 928201"/>
                <a:gd name="connsiteY56" fmla="*/ 2550 h 430313"/>
                <a:gd name="connsiteX57" fmla="*/ 840864 w 928201"/>
                <a:gd name="connsiteY57" fmla="*/ 2550 h 430313"/>
                <a:gd name="connsiteX58" fmla="*/ 840864 w 928201"/>
                <a:gd name="connsiteY58" fmla="*/ 3825 h 430313"/>
                <a:gd name="connsiteX59" fmla="*/ 838952 w 928201"/>
                <a:gd name="connsiteY59" fmla="*/ 3825 h 430313"/>
                <a:gd name="connsiteX60" fmla="*/ 838952 w 928201"/>
                <a:gd name="connsiteY60" fmla="*/ 3825 h 430313"/>
                <a:gd name="connsiteX61" fmla="*/ 838952 w 928201"/>
                <a:gd name="connsiteY61" fmla="*/ 3825 h 430313"/>
                <a:gd name="connsiteX62" fmla="*/ 838952 w 928201"/>
                <a:gd name="connsiteY62" fmla="*/ 3825 h 430313"/>
                <a:gd name="connsiteX63" fmla="*/ 244800 w 928201"/>
                <a:gd name="connsiteY63" fmla="*/ 149813 h 430313"/>
                <a:gd name="connsiteX64" fmla="*/ 241613 w 928201"/>
                <a:gd name="connsiteY64" fmla="*/ 160013 h 430313"/>
                <a:gd name="connsiteX65" fmla="*/ 242250 w 928201"/>
                <a:gd name="connsiteY65" fmla="*/ 188063 h 430313"/>
                <a:gd name="connsiteX66" fmla="*/ 235238 w 928201"/>
                <a:gd name="connsiteY66" fmla="*/ 187426 h 430313"/>
                <a:gd name="connsiteX67" fmla="*/ 218663 w 928201"/>
                <a:gd name="connsiteY67" fmla="*/ 221213 h 430313"/>
                <a:gd name="connsiteX68" fmla="*/ 200175 w 928201"/>
                <a:gd name="connsiteY68" fmla="*/ 223125 h 430313"/>
                <a:gd name="connsiteX69" fmla="*/ 165750 w 928201"/>
                <a:gd name="connsiteY69" fmla="*/ 256913 h 430313"/>
                <a:gd name="connsiteX70" fmla="*/ 150450 w 928201"/>
                <a:gd name="connsiteY70" fmla="*/ 251176 h 430313"/>
                <a:gd name="connsiteX71" fmla="*/ 130688 w 928201"/>
                <a:gd name="connsiteY71" fmla="*/ 281138 h 430313"/>
                <a:gd name="connsiteX72" fmla="*/ 77775 w 928201"/>
                <a:gd name="connsiteY72" fmla="*/ 328951 h 430313"/>
                <a:gd name="connsiteX73" fmla="*/ 52275 w 928201"/>
                <a:gd name="connsiteY73" fmla="*/ 335326 h 430313"/>
                <a:gd name="connsiteX74" fmla="*/ 24862 w 928201"/>
                <a:gd name="connsiteY74" fmla="*/ 360188 h 430313"/>
                <a:gd name="connsiteX75" fmla="*/ 23587 w 928201"/>
                <a:gd name="connsiteY75" fmla="*/ 376764 h 430313"/>
                <a:gd name="connsiteX76" fmla="*/ 0 w 928201"/>
                <a:gd name="connsiteY76" fmla="*/ 389514 h 430313"/>
                <a:gd name="connsiteX77" fmla="*/ 637 w 928201"/>
                <a:gd name="connsiteY77" fmla="*/ 418201 h 430313"/>
                <a:gd name="connsiteX78" fmla="*/ 637 w 928201"/>
                <a:gd name="connsiteY78" fmla="*/ 424576 h 430313"/>
                <a:gd name="connsiteX79" fmla="*/ 8925 w 928201"/>
                <a:gd name="connsiteY79" fmla="*/ 422663 h 430313"/>
                <a:gd name="connsiteX80" fmla="*/ 98813 w 928201"/>
                <a:gd name="connsiteY80" fmla="*/ 404176 h 430313"/>
                <a:gd name="connsiteX81" fmla="*/ 123038 w 928201"/>
                <a:gd name="connsiteY81" fmla="*/ 399076 h 430313"/>
                <a:gd name="connsiteX82" fmla="*/ 131325 w 928201"/>
                <a:gd name="connsiteY82" fmla="*/ 397163 h 430313"/>
                <a:gd name="connsiteX83" fmla="*/ 133238 w 928201"/>
                <a:gd name="connsiteY83" fmla="*/ 397163 h 430313"/>
                <a:gd name="connsiteX84" fmla="*/ 346163 w 928201"/>
                <a:gd name="connsiteY84" fmla="*/ 329588 h 430313"/>
                <a:gd name="connsiteX85" fmla="*/ 381863 w 928201"/>
                <a:gd name="connsiteY85" fmla="*/ 348076 h 430313"/>
                <a:gd name="connsiteX86" fmla="*/ 454538 w 928201"/>
                <a:gd name="connsiteY86" fmla="*/ 350626 h 430313"/>
                <a:gd name="connsiteX87" fmla="*/ 508088 w 928201"/>
                <a:gd name="connsiteY87" fmla="*/ 339788 h 430313"/>
                <a:gd name="connsiteX88" fmla="*/ 650889 w 928201"/>
                <a:gd name="connsiteY88" fmla="*/ 430313 h 430313"/>
                <a:gd name="connsiteX89" fmla="*/ 653439 w 928201"/>
                <a:gd name="connsiteY89" fmla="*/ 428401 h 430313"/>
                <a:gd name="connsiteX90" fmla="*/ 719739 w 928201"/>
                <a:gd name="connsiteY90" fmla="*/ 400988 h 430313"/>
                <a:gd name="connsiteX91" fmla="*/ 720376 w 928201"/>
                <a:gd name="connsiteY91" fmla="*/ 365926 h 430313"/>
                <a:gd name="connsiteX92" fmla="*/ 743964 w 928201"/>
                <a:gd name="connsiteY92" fmla="*/ 323213 h 430313"/>
                <a:gd name="connsiteX93" fmla="*/ 769464 w 928201"/>
                <a:gd name="connsiteY93" fmla="*/ 298988 h 430313"/>
                <a:gd name="connsiteX94" fmla="*/ 823014 w 928201"/>
                <a:gd name="connsiteY94" fmla="*/ 263926 h 430313"/>
                <a:gd name="connsiteX95" fmla="*/ 830026 w 928201"/>
                <a:gd name="connsiteY95" fmla="*/ 251176 h 430313"/>
                <a:gd name="connsiteX96" fmla="*/ 844051 w 928201"/>
                <a:gd name="connsiteY96" fmla="*/ 257551 h 430313"/>
                <a:gd name="connsiteX97" fmla="*/ 850426 w 928201"/>
                <a:gd name="connsiteY97" fmla="*/ 215475 h 430313"/>
                <a:gd name="connsiteX98" fmla="*/ 842776 w 928201"/>
                <a:gd name="connsiteY98" fmla="*/ 230138 h 430313"/>
                <a:gd name="connsiteX99" fmla="*/ 815364 w 928201"/>
                <a:gd name="connsiteY99" fmla="*/ 239701 h 430313"/>
                <a:gd name="connsiteX100" fmla="*/ 789864 w 928201"/>
                <a:gd name="connsiteY100" fmla="*/ 240338 h 430313"/>
                <a:gd name="connsiteX101" fmla="*/ 821739 w 928201"/>
                <a:gd name="connsiteY101" fmla="*/ 217388 h 430313"/>
                <a:gd name="connsiteX102" fmla="*/ 813452 w 928201"/>
                <a:gd name="connsiteY102" fmla="*/ 205275 h 430313"/>
                <a:gd name="connsiteX103" fmla="*/ 824926 w 928201"/>
                <a:gd name="connsiteY103" fmla="*/ 182325 h 430313"/>
                <a:gd name="connsiteX104" fmla="*/ 765002 w 928201"/>
                <a:gd name="connsiteY104" fmla="*/ 172125 h 430313"/>
                <a:gd name="connsiteX105" fmla="*/ 762451 w 928201"/>
                <a:gd name="connsiteY105" fmla="*/ 168938 h 430313"/>
                <a:gd name="connsiteX106" fmla="*/ 814089 w 928201"/>
                <a:gd name="connsiteY106" fmla="*/ 158738 h 430313"/>
                <a:gd name="connsiteX107" fmla="*/ 830664 w 928201"/>
                <a:gd name="connsiteY107" fmla="*/ 167025 h 430313"/>
                <a:gd name="connsiteX108" fmla="*/ 851702 w 928201"/>
                <a:gd name="connsiteY108" fmla="*/ 165113 h 430313"/>
                <a:gd name="connsiteX109" fmla="*/ 868914 w 928201"/>
                <a:gd name="connsiteY109" fmla="*/ 152363 h 430313"/>
                <a:gd name="connsiteX110" fmla="*/ 881664 w 928201"/>
                <a:gd name="connsiteY110" fmla="*/ 127500 h 430313"/>
                <a:gd name="connsiteX111" fmla="*/ 893139 w 928201"/>
                <a:gd name="connsiteY111" fmla="*/ 124313 h 430313"/>
                <a:gd name="connsiteX112" fmla="*/ 891227 w 928201"/>
                <a:gd name="connsiteY112" fmla="*/ 89250 h 430313"/>
                <a:gd name="connsiteX113" fmla="*/ 876564 w 928201"/>
                <a:gd name="connsiteY113" fmla="*/ 75225 h 430313"/>
                <a:gd name="connsiteX114" fmla="*/ 861901 w 928201"/>
                <a:gd name="connsiteY114" fmla="*/ 88613 h 430313"/>
                <a:gd name="connsiteX115" fmla="*/ 865089 w 928201"/>
                <a:gd name="connsiteY115" fmla="*/ 122400 h 430313"/>
                <a:gd name="connsiteX116" fmla="*/ 853614 w 928201"/>
                <a:gd name="connsiteY116" fmla="*/ 80963 h 430313"/>
                <a:gd name="connsiteX117" fmla="*/ 845327 w 928201"/>
                <a:gd name="connsiteY117" fmla="*/ 79050 h 430313"/>
                <a:gd name="connsiteX118" fmla="*/ 781576 w 928201"/>
                <a:gd name="connsiteY118" fmla="*/ 105825 h 430313"/>
                <a:gd name="connsiteX119" fmla="*/ 810264 w 928201"/>
                <a:gd name="connsiteY119" fmla="*/ 77775 h 430313"/>
                <a:gd name="connsiteX120" fmla="*/ 811539 w 928201"/>
                <a:gd name="connsiteY120" fmla="*/ 66300 h 430313"/>
                <a:gd name="connsiteX121" fmla="*/ 841502 w 928201"/>
                <a:gd name="connsiteY121" fmla="*/ 59288 h 430313"/>
                <a:gd name="connsiteX122" fmla="*/ 849789 w 928201"/>
                <a:gd name="connsiteY122" fmla="*/ 37613 h 430313"/>
                <a:gd name="connsiteX123" fmla="*/ 869552 w 928201"/>
                <a:gd name="connsiteY123" fmla="*/ 49088 h 430313"/>
                <a:gd name="connsiteX124" fmla="*/ 848514 w 928201"/>
                <a:gd name="connsiteY124" fmla="*/ 17213 h 430313"/>
                <a:gd name="connsiteX125" fmla="*/ 833852 w 928201"/>
                <a:gd name="connsiteY125" fmla="*/ 4463 h 430313"/>
                <a:gd name="connsiteX126" fmla="*/ 833852 w 928201"/>
                <a:gd name="connsiteY126" fmla="*/ 4463 h 430313"/>
                <a:gd name="connsiteX127" fmla="*/ 576301 w 928201"/>
                <a:gd name="connsiteY127" fmla="*/ 77775 h 430313"/>
                <a:gd name="connsiteX128" fmla="*/ 412463 w 928201"/>
                <a:gd name="connsiteY128" fmla="*/ 119213 h 430313"/>
                <a:gd name="connsiteX129" fmla="*/ 246713 w 928201"/>
                <a:gd name="connsiteY129" fmla="*/ 150450 h 430313"/>
                <a:gd name="connsiteX130" fmla="*/ 244800 w 928201"/>
                <a:gd name="connsiteY130" fmla="*/ 149813 h 430313"/>
                <a:gd name="connsiteX131" fmla="*/ 244800 w 928201"/>
                <a:gd name="connsiteY131" fmla="*/ 149813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28201" h="430313">
                  <a:moveTo>
                    <a:pt x="717826" y="407363"/>
                  </a:moveTo>
                  <a:lnTo>
                    <a:pt x="710814" y="414376"/>
                  </a:lnTo>
                  <a:lnTo>
                    <a:pt x="712089" y="415651"/>
                  </a:lnTo>
                  <a:lnTo>
                    <a:pt x="717826" y="407363"/>
                  </a:lnTo>
                  <a:lnTo>
                    <a:pt x="717826" y="407363"/>
                  </a:lnTo>
                  <a:close/>
                  <a:moveTo>
                    <a:pt x="722926" y="370388"/>
                  </a:moveTo>
                  <a:lnTo>
                    <a:pt x="719739" y="375488"/>
                  </a:lnTo>
                  <a:lnTo>
                    <a:pt x="721014" y="380588"/>
                  </a:lnTo>
                  <a:lnTo>
                    <a:pt x="722926" y="370388"/>
                  </a:lnTo>
                  <a:lnTo>
                    <a:pt x="722926" y="370388"/>
                  </a:lnTo>
                  <a:close/>
                  <a:moveTo>
                    <a:pt x="761814" y="310463"/>
                  </a:moveTo>
                  <a:lnTo>
                    <a:pt x="751614" y="316838"/>
                  </a:lnTo>
                  <a:lnTo>
                    <a:pt x="746514" y="324488"/>
                  </a:lnTo>
                  <a:lnTo>
                    <a:pt x="761814" y="310463"/>
                  </a:lnTo>
                  <a:lnTo>
                    <a:pt x="761814" y="310463"/>
                  </a:lnTo>
                  <a:close/>
                  <a:moveTo>
                    <a:pt x="844051" y="270301"/>
                  </a:moveTo>
                  <a:lnTo>
                    <a:pt x="840227" y="267751"/>
                  </a:lnTo>
                  <a:lnTo>
                    <a:pt x="831939" y="267113"/>
                  </a:lnTo>
                  <a:lnTo>
                    <a:pt x="844051" y="270301"/>
                  </a:lnTo>
                  <a:lnTo>
                    <a:pt x="844051" y="270301"/>
                  </a:lnTo>
                  <a:close/>
                  <a:moveTo>
                    <a:pt x="826839" y="266475"/>
                  </a:moveTo>
                  <a:lnTo>
                    <a:pt x="821102" y="266475"/>
                  </a:lnTo>
                  <a:lnTo>
                    <a:pt x="810901" y="271576"/>
                  </a:lnTo>
                  <a:lnTo>
                    <a:pt x="826839" y="266475"/>
                  </a:lnTo>
                  <a:close/>
                  <a:moveTo>
                    <a:pt x="847239" y="272850"/>
                  </a:moveTo>
                  <a:lnTo>
                    <a:pt x="865727" y="226313"/>
                  </a:lnTo>
                  <a:lnTo>
                    <a:pt x="852977" y="245438"/>
                  </a:lnTo>
                  <a:lnTo>
                    <a:pt x="847239" y="272850"/>
                  </a:lnTo>
                  <a:lnTo>
                    <a:pt x="847239" y="272850"/>
                  </a:lnTo>
                  <a:close/>
                  <a:moveTo>
                    <a:pt x="874651" y="212288"/>
                  </a:moveTo>
                  <a:lnTo>
                    <a:pt x="882939" y="200176"/>
                  </a:lnTo>
                  <a:lnTo>
                    <a:pt x="878477" y="200176"/>
                  </a:lnTo>
                  <a:lnTo>
                    <a:pt x="874651" y="212288"/>
                  </a:lnTo>
                  <a:close/>
                  <a:moveTo>
                    <a:pt x="928202" y="162563"/>
                  </a:moveTo>
                  <a:lnTo>
                    <a:pt x="914177" y="91163"/>
                  </a:lnTo>
                  <a:lnTo>
                    <a:pt x="926289" y="128138"/>
                  </a:lnTo>
                  <a:lnTo>
                    <a:pt x="928202" y="162563"/>
                  </a:lnTo>
                  <a:lnTo>
                    <a:pt x="928202" y="162563"/>
                  </a:lnTo>
                  <a:close/>
                  <a:moveTo>
                    <a:pt x="850426" y="0"/>
                  </a:moveTo>
                  <a:lnTo>
                    <a:pt x="849151" y="638"/>
                  </a:lnTo>
                  <a:lnTo>
                    <a:pt x="847239" y="1275"/>
                  </a:lnTo>
                  <a:lnTo>
                    <a:pt x="847239" y="1275"/>
                  </a:lnTo>
                  <a:lnTo>
                    <a:pt x="847877" y="1275"/>
                  </a:lnTo>
                  <a:lnTo>
                    <a:pt x="882939" y="60563"/>
                  </a:lnTo>
                  <a:lnTo>
                    <a:pt x="910989" y="88613"/>
                  </a:lnTo>
                  <a:lnTo>
                    <a:pt x="850426" y="0"/>
                  </a:lnTo>
                  <a:lnTo>
                    <a:pt x="850426" y="0"/>
                  </a:lnTo>
                  <a:lnTo>
                    <a:pt x="850426" y="0"/>
                  </a:lnTo>
                  <a:close/>
                  <a:moveTo>
                    <a:pt x="838952" y="3825"/>
                  </a:moveTo>
                  <a:lnTo>
                    <a:pt x="833852" y="5100"/>
                  </a:lnTo>
                  <a:lnTo>
                    <a:pt x="833852" y="5100"/>
                  </a:lnTo>
                  <a:lnTo>
                    <a:pt x="835127" y="5738"/>
                  </a:lnTo>
                  <a:lnTo>
                    <a:pt x="846602" y="5738"/>
                  </a:lnTo>
                  <a:lnTo>
                    <a:pt x="845327" y="1913"/>
                  </a:lnTo>
                  <a:lnTo>
                    <a:pt x="845327" y="1913"/>
                  </a:lnTo>
                  <a:lnTo>
                    <a:pt x="842776" y="2550"/>
                  </a:lnTo>
                  <a:lnTo>
                    <a:pt x="840864" y="2550"/>
                  </a:lnTo>
                  <a:lnTo>
                    <a:pt x="840864" y="2550"/>
                  </a:lnTo>
                  <a:lnTo>
                    <a:pt x="840864" y="3825"/>
                  </a:lnTo>
                  <a:lnTo>
                    <a:pt x="838952" y="3825"/>
                  </a:lnTo>
                  <a:lnTo>
                    <a:pt x="838952" y="3825"/>
                  </a:lnTo>
                  <a:lnTo>
                    <a:pt x="838952" y="3825"/>
                  </a:lnTo>
                  <a:lnTo>
                    <a:pt x="838952" y="3825"/>
                  </a:lnTo>
                  <a:close/>
                  <a:moveTo>
                    <a:pt x="244800" y="149813"/>
                  </a:moveTo>
                  <a:lnTo>
                    <a:pt x="241613" y="160013"/>
                  </a:lnTo>
                  <a:lnTo>
                    <a:pt x="242250" y="188063"/>
                  </a:lnTo>
                  <a:lnTo>
                    <a:pt x="235238" y="187426"/>
                  </a:lnTo>
                  <a:lnTo>
                    <a:pt x="218663" y="221213"/>
                  </a:lnTo>
                  <a:lnTo>
                    <a:pt x="200175" y="223125"/>
                  </a:lnTo>
                  <a:lnTo>
                    <a:pt x="165750" y="256913"/>
                  </a:lnTo>
                  <a:lnTo>
                    <a:pt x="150450" y="251176"/>
                  </a:lnTo>
                  <a:lnTo>
                    <a:pt x="130688" y="281138"/>
                  </a:lnTo>
                  <a:lnTo>
                    <a:pt x="77775" y="328951"/>
                  </a:lnTo>
                  <a:lnTo>
                    <a:pt x="52275" y="335326"/>
                  </a:lnTo>
                  <a:lnTo>
                    <a:pt x="24862" y="360188"/>
                  </a:lnTo>
                  <a:lnTo>
                    <a:pt x="23587" y="376764"/>
                  </a:lnTo>
                  <a:lnTo>
                    <a:pt x="0" y="389514"/>
                  </a:lnTo>
                  <a:lnTo>
                    <a:pt x="637" y="418201"/>
                  </a:lnTo>
                  <a:lnTo>
                    <a:pt x="637" y="424576"/>
                  </a:lnTo>
                  <a:lnTo>
                    <a:pt x="8925" y="422663"/>
                  </a:lnTo>
                  <a:lnTo>
                    <a:pt x="98813" y="404176"/>
                  </a:lnTo>
                  <a:lnTo>
                    <a:pt x="123038" y="399076"/>
                  </a:lnTo>
                  <a:lnTo>
                    <a:pt x="131325" y="397163"/>
                  </a:lnTo>
                  <a:lnTo>
                    <a:pt x="133238" y="397163"/>
                  </a:lnTo>
                  <a:lnTo>
                    <a:pt x="346163" y="329588"/>
                  </a:lnTo>
                  <a:lnTo>
                    <a:pt x="381863" y="348076"/>
                  </a:lnTo>
                  <a:lnTo>
                    <a:pt x="454538" y="350626"/>
                  </a:lnTo>
                  <a:lnTo>
                    <a:pt x="508088" y="339788"/>
                  </a:lnTo>
                  <a:lnTo>
                    <a:pt x="650889" y="430313"/>
                  </a:lnTo>
                  <a:lnTo>
                    <a:pt x="653439" y="428401"/>
                  </a:lnTo>
                  <a:lnTo>
                    <a:pt x="719739" y="400988"/>
                  </a:lnTo>
                  <a:lnTo>
                    <a:pt x="720376" y="365926"/>
                  </a:lnTo>
                  <a:lnTo>
                    <a:pt x="743964" y="323213"/>
                  </a:lnTo>
                  <a:lnTo>
                    <a:pt x="769464" y="298988"/>
                  </a:lnTo>
                  <a:lnTo>
                    <a:pt x="823014" y="263926"/>
                  </a:lnTo>
                  <a:lnTo>
                    <a:pt x="830026" y="251176"/>
                  </a:lnTo>
                  <a:lnTo>
                    <a:pt x="844051" y="257551"/>
                  </a:lnTo>
                  <a:lnTo>
                    <a:pt x="850426" y="215475"/>
                  </a:lnTo>
                  <a:lnTo>
                    <a:pt x="842776" y="230138"/>
                  </a:lnTo>
                  <a:lnTo>
                    <a:pt x="815364" y="239701"/>
                  </a:lnTo>
                  <a:lnTo>
                    <a:pt x="789864" y="240338"/>
                  </a:lnTo>
                  <a:lnTo>
                    <a:pt x="821739" y="217388"/>
                  </a:lnTo>
                  <a:lnTo>
                    <a:pt x="813452" y="205275"/>
                  </a:lnTo>
                  <a:lnTo>
                    <a:pt x="824926" y="182325"/>
                  </a:lnTo>
                  <a:lnTo>
                    <a:pt x="765002" y="172125"/>
                  </a:lnTo>
                  <a:lnTo>
                    <a:pt x="762451" y="168938"/>
                  </a:lnTo>
                  <a:lnTo>
                    <a:pt x="814089" y="158738"/>
                  </a:lnTo>
                  <a:lnTo>
                    <a:pt x="830664" y="167025"/>
                  </a:lnTo>
                  <a:lnTo>
                    <a:pt x="851702" y="165113"/>
                  </a:lnTo>
                  <a:lnTo>
                    <a:pt x="868914" y="152363"/>
                  </a:lnTo>
                  <a:lnTo>
                    <a:pt x="881664" y="127500"/>
                  </a:lnTo>
                  <a:lnTo>
                    <a:pt x="893139" y="124313"/>
                  </a:lnTo>
                  <a:lnTo>
                    <a:pt x="891227" y="89250"/>
                  </a:lnTo>
                  <a:lnTo>
                    <a:pt x="876564" y="75225"/>
                  </a:lnTo>
                  <a:lnTo>
                    <a:pt x="861901" y="88613"/>
                  </a:lnTo>
                  <a:lnTo>
                    <a:pt x="865089" y="122400"/>
                  </a:lnTo>
                  <a:lnTo>
                    <a:pt x="853614" y="80963"/>
                  </a:lnTo>
                  <a:lnTo>
                    <a:pt x="845327" y="79050"/>
                  </a:lnTo>
                  <a:lnTo>
                    <a:pt x="781576" y="105825"/>
                  </a:lnTo>
                  <a:lnTo>
                    <a:pt x="810264" y="77775"/>
                  </a:lnTo>
                  <a:lnTo>
                    <a:pt x="811539" y="66300"/>
                  </a:lnTo>
                  <a:lnTo>
                    <a:pt x="841502" y="59288"/>
                  </a:lnTo>
                  <a:lnTo>
                    <a:pt x="849789" y="37613"/>
                  </a:lnTo>
                  <a:lnTo>
                    <a:pt x="869552" y="49088"/>
                  </a:lnTo>
                  <a:lnTo>
                    <a:pt x="848514" y="17213"/>
                  </a:lnTo>
                  <a:lnTo>
                    <a:pt x="833852" y="4463"/>
                  </a:lnTo>
                  <a:lnTo>
                    <a:pt x="833852" y="4463"/>
                  </a:lnTo>
                  <a:lnTo>
                    <a:pt x="576301" y="77775"/>
                  </a:lnTo>
                  <a:lnTo>
                    <a:pt x="412463" y="119213"/>
                  </a:lnTo>
                  <a:lnTo>
                    <a:pt x="246713" y="150450"/>
                  </a:lnTo>
                  <a:lnTo>
                    <a:pt x="244800" y="149813"/>
                  </a:lnTo>
                  <a:lnTo>
                    <a:pt x="244800" y="1498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4" name="Freeform 55">
              <a:extLst>
                <a:ext uri="{FF2B5EF4-FFF2-40B4-BE49-F238E27FC236}">
                  <a16:creationId xmlns:a16="http://schemas.microsoft.com/office/drawing/2014/main" id="{1EB24125-62D7-3447-095A-0805858AD25A}"/>
                </a:ext>
              </a:extLst>
            </p:cNvPr>
            <p:cNvSpPr/>
            <p:nvPr/>
          </p:nvSpPr>
          <p:spPr>
            <a:xfrm>
              <a:off x="5876680" y="2065485"/>
              <a:ext cx="451350" cy="520838"/>
            </a:xfrm>
            <a:custGeom>
              <a:avLst/>
              <a:gdLst>
                <a:gd name="connsiteX0" fmla="*/ 445613 w 451350"/>
                <a:gd name="connsiteY0" fmla="*/ 162563 h 520838"/>
                <a:gd name="connsiteX1" fmla="*/ 429676 w 451350"/>
                <a:gd name="connsiteY1" fmla="*/ 93075 h 520838"/>
                <a:gd name="connsiteX2" fmla="*/ 426488 w 451350"/>
                <a:gd name="connsiteY2" fmla="*/ 79050 h 520838"/>
                <a:gd name="connsiteX3" fmla="*/ 408638 w 451350"/>
                <a:gd name="connsiteY3" fmla="*/ 0 h 520838"/>
                <a:gd name="connsiteX4" fmla="*/ 385688 w 451350"/>
                <a:gd name="connsiteY4" fmla="*/ 14663 h 520838"/>
                <a:gd name="connsiteX5" fmla="*/ 335963 w 451350"/>
                <a:gd name="connsiteY5" fmla="*/ 52275 h 520838"/>
                <a:gd name="connsiteX6" fmla="*/ 303450 w 451350"/>
                <a:gd name="connsiteY6" fmla="*/ 91163 h 520838"/>
                <a:gd name="connsiteX7" fmla="*/ 278588 w 451350"/>
                <a:gd name="connsiteY7" fmla="*/ 94988 h 520838"/>
                <a:gd name="connsiteX8" fmla="*/ 232050 w 451350"/>
                <a:gd name="connsiteY8" fmla="*/ 121763 h 520838"/>
                <a:gd name="connsiteX9" fmla="*/ 206550 w 451350"/>
                <a:gd name="connsiteY9" fmla="*/ 106463 h 520838"/>
                <a:gd name="connsiteX10" fmla="*/ 129413 w 451350"/>
                <a:gd name="connsiteY10" fmla="*/ 96900 h 520838"/>
                <a:gd name="connsiteX11" fmla="*/ 129413 w 451350"/>
                <a:gd name="connsiteY11" fmla="*/ 96900 h 520838"/>
                <a:gd name="connsiteX12" fmla="*/ 88612 w 451350"/>
                <a:gd name="connsiteY12" fmla="*/ 107738 h 520838"/>
                <a:gd name="connsiteX13" fmla="*/ 48450 w 451350"/>
                <a:gd name="connsiteY13" fmla="*/ 117938 h 520838"/>
                <a:gd name="connsiteX14" fmla="*/ 6375 w 451350"/>
                <a:gd name="connsiteY14" fmla="*/ 127500 h 520838"/>
                <a:gd name="connsiteX15" fmla="*/ 0 w 451350"/>
                <a:gd name="connsiteY15" fmla="*/ 129413 h 520838"/>
                <a:gd name="connsiteX16" fmla="*/ 1912 w 451350"/>
                <a:gd name="connsiteY16" fmla="*/ 140250 h 520838"/>
                <a:gd name="connsiteX17" fmla="*/ 19125 w 451350"/>
                <a:gd name="connsiteY17" fmla="*/ 237788 h 520838"/>
                <a:gd name="connsiteX18" fmla="*/ 57375 w 451350"/>
                <a:gd name="connsiteY18" fmla="*/ 465376 h 520838"/>
                <a:gd name="connsiteX19" fmla="*/ 58650 w 451350"/>
                <a:gd name="connsiteY19" fmla="*/ 476851 h 520838"/>
                <a:gd name="connsiteX20" fmla="*/ 63750 w 451350"/>
                <a:gd name="connsiteY20" fmla="*/ 471751 h 520838"/>
                <a:gd name="connsiteX21" fmla="*/ 95625 w 451350"/>
                <a:gd name="connsiteY21" fmla="*/ 467926 h 520838"/>
                <a:gd name="connsiteX22" fmla="*/ 112200 w 451350"/>
                <a:gd name="connsiteY22" fmla="*/ 476214 h 520838"/>
                <a:gd name="connsiteX23" fmla="*/ 145350 w 451350"/>
                <a:gd name="connsiteY23" fmla="*/ 504901 h 520838"/>
                <a:gd name="connsiteX24" fmla="*/ 154913 w 451350"/>
                <a:gd name="connsiteY24" fmla="*/ 501076 h 520838"/>
                <a:gd name="connsiteX25" fmla="*/ 189338 w 451350"/>
                <a:gd name="connsiteY25" fmla="*/ 516376 h 520838"/>
                <a:gd name="connsiteX26" fmla="*/ 205913 w 451350"/>
                <a:gd name="connsiteY26" fmla="*/ 503626 h 520838"/>
                <a:gd name="connsiteX27" fmla="*/ 225038 w 451350"/>
                <a:gd name="connsiteY27" fmla="*/ 511276 h 520838"/>
                <a:gd name="connsiteX28" fmla="*/ 240338 w 451350"/>
                <a:gd name="connsiteY28" fmla="*/ 507451 h 520838"/>
                <a:gd name="connsiteX29" fmla="*/ 264563 w 451350"/>
                <a:gd name="connsiteY29" fmla="*/ 483864 h 520838"/>
                <a:gd name="connsiteX30" fmla="*/ 276675 w 451350"/>
                <a:gd name="connsiteY30" fmla="*/ 504264 h 520838"/>
                <a:gd name="connsiteX31" fmla="*/ 304088 w 451350"/>
                <a:gd name="connsiteY31" fmla="*/ 519564 h 520838"/>
                <a:gd name="connsiteX32" fmla="*/ 305363 w 451350"/>
                <a:gd name="connsiteY32" fmla="*/ 520839 h 520838"/>
                <a:gd name="connsiteX33" fmla="*/ 305363 w 451350"/>
                <a:gd name="connsiteY33" fmla="*/ 520839 h 520838"/>
                <a:gd name="connsiteX34" fmla="*/ 333413 w 451350"/>
                <a:gd name="connsiteY34" fmla="*/ 507451 h 520838"/>
                <a:gd name="connsiteX35" fmla="*/ 343613 w 451350"/>
                <a:gd name="connsiteY35" fmla="*/ 486414 h 520838"/>
                <a:gd name="connsiteX36" fmla="*/ 335963 w 451350"/>
                <a:gd name="connsiteY36" fmla="*/ 464739 h 520838"/>
                <a:gd name="connsiteX37" fmla="*/ 357638 w 451350"/>
                <a:gd name="connsiteY37" fmla="*/ 431588 h 520838"/>
                <a:gd name="connsiteX38" fmla="*/ 373576 w 451350"/>
                <a:gd name="connsiteY38" fmla="*/ 429038 h 520838"/>
                <a:gd name="connsiteX39" fmla="*/ 371663 w 451350"/>
                <a:gd name="connsiteY39" fmla="*/ 400351 h 520838"/>
                <a:gd name="connsiteX40" fmla="*/ 398438 w 451350"/>
                <a:gd name="connsiteY40" fmla="*/ 364651 h 520838"/>
                <a:gd name="connsiteX41" fmla="*/ 402901 w 451350"/>
                <a:gd name="connsiteY41" fmla="*/ 369751 h 520838"/>
                <a:gd name="connsiteX42" fmla="*/ 426488 w 451350"/>
                <a:gd name="connsiteY42" fmla="*/ 351901 h 520838"/>
                <a:gd name="connsiteX43" fmla="*/ 446888 w 451350"/>
                <a:gd name="connsiteY43" fmla="*/ 320663 h 520838"/>
                <a:gd name="connsiteX44" fmla="*/ 450076 w 451350"/>
                <a:gd name="connsiteY44" fmla="*/ 179775 h 520838"/>
                <a:gd name="connsiteX45" fmla="*/ 451351 w 451350"/>
                <a:gd name="connsiteY45" fmla="*/ 179138 h 520838"/>
                <a:gd name="connsiteX46" fmla="*/ 445613 w 451350"/>
                <a:gd name="connsiteY46" fmla="*/ 162563 h 520838"/>
                <a:gd name="connsiteX47" fmla="*/ 445613 w 451350"/>
                <a:gd name="connsiteY47" fmla="*/ 162563 h 52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1350" h="520838">
                  <a:moveTo>
                    <a:pt x="445613" y="162563"/>
                  </a:moveTo>
                  <a:lnTo>
                    <a:pt x="429676" y="93075"/>
                  </a:lnTo>
                  <a:lnTo>
                    <a:pt x="426488" y="79050"/>
                  </a:lnTo>
                  <a:lnTo>
                    <a:pt x="408638" y="0"/>
                  </a:lnTo>
                  <a:lnTo>
                    <a:pt x="385688" y="14663"/>
                  </a:lnTo>
                  <a:lnTo>
                    <a:pt x="335963" y="52275"/>
                  </a:lnTo>
                  <a:lnTo>
                    <a:pt x="303450" y="91163"/>
                  </a:lnTo>
                  <a:lnTo>
                    <a:pt x="278588" y="94988"/>
                  </a:lnTo>
                  <a:lnTo>
                    <a:pt x="232050" y="121763"/>
                  </a:lnTo>
                  <a:lnTo>
                    <a:pt x="206550" y="106463"/>
                  </a:lnTo>
                  <a:lnTo>
                    <a:pt x="129413" y="96900"/>
                  </a:lnTo>
                  <a:lnTo>
                    <a:pt x="129413" y="96900"/>
                  </a:lnTo>
                  <a:lnTo>
                    <a:pt x="88612" y="107738"/>
                  </a:lnTo>
                  <a:lnTo>
                    <a:pt x="48450" y="117938"/>
                  </a:lnTo>
                  <a:lnTo>
                    <a:pt x="6375" y="127500"/>
                  </a:lnTo>
                  <a:lnTo>
                    <a:pt x="0" y="129413"/>
                  </a:lnTo>
                  <a:lnTo>
                    <a:pt x="1912" y="140250"/>
                  </a:lnTo>
                  <a:lnTo>
                    <a:pt x="19125" y="237788"/>
                  </a:lnTo>
                  <a:lnTo>
                    <a:pt x="57375" y="465376"/>
                  </a:lnTo>
                  <a:lnTo>
                    <a:pt x="58650" y="476851"/>
                  </a:lnTo>
                  <a:lnTo>
                    <a:pt x="63750" y="471751"/>
                  </a:lnTo>
                  <a:lnTo>
                    <a:pt x="95625" y="467926"/>
                  </a:lnTo>
                  <a:lnTo>
                    <a:pt x="112200" y="476214"/>
                  </a:lnTo>
                  <a:lnTo>
                    <a:pt x="145350" y="504901"/>
                  </a:lnTo>
                  <a:lnTo>
                    <a:pt x="154913" y="501076"/>
                  </a:lnTo>
                  <a:lnTo>
                    <a:pt x="189338" y="516376"/>
                  </a:lnTo>
                  <a:lnTo>
                    <a:pt x="205913" y="503626"/>
                  </a:lnTo>
                  <a:lnTo>
                    <a:pt x="225038" y="511276"/>
                  </a:lnTo>
                  <a:lnTo>
                    <a:pt x="240338" y="507451"/>
                  </a:lnTo>
                  <a:lnTo>
                    <a:pt x="264563" y="483864"/>
                  </a:lnTo>
                  <a:lnTo>
                    <a:pt x="276675" y="504264"/>
                  </a:lnTo>
                  <a:lnTo>
                    <a:pt x="304088" y="519564"/>
                  </a:lnTo>
                  <a:lnTo>
                    <a:pt x="305363" y="520839"/>
                  </a:lnTo>
                  <a:lnTo>
                    <a:pt x="305363" y="520839"/>
                  </a:lnTo>
                  <a:lnTo>
                    <a:pt x="333413" y="507451"/>
                  </a:lnTo>
                  <a:lnTo>
                    <a:pt x="343613" y="486414"/>
                  </a:lnTo>
                  <a:lnTo>
                    <a:pt x="335963" y="464739"/>
                  </a:lnTo>
                  <a:lnTo>
                    <a:pt x="357638" y="431588"/>
                  </a:lnTo>
                  <a:lnTo>
                    <a:pt x="373576" y="429038"/>
                  </a:lnTo>
                  <a:lnTo>
                    <a:pt x="371663" y="400351"/>
                  </a:lnTo>
                  <a:lnTo>
                    <a:pt x="398438" y="364651"/>
                  </a:lnTo>
                  <a:lnTo>
                    <a:pt x="402901" y="369751"/>
                  </a:lnTo>
                  <a:lnTo>
                    <a:pt x="426488" y="351901"/>
                  </a:lnTo>
                  <a:lnTo>
                    <a:pt x="446888" y="320663"/>
                  </a:lnTo>
                  <a:lnTo>
                    <a:pt x="450076" y="179775"/>
                  </a:lnTo>
                  <a:lnTo>
                    <a:pt x="451351" y="179138"/>
                  </a:lnTo>
                  <a:lnTo>
                    <a:pt x="445613" y="162563"/>
                  </a:lnTo>
                  <a:lnTo>
                    <a:pt x="445613" y="1625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5" name="Freeform 56">
              <a:extLst>
                <a:ext uri="{FF2B5EF4-FFF2-40B4-BE49-F238E27FC236}">
                  <a16:creationId xmlns:a16="http://schemas.microsoft.com/office/drawing/2014/main" id="{75276FFB-55A7-F791-2574-E0B8EE54A19E}"/>
                </a:ext>
              </a:extLst>
            </p:cNvPr>
            <p:cNvSpPr/>
            <p:nvPr/>
          </p:nvSpPr>
          <p:spPr>
            <a:xfrm>
              <a:off x="5428516" y="2800524"/>
              <a:ext cx="897602" cy="372300"/>
            </a:xfrm>
            <a:custGeom>
              <a:avLst/>
              <a:gdLst>
                <a:gd name="connsiteX0" fmla="*/ 682764 w 897602"/>
                <a:gd name="connsiteY0" fmla="*/ 49087 h 372300"/>
                <a:gd name="connsiteX1" fmla="*/ 498526 w 897602"/>
                <a:gd name="connsiteY1" fmla="*/ 80325 h 372300"/>
                <a:gd name="connsiteX2" fmla="*/ 237151 w 897602"/>
                <a:gd name="connsiteY2" fmla="*/ 114750 h 372300"/>
                <a:gd name="connsiteX3" fmla="*/ 215476 w 897602"/>
                <a:gd name="connsiteY3" fmla="*/ 115388 h 372300"/>
                <a:gd name="connsiteX4" fmla="*/ 221851 w 897602"/>
                <a:gd name="connsiteY4" fmla="*/ 140888 h 372300"/>
                <a:gd name="connsiteX5" fmla="*/ 92438 w 897602"/>
                <a:gd name="connsiteY5" fmla="*/ 158100 h 372300"/>
                <a:gd name="connsiteX6" fmla="*/ 73950 w 897602"/>
                <a:gd name="connsiteY6" fmla="*/ 160650 h 372300"/>
                <a:gd name="connsiteX7" fmla="*/ 73950 w 897602"/>
                <a:gd name="connsiteY7" fmla="*/ 161288 h 372300"/>
                <a:gd name="connsiteX8" fmla="*/ 68850 w 897602"/>
                <a:gd name="connsiteY8" fmla="*/ 167663 h 372300"/>
                <a:gd name="connsiteX9" fmla="*/ 66300 w 897602"/>
                <a:gd name="connsiteY9" fmla="*/ 167025 h 372300"/>
                <a:gd name="connsiteX10" fmla="*/ 66300 w 897602"/>
                <a:gd name="connsiteY10" fmla="*/ 161925 h 372300"/>
                <a:gd name="connsiteX11" fmla="*/ 66300 w 897602"/>
                <a:gd name="connsiteY11" fmla="*/ 161288 h 372300"/>
                <a:gd name="connsiteX12" fmla="*/ 59288 w 897602"/>
                <a:gd name="connsiteY12" fmla="*/ 161925 h 372300"/>
                <a:gd name="connsiteX13" fmla="*/ 59925 w 897602"/>
                <a:gd name="connsiteY13" fmla="*/ 162563 h 372300"/>
                <a:gd name="connsiteX14" fmla="*/ 63750 w 897602"/>
                <a:gd name="connsiteY14" fmla="*/ 180413 h 372300"/>
                <a:gd name="connsiteX15" fmla="*/ 51000 w 897602"/>
                <a:gd name="connsiteY15" fmla="*/ 196351 h 372300"/>
                <a:gd name="connsiteX16" fmla="*/ 49725 w 897602"/>
                <a:gd name="connsiteY16" fmla="*/ 226313 h 372300"/>
                <a:gd name="connsiteX17" fmla="*/ 49725 w 897602"/>
                <a:gd name="connsiteY17" fmla="*/ 231413 h 372300"/>
                <a:gd name="connsiteX18" fmla="*/ 49725 w 897602"/>
                <a:gd name="connsiteY18" fmla="*/ 232050 h 372300"/>
                <a:gd name="connsiteX19" fmla="*/ 30600 w 897602"/>
                <a:gd name="connsiteY19" fmla="*/ 269025 h 372300"/>
                <a:gd name="connsiteX20" fmla="*/ 34425 w 897602"/>
                <a:gd name="connsiteY20" fmla="*/ 295801 h 372300"/>
                <a:gd name="connsiteX21" fmla="*/ 16575 w 897602"/>
                <a:gd name="connsiteY21" fmla="*/ 324488 h 372300"/>
                <a:gd name="connsiteX22" fmla="*/ 22950 w 897602"/>
                <a:gd name="connsiteY22" fmla="*/ 349988 h 372300"/>
                <a:gd name="connsiteX23" fmla="*/ 0 w 897602"/>
                <a:gd name="connsiteY23" fmla="*/ 371026 h 372300"/>
                <a:gd name="connsiteX24" fmla="*/ 1275 w 897602"/>
                <a:gd name="connsiteY24" fmla="*/ 372301 h 372300"/>
                <a:gd name="connsiteX25" fmla="*/ 15300 w 897602"/>
                <a:gd name="connsiteY25" fmla="*/ 371026 h 372300"/>
                <a:gd name="connsiteX26" fmla="*/ 143438 w 897602"/>
                <a:gd name="connsiteY26" fmla="*/ 355088 h 372300"/>
                <a:gd name="connsiteX27" fmla="*/ 199538 w 897602"/>
                <a:gd name="connsiteY27" fmla="*/ 347438 h 372300"/>
                <a:gd name="connsiteX28" fmla="*/ 232051 w 897602"/>
                <a:gd name="connsiteY28" fmla="*/ 342976 h 372300"/>
                <a:gd name="connsiteX29" fmla="*/ 233326 w 897602"/>
                <a:gd name="connsiteY29" fmla="*/ 342976 h 372300"/>
                <a:gd name="connsiteX30" fmla="*/ 232688 w 897602"/>
                <a:gd name="connsiteY30" fmla="*/ 341701 h 372300"/>
                <a:gd name="connsiteX31" fmla="*/ 340426 w 897602"/>
                <a:gd name="connsiteY31" fmla="*/ 327038 h 372300"/>
                <a:gd name="connsiteX32" fmla="*/ 392063 w 897602"/>
                <a:gd name="connsiteY32" fmla="*/ 320663 h 372300"/>
                <a:gd name="connsiteX33" fmla="*/ 494701 w 897602"/>
                <a:gd name="connsiteY33" fmla="*/ 304088 h 372300"/>
                <a:gd name="connsiteX34" fmla="*/ 513826 w 897602"/>
                <a:gd name="connsiteY34" fmla="*/ 300900 h 372300"/>
                <a:gd name="connsiteX35" fmla="*/ 525301 w 897602"/>
                <a:gd name="connsiteY35" fmla="*/ 299625 h 372300"/>
                <a:gd name="connsiteX36" fmla="*/ 580126 w 897602"/>
                <a:gd name="connsiteY36" fmla="*/ 288788 h 372300"/>
                <a:gd name="connsiteX37" fmla="*/ 593514 w 897602"/>
                <a:gd name="connsiteY37" fmla="*/ 286238 h 372300"/>
                <a:gd name="connsiteX38" fmla="*/ 643876 w 897602"/>
                <a:gd name="connsiteY38" fmla="*/ 276038 h 372300"/>
                <a:gd name="connsiteX39" fmla="*/ 653439 w 897602"/>
                <a:gd name="connsiteY39" fmla="*/ 274763 h 372300"/>
                <a:gd name="connsiteX40" fmla="*/ 653439 w 897602"/>
                <a:gd name="connsiteY40" fmla="*/ 268388 h 372300"/>
                <a:gd name="connsiteX41" fmla="*/ 652801 w 897602"/>
                <a:gd name="connsiteY41" fmla="*/ 239701 h 372300"/>
                <a:gd name="connsiteX42" fmla="*/ 676389 w 897602"/>
                <a:gd name="connsiteY42" fmla="*/ 226951 h 372300"/>
                <a:gd name="connsiteX43" fmla="*/ 677664 w 897602"/>
                <a:gd name="connsiteY43" fmla="*/ 210375 h 372300"/>
                <a:gd name="connsiteX44" fmla="*/ 705077 w 897602"/>
                <a:gd name="connsiteY44" fmla="*/ 185513 h 372300"/>
                <a:gd name="connsiteX45" fmla="*/ 730577 w 897602"/>
                <a:gd name="connsiteY45" fmla="*/ 179138 h 372300"/>
                <a:gd name="connsiteX46" fmla="*/ 783489 w 897602"/>
                <a:gd name="connsiteY46" fmla="*/ 131325 h 372300"/>
                <a:gd name="connsiteX47" fmla="*/ 803252 w 897602"/>
                <a:gd name="connsiteY47" fmla="*/ 101363 h 372300"/>
                <a:gd name="connsiteX48" fmla="*/ 818552 w 897602"/>
                <a:gd name="connsiteY48" fmla="*/ 107100 h 372300"/>
                <a:gd name="connsiteX49" fmla="*/ 852977 w 897602"/>
                <a:gd name="connsiteY49" fmla="*/ 73312 h 372300"/>
                <a:gd name="connsiteX50" fmla="*/ 871464 w 897602"/>
                <a:gd name="connsiteY50" fmla="*/ 71400 h 372300"/>
                <a:gd name="connsiteX51" fmla="*/ 888040 w 897602"/>
                <a:gd name="connsiteY51" fmla="*/ 37613 h 372300"/>
                <a:gd name="connsiteX52" fmla="*/ 895052 w 897602"/>
                <a:gd name="connsiteY52" fmla="*/ 38250 h 372300"/>
                <a:gd name="connsiteX53" fmla="*/ 894415 w 897602"/>
                <a:gd name="connsiteY53" fmla="*/ 10200 h 372300"/>
                <a:gd name="connsiteX54" fmla="*/ 897602 w 897602"/>
                <a:gd name="connsiteY54" fmla="*/ 0 h 372300"/>
                <a:gd name="connsiteX55" fmla="*/ 886765 w 897602"/>
                <a:gd name="connsiteY55" fmla="*/ 1912 h 372300"/>
                <a:gd name="connsiteX56" fmla="*/ 850427 w 897602"/>
                <a:gd name="connsiteY56" fmla="*/ 12750 h 372300"/>
                <a:gd name="connsiteX57" fmla="*/ 806439 w 897602"/>
                <a:gd name="connsiteY57" fmla="*/ 22313 h 372300"/>
                <a:gd name="connsiteX58" fmla="*/ 696789 w 897602"/>
                <a:gd name="connsiteY58" fmla="*/ 44625 h 372300"/>
                <a:gd name="connsiteX59" fmla="*/ 685314 w 897602"/>
                <a:gd name="connsiteY59" fmla="*/ 46538 h 372300"/>
                <a:gd name="connsiteX60" fmla="*/ 682764 w 897602"/>
                <a:gd name="connsiteY60" fmla="*/ 49087 h 372300"/>
                <a:gd name="connsiteX61" fmla="*/ 682764 w 897602"/>
                <a:gd name="connsiteY61" fmla="*/ 49087 h 37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7602" h="372300">
                  <a:moveTo>
                    <a:pt x="682764" y="49087"/>
                  </a:moveTo>
                  <a:lnTo>
                    <a:pt x="498526" y="80325"/>
                  </a:lnTo>
                  <a:lnTo>
                    <a:pt x="237151" y="114750"/>
                  </a:lnTo>
                  <a:lnTo>
                    <a:pt x="215476" y="115388"/>
                  </a:lnTo>
                  <a:lnTo>
                    <a:pt x="221851" y="140888"/>
                  </a:lnTo>
                  <a:lnTo>
                    <a:pt x="92438" y="158100"/>
                  </a:lnTo>
                  <a:lnTo>
                    <a:pt x="73950" y="160650"/>
                  </a:lnTo>
                  <a:lnTo>
                    <a:pt x="73950" y="161288"/>
                  </a:lnTo>
                  <a:lnTo>
                    <a:pt x="68850" y="167663"/>
                  </a:lnTo>
                  <a:lnTo>
                    <a:pt x="66300" y="167025"/>
                  </a:lnTo>
                  <a:lnTo>
                    <a:pt x="66300" y="161925"/>
                  </a:lnTo>
                  <a:lnTo>
                    <a:pt x="66300" y="161288"/>
                  </a:lnTo>
                  <a:lnTo>
                    <a:pt x="59288" y="161925"/>
                  </a:lnTo>
                  <a:lnTo>
                    <a:pt x="59925" y="162563"/>
                  </a:lnTo>
                  <a:lnTo>
                    <a:pt x="63750" y="180413"/>
                  </a:lnTo>
                  <a:lnTo>
                    <a:pt x="51000" y="196351"/>
                  </a:lnTo>
                  <a:lnTo>
                    <a:pt x="49725" y="226313"/>
                  </a:lnTo>
                  <a:lnTo>
                    <a:pt x="49725" y="231413"/>
                  </a:lnTo>
                  <a:lnTo>
                    <a:pt x="49725" y="232050"/>
                  </a:lnTo>
                  <a:lnTo>
                    <a:pt x="30600" y="269025"/>
                  </a:lnTo>
                  <a:lnTo>
                    <a:pt x="34425" y="295801"/>
                  </a:lnTo>
                  <a:lnTo>
                    <a:pt x="16575" y="324488"/>
                  </a:lnTo>
                  <a:lnTo>
                    <a:pt x="22950" y="349988"/>
                  </a:lnTo>
                  <a:lnTo>
                    <a:pt x="0" y="371026"/>
                  </a:lnTo>
                  <a:lnTo>
                    <a:pt x="1275" y="372301"/>
                  </a:lnTo>
                  <a:lnTo>
                    <a:pt x="15300" y="371026"/>
                  </a:lnTo>
                  <a:lnTo>
                    <a:pt x="143438" y="355088"/>
                  </a:lnTo>
                  <a:lnTo>
                    <a:pt x="199538" y="347438"/>
                  </a:lnTo>
                  <a:lnTo>
                    <a:pt x="232051" y="342976"/>
                  </a:lnTo>
                  <a:lnTo>
                    <a:pt x="233326" y="342976"/>
                  </a:lnTo>
                  <a:lnTo>
                    <a:pt x="232688" y="341701"/>
                  </a:lnTo>
                  <a:lnTo>
                    <a:pt x="340426" y="327038"/>
                  </a:lnTo>
                  <a:lnTo>
                    <a:pt x="392063" y="320663"/>
                  </a:lnTo>
                  <a:lnTo>
                    <a:pt x="494701" y="304088"/>
                  </a:lnTo>
                  <a:lnTo>
                    <a:pt x="513826" y="300900"/>
                  </a:lnTo>
                  <a:lnTo>
                    <a:pt x="525301" y="299625"/>
                  </a:lnTo>
                  <a:lnTo>
                    <a:pt x="580126" y="288788"/>
                  </a:lnTo>
                  <a:lnTo>
                    <a:pt x="593514" y="286238"/>
                  </a:lnTo>
                  <a:lnTo>
                    <a:pt x="643876" y="276038"/>
                  </a:lnTo>
                  <a:lnTo>
                    <a:pt x="653439" y="274763"/>
                  </a:lnTo>
                  <a:lnTo>
                    <a:pt x="653439" y="268388"/>
                  </a:lnTo>
                  <a:lnTo>
                    <a:pt x="652801" y="239701"/>
                  </a:lnTo>
                  <a:lnTo>
                    <a:pt x="676389" y="226951"/>
                  </a:lnTo>
                  <a:lnTo>
                    <a:pt x="677664" y="210375"/>
                  </a:lnTo>
                  <a:lnTo>
                    <a:pt x="705077" y="185513"/>
                  </a:lnTo>
                  <a:lnTo>
                    <a:pt x="730577" y="179138"/>
                  </a:lnTo>
                  <a:lnTo>
                    <a:pt x="783489" y="131325"/>
                  </a:lnTo>
                  <a:lnTo>
                    <a:pt x="803252" y="101363"/>
                  </a:lnTo>
                  <a:lnTo>
                    <a:pt x="818552" y="107100"/>
                  </a:lnTo>
                  <a:lnTo>
                    <a:pt x="852977" y="73312"/>
                  </a:lnTo>
                  <a:lnTo>
                    <a:pt x="871464" y="71400"/>
                  </a:lnTo>
                  <a:lnTo>
                    <a:pt x="888040" y="37613"/>
                  </a:lnTo>
                  <a:lnTo>
                    <a:pt x="895052" y="38250"/>
                  </a:lnTo>
                  <a:lnTo>
                    <a:pt x="894415" y="10200"/>
                  </a:lnTo>
                  <a:lnTo>
                    <a:pt x="897602" y="0"/>
                  </a:lnTo>
                  <a:lnTo>
                    <a:pt x="886765" y="1912"/>
                  </a:lnTo>
                  <a:lnTo>
                    <a:pt x="850427" y="12750"/>
                  </a:lnTo>
                  <a:lnTo>
                    <a:pt x="806439" y="22313"/>
                  </a:lnTo>
                  <a:lnTo>
                    <a:pt x="696789" y="44625"/>
                  </a:lnTo>
                  <a:lnTo>
                    <a:pt x="685314" y="46538"/>
                  </a:lnTo>
                  <a:lnTo>
                    <a:pt x="682764" y="49087"/>
                  </a:lnTo>
                  <a:lnTo>
                    <a:pt x="682764" y="49087"/>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56" name="Freeform 57">
              <a:extLst>
                <a:ext uri="{FF2B5EF4-FFF2-40B4-BE49-F238E27FC236}">
                  <a16:creationId xmlns:a16="http://schemas.microsoft.com/office/drawing/2014/main" id="{60D5F032-556E-676E-A0D8-09D0AD1EC7FF}"/>
                </a:ext>
              </a:extLst>
            </p:cNvPr>
            <p:cNvSpPr/>
            <p:nvPr/>
          </p:nvSpPr>
          <p:spPr>
            <a:xfrm>
              <a:off x="6113192" y="2341524"/>
              <a:ext cx="826201" cy="505538"/>
            </a:xfrm>
            <a:custGeom>
              <a:avLst/>
              <a:gdLst>
                <a:gd name="connsiteX0" fmla="*/ 808352 w 826201"/>
                <a:gd name="connsiteY0" fmla="*/ 313013 h 505538"/>
                <a:gd name="connsiteX1" fmla="*/ 810264 w 826201"/>
                <a:gd name="connsiteY1" fmla="*/ 313013 h 505538"/>
                <a:gd name="connsiteX2" fmla="*/ 812177 w 826201"/>
                <a:gd name="connsiteY2" fmla="*/ 312376 h 505538"/>
                <a:gd name="connsiteX3" fmla="*/ 812177 w 826201"/>
                <a:gd name="connsiteY3" fmla="*/ 312376 h 505538"/>
                <a:gd name="connsiteX4" fmla="*/ 810902 w 826201"/>
                <a:gd name="connsiteY4" fmla="*/ 309188 h 505538"/>
                <a:gd name="connsiteX5" fmla="*/ 808352 w 826201"/>
                <a:gd name="connsiteY5" fmla="*/ 313013 h 505538"/>
                <a:gd name="connsiteX6" fmla="*/ 808352 w 826201"/>
                <a:gd name="connsiteY6" fmla="*/ 313013 h 505538"/>
                <a:gd name="connsiteX7" fmla="*/ 808352 w 826201"/>
                <a:gd name="connsiteY7" fmla="*/ 313013 h 505538"/>
                <a:gd name="connsiteX8" fmla="*/ 786677 w 826201"/>
                <a:gd name="connsiteY8" fmla="*/ 240975 h 505538"/>
                <a:gd name="connsiteX9" fmla="*/ 786677 w 826201"/>
                <a:gd name="connsiteY9" fmla="*/ 244163 h 505538"/>
                <a:gd name="connsiteX10" fmla="*/ 789864 w 826201"/>
                <a:gd name="connsiteY10" fmla="*/ 242250 h 505538"/>
                <a:gd name="connsiteX11" fmla="*/ 786677 w 826201"/>
                <a:gd name="connsiteY11" fmla="*/ 240975 h 505538"/>
                <a:gd name="connsiteX12" fmla="*/ 798152 w 826201"/>
                <a:gd name="connsiteY12" fmla="*/ 218025 h 505538"/>
                <a:gd name="connsiteX13" fmla="*/ 797514 w 826201"/>
                <a:gd name="connsiteY13" fmla="*/ 212925 h 505538"/>
                <a:gd name="connsiteX14" fmla="*/ 797514 w 826201"/>
                <a:gd name="connsiteY14" fmla="*/ 212925 h 505538"/>
                <a:gd name="connsiteX15" fmla="*/ 798152 w 826201"/>
                <a:gd name="connsiteY15" fmla="*/ 218025 h 505538"/>
                <a:gd name="connsiteX16" fmla="*/ 793689 w 826201"/>
                <a:gd name="connsiteY16" fmla="*/ 226313 h 505538"/>
                <a:gd name="connsiteX17" fmla="*/ 792414 w 826201"/>
                <a:gd name="connsiteY17" fmla="*/ 234600 h 505538"/>
                <a:gd name="connsiteX18" fmla="*/ 790502 w 826201"/>
                <a:gd name="connsiteY18" fmla="*/ 237788 h 505538"/>
                <a:gd name="connsiteX19" fmla="*/ 793689 w 826201"/>
                <a:gd name="connsiteY19" fmla="*/ 226313 h 505538"/>
                <a:gd name="connsiteX20" fmla="*/ 793689 w 826201"/>
                <a:gd name="connsiteY20" fmla="*/ 226313 h 505538"/>
                <a:gd name="connsiteX21" fmla="*/ 800064 w 826201"/>
                <a:gd name="connsiteY21" fmla="*/ 209738 h 505538"/>
                <a:gd name="connsiteX22" fmla="*/ 800701 w 826201"/>
                <a:gd name="connsiteY22" fmla="*/ 205913 h 505538"/>
                <a:gd name="connsiteX23" fmla="*/ 800064 w 826201"/>
                <a:gd name="connsiteY23" fmla="*/ 209738 h 505538"/>
                <a:gd name="connsiteX24" fmla="*/ 800064 w 826201"/>
                <a:gd name="connsiteY24" fmla="*/ 209738 h 505538"/>
                <a:gd name="connsiteX25" fmla="*/ 800064 w 826201"/>
                <a:gd name="connsiteY25" fmla="*/ 209738 h 505538"/>
                <a:gd name="connsiteX26" fmla="*/ 803889 w 826201"/>
                <a:gd name="connsiteY26" fmla="*/ 191888 h 505538"/>
                <a:gd name="connsiteX27" fmla="*/ 805802 w 826201"/>
                <a:gd name="connsiteY27" fmla="*/ 187425 h 505538"/>
                <a:gd name="connsiteX28" fmla="*/ 802614 w 826201"/>
                <a:gd name="connsiteY28" fmla="*/ 198900 h 505538"/>
                <a:gd name="connsiteX29" fmla="*/ 803889 w 826201"/>
                <a:gd name="connsiteY29" fmla="*/ 191888 h 505538"/>
                <a:gd name="connsiteX30" fmla="*/ 804527 w 826201"/>
                <a:gd name="connsiteY30" fmla="*/ 182325 h 505538"/>
                <a:gd name="connsiteX31" fmla="*/ 807076 w 826201"/>
                <a:gd name="connsiteY31" fmla="*/ 168300 h 505538"/>
                <a:gd name="connsiteX32" fmla="*/ 803889 w 826201"/>
                <a:gd name="connsiteY32" fmla="*/ 171488 h 505538"/>
                <a:gd name="connsiteX33" fmla="*/ 804527 w 826201"/>
                <a:gd name="connsiteY33" fmla="*/ 182325 h 505538"/>
                <a:gd name="connsiteX34" fmla="*/ 804527 w 826201"/>
                <a:gd name="connsiteY34" fmla="*/ 182325 h 505538"/>
                <a:gd name="connsiteX35" fmla="*/ 816002 w 826201"/>
                <a:gd name="connsiteY35" fmla="*/ 119213 h 505538"/>
                <a:gd name="connsiteX36" fmla="*/ 817277 w 826201"/>
                <a:gd name="connsiteY36" fmla="*/ 113475 h 505538"/>
                <a:gd name="connsiteX37" fmla="*/ 816639 w 826201"/>
                <a:gd name="connsiteY37" fmla="*/ 114750 h 505538"/>
                <a:gd name="connsiteX38" fmla="*/ 816002 w 826201"/>
                <a:gd name="connsiteY38" fmla="*/ 119213 h 505538"/>
                <a:gd name="connsiteX39" fmla="*/ 816002 w 826201"/>
                <a:gd name="connsiteY39" fmla="*/ 119213 h 505538"/>
                <a:gd name="connsiteX40" fmla="*/ 813452 w 826201"/>
                <a:gd name="connsiteY40" fmla="*/ 103913 h 505538"/>
                <a:gd name="connsiteX41" fmla="*/ 805164 w 826201"/>
                <a:gd name="connsiteY41" fmla="*/ 107100 h 505538"/>
                <a:gd name="connsiteX42" fmla="*/ 792414 w 826201"/>
                <a:gd name="connsiteY42" fmla="*/ 112838 h 505538"/>
                <a:gd name="connsiteX43" fmla="*/ 787951 w 826201"/>
                <a:gd name="connsiteY43" fmla="*/ 118575 h 505538"/>
                <a:gd name="connsiteX44" fmla="*/ 789864 w 826201"/>
                <a:gd name="connsiteY44" fmla="*/ 119213 h 505538"/>
                <a:gd name="connsiteX45" fmla="*/ 774564 w 826201"/>
                <a:gd name="connsiteY45" fmla="*/ 215475 h 505538"/>
                <a:gd name="connsiteX46" fmla="*/ 780302 w 826201"/>
                <a:gd name="connsiteY46" fmla="*/ 230775 h 505538"/>
                <a:gd name="connsiteX47" fmla="*/ 789864 w 826201"/>
                <a:gd name="connsiteY47" fmla="*/ 191250 h 505538"/>
                <a:gd name="connsiteX48" fmla="*/ 806439 w 826201"/>
                <a:gd name="connsiteY48" fmla="*/ 138975 h 505538"/>
                <a:gd name="connsiteX49" fmla="*/ 813452 w 826201"/>
                <a:gd name="connsiteY49" fmla="*/ 103913 h 505538"/>
                <a:gd name="connsiteX50" fmla="*/ 813452 w 826201"/>
                <a:gd name="connsiteY50" fmla="*/ 103913 h 505538"/>
                <a:gd name="connsiteX51" fmla="*/ 813452 w 826201"/>
                <a:gd name="connsiteY51" fmla="*/ 103913 h 505538"/>
                <a:gd name="connsiteX52" fmla="*/ 826202 w 826201"/>
                <a:gd name="connsiteY52" fmla="*/ 98813 h 505538"/>
                <a:gd name="connsiteX53" fmla="*/ 824289 w 826201"/>
                <a:gd name="connsiteY53" fmla="*/ 99450 h 505538"/>
                <a:gd name="connsiteX54" fmla="*/ 823652 w 826201"/>
                <a:gd name="connsiteY54" fmla="*/ 102000 h 505538"/>
                <a:gd name="connsiteX55" fmla="*/ 820464 w 826201"/>
                <a:gd name="connsiteY55" fmla="*/ 121763 h 505538"/>
                <a:gd name="connsiteX56" fmla="*/ 823014 w 826201"/>
                <a:gd name="connsiteY56" fmla="*/ 114750 h 505538"/>
                <a:gd name="connsiteX57" fmla="*/ 826202 w 826201"/>
                <a:gd name="connsiteY57" fmla="*/ 98813 h 505538"/>
                <a:gd name="connsiteX58" fmla="*/ 826202 w 826201"/>
                <a:gd name="connsiteY58" fmla="*/ 98813 h 505538"/>
                <a:gd name="connsiteX59" fmla="*/ 154913 w 826201"/>
                <a:gd name="connsiteY59" fmla="*/ 344888 h 505538"/>
                <a:gd name="connsiteX60" fmla="*/ 150450 w 826201"/>
                <a:gd name="connsiteY60" fmla="*/ 351263 h 505538"/>
                <a:gd name="connsiteX61" fmla="*/ 119213 w 826201"/>
                <a:gd name="connsiteY61" fmla="*/ 390151 h 505538"/>
                <a:gd name="connsiteX62" fmla="*/ 94988 w 826201"/>
                <a:gd name="connsiteY62" fmla="*/ 409276 h 505538"/>
                <a:gd name="connsiteX63" fmla="*/ 89888 w 826201"/>
                <a:gd name="connsiteY63" fmla="*/ 425851 h 505538"/>
                <a:gd name="connsiteX64" fmla="*/ 52913 w 826201"/>
                <a:gd name="connsiteY64" fmla="*/ 474938 h 505538"/>
                <a:gd name="connsiteX65" fmla="*/ 4463 w 826201"/>
                <a:gd name="connsiteY65" fmla="*/ 500439 h 505538"/>
                <a:gd name="connsiteX66" fmla="*/ 0 w 826201"/>
                <a:gd name="connsiteY66" fmla="*/ 505538 h 505538"/>
                <a:gd name="connsiteX67" fmla="*/ 11475 w 826201"/>
                <a:gd name="connsiteY67" fmla="*/ 503626 h 505538"/>
                <a:gd name="connsiteX68" fmla="*/ 121125 w 826201"/>
                <a:gd name="connsiteY68" fmla="*/ 481313 h 505538"/>
                <a:gd name="connsiteX69" fmla="*/ 165113 w 826201"/>
                <a:gd name="connsiteY69" fmla="*/ 471751 h 505538"/>
                <a:gd name="connsiteX70" fmla="*/ 201450 w 826201"/>
                <a:gd name="connsiteY70" fmla="*/ 460913 h 505538"/>
                <a:gd name="connsiteX71" fmla="*/ 212288 w 826201"/>
                <a:gd name="connsiteY71" fmla="*/ 459001 h 505538"/>
                <a:gd name="connsiteX72" fmla="*/ 212926 w 826201"/>
                <a:gd name="connsiteY72" fmla="*/ 460276 h 505538"/>
                <a:gd name="connsiteX73" fmla="*/ 378676 w 826201"/>
                <a:gd name="connsiteY73" fmla="*/ 429038 h 505538"/>
                <a:gd name="connsiteX74" fmla="*/ 542513 w 826201"/>
                <a:gd name="connsiteY74" fmla="*/ 387601 h 505538"/>
                <a:gd name="connsiteX75" fmla="*/ 799427 w 826201"/>
                <a:gd name="connsiteY75" fmla="*/ 314288 h 505538"/>
                <a:gd name="connsiteX76" fmla="*/ 799427 w 826201"/>
                <a:gd name="connsiteY76" fmla="*/ 314288 h 505538"/>
                <a:gd name="connsiteX77" fmla="*/ 797514 w 826201"/>
                <a:gd name="connsiteY77" fmla="*/ 311101 h 505538"/>
                <a:gd name="connsiteX78" fmla="*/ 796877 w 826201"/>
                <a:gd name="connsiteY78" fmla="*/ 309188 h 505538"/>
                <a:gd name="connsiteX79" fmla="*/ 801339 w 826201"/>
                <a:gd name="connsiteY79" fmla="*/ 313651 h 505538"/>
                <a:gd name="connsiteX80" fmla="*/ 801339 w 826201"/>
                <a:gd name="connsiteY80" fmla="*/ 313651 h 505538"/>
                <a:gd name="connsiteX81" fmla="*/ 801339 w 826201"/>
                <a:gd name="connsiteY81" fmla="*/ 313651 h 505538"/>
                <a:gd name="connsiteX82" fmla="*/ 806439 w 826201"/>
                <a:gd name="connsiteY82" fmla="*/ 312376 h 505538"/>
                <a:gd name="connsiteX83" fmla="*/ 805802 w 826201"/>
                <a:gd name="connsiteY83" fmla="*/ 311738 h 505538"/>
                <a:gd name="connsiteX84" fmla="*/ 801339 w 826201"/>
                <a:gd name="connsiteY84" fmla="*/ 290063 h 505538"/>
                <a:gd name="connsiteX85" fmla="*/ 804527 w 826201"/>
                <a:gd name="connsiteY85" fmla="*/ 290701 h 505538"/>
                <a:gd name="connsiteX86" fmla="*/ 815364 w 826201"/>
                <a:gd name="connsiteY86" fmla="*/ 309826 h 505538"/>
                <a:gd name="connsiteX87" fmla="*/ 815364 w 826201"/>
                <a:gd name="connsiteY87" fmla="*/ 309826 h 505538"/>
                <a:gd name="connsiteX88" fmla="*/ 815364 w 826201"/>
                <a:gd name="connsiteY88" fmla="*/ 309826 h 505538"/>
                <a:gd name="connsiteX89" fmla="*/ 817277 w 826201"/>
                <a:gd name="connsiteY89" fmla="*/ 309188 h 505538"/>
                <a:gd name="connsiteX90" fmla="*/ 818552 w 826201"/>
                <a:gd name="connsiteY90" fmla="*/ 308551 h 505538"/>
                <a:gd name="connsiteX91" fmla="*/ 816002 w 826201"/>
                <a:gd name="connsiteY91" fmla="*/ 303451 h 505538"/>
                <a:gd name="connsiteX92" fmla="*/ 789227 w 826201"/>
                <a:gd name="connsiteY92" fmla="*/ 263288 h 505538"/>
                <a:gd name="connsiteX93" fmla="*/ 756076 w 826201"/>
                <a:gd name="connsiteY93" fmla="*/ 269025 h 505538"/>
                <a:gd name="connsiteX94" fmla="*/ 741414 w 826201"/>
                <a:gd name="connsiteY94" fmla="*/ 281138 h 505538"/>
                <a:gd name="connsiteX95" fmla="*/ 727389 w 826201"/>
                <a:gd name="connsiteY95" fmla="*/ 268388 h 505538"/>
                <a:gd name="connsiteX96" fmla="*/ 678939 w 826201"/>
                <a:gd name="connsiteY96" fmla="*/ 252451 h 505538"/>
                <a:gd name="connsiteX97" fmla="*/ 645789 w 826201"/>
                <a:gd name="connsiteY97" fmla="*/ 251175 h 505538"/>
                <a:gd name="connsiteX98" fmla="*/ 710814 w 826201"/>
                <a:gd name="connsiteY98" fmla="*/ 245438 h 505538"/>
                <a:gd name="connsiteX99" fmla="*/ 746514 w 826201"/>
                <a:gd name="connsiteY99" fmla="*/ 269663 h 505538"/>
                <a:gd name="connsiteX100" fmla="*/ 757351 w 826201"/>
                <a:gd name="connsiteY100" fmla="*/ 253725 h 505538"/>
                <a:gd name="connsiteX101" fmla="*/ 728027 w 826201"/>
                <a:gd name="connsiteY101" fmla="*/ 217388 h 505538"/>
                <a:gd name="connsiteX102" fmla="*/ 748427 w 826201"/>
                <a:gd name="connsiteY102" fmla="*/ 218663 h 505538"/>
                <a:gd name="connsiteX103" fmla="*/ 736951 w 826201"/>
                <a:gd name="connsiteY103" fmla="*/ 188700 h 505538"/>
                <a:gd name="connsiteX104" fmla="*/ 711451 w 826201"/>
                <a:gd name="connsiteY104" fmla="*/ 189975 h 505538"/>
                <a:gd name="connsiteX105" fmla="*/ 650889 w 826201"/>
                <a:gd name="connsiteY105" fmla="*/ 140250 h 505538"/>
                <a:gd name="connsiteX106" fmla="*/ 643239 w 826201"/>
                <a:gd name="connsiteY106" fmla="*/ 140250 h 505538"/>
                <a:gd name="connsiteX107" fmla="*/ 729302 w 826201"/>
                <a:gd name="connsiteY107" fmla="*/ 182325 h 505538"/>
                <a:gd name="connsiteX108" fmla="*/ 723564 w 826201"/>
                <a:gd name="connsiteY108" fmla="*/ 152363 h 505538"/>
                <a:gd name="connsiteX109" fmla="*/ 729302 w 826201"/>
                <a:gd name="connsiteY109" fmla="*/ 142163 h 505538"/>
                <a:gd name="connsiteX110" fmla="*/ 685314 w 826201"/>
                <a:gd name="connsiteY110" fmla="*/ 125588 h 505538"/>
                <a:gd name="connsiteX111" fmla="*/ 647701 w 826201"/>
                <a:gd name="connsiteY111" fmla="*/ 123038 h 505538"/>
                <a:gd name="connsiteX112" fmla="*/ 627939 w 826201"/>
                <a:gd name="connsiteY112" fmla="*/ 107738 h 505538"/>
                <a:gd name="connsiteX113" fmla="*/ 612639 w 826201"/>
                <a:gd name="connsiteY113" fmla="*/ 117938 h 505538"/>
                <a:gd name="connsiteX114" fmla="*/ 606901 w 826201"/>
                <a:gd name="connsiteY114" fmla="*/ 73313 h 505538"/>
                <a:gd name="connsiteX115" fmla="*/ 613276 w 826201"/>
                <a:gd name="connsiteY115" fmla="*/ 74588 h 505538"/>
                <a:gd name="connsiteX116" fmla="*/ 612001 w 826201"/>
                <a:gd name="connsiteY116" fmla="*/ 38888 h 505538"/>
                <a:gd name="connsiteX117" fmla="*/ 610726 w 826201"/>
                <a:gd name="connsiteY117" fmla="*/ 37613 h 505538"/>
                <a:gd name="connsiteX118" fmla="*/ 609451 w 826201"/>
                <a:gd name="connsiteY118" fmla="*/ 38250 h 505538"/>
                <a:gd name="connsiteX119" fmla="*/ 608176 w 826201"/>
                <a:gd name="connsiteY119" fmla="*/ 37613 h 505538"/>
                <a:gd name="connsiteX120" fmla="*/ 604989 w 826201"/>
                <a:gd name="connsiteY120" fmla="*/ 35063 h 505538"/>
                <a:gd name="connsiteX121" fmla="*/ 603076 w 826201"/>
                <a:gd name="connsiteY121" fmla="*/ 33150 h 505538"/>
                <a:gd name="connsiteX122" fmla="*/ 582676 w 826201"/>
                <a:gd name="connsiteY122" fmla="*/ 23587 h 505538"/>
                <a:gd name="connsiteX123" fmla="*/ 561638 w 826201"/>
                <a:gd name="connsiteY123" fmla="*/ 8287 h 505538"/>
                <a:gd name="connsiteX124" fmla="*/ 531676 w 826201"/>
                <a:gd name="connsiteY124" fmla="*/ 638 h 505538"/>
                <a:gd name="connsiteX125" fmla="*/ 529763 w 826201"/>
                <a:gd name="connsiteY125" fmla="*/ 0 h 505538"/>
                <a:gd name="connsiteX126" fmla="*/ 529763 w 826201"/>
                <a:gd name="connsiteY126" fmla="*/ 638 h 505538"/>
                <a:gd name="connsiteX127" fmla="*/ 525939 w 826201"/>
                <a:gd name="connsiteY127" fmla="*/ 28050 h 505538"/>
                <a:gd name="connsiteX128" fmla="*/ 466651 w 826201"/>
                <a:gd name="connsiteY128" fmla="*/ 2550 h 505538"/>
                <a:gd name="connsiteX129" fmla="*/ 467926 w 826201"/>
                <a:gd name="connsiteY129" fmla="*/ 39525 h 505538"/>
                <a:gd name="connsiteX130" fmla="*/ 434776 w 826201"/>
                <a:gd name="connsiteY130" fmla="*/ 102000 h 505538"/>
                <a:gd name="connsiteX131" fmla="*/ 415013 w 826201"/>
                <a:gd name="connsiteY131" fmla="*/ 123675 h 505538"/>
                <a:gd name="connsiteX132" fmla="*/ 402263 w 826201"/>
                <a:gd name="connsiteY132" fmla="*/ 161288 h 505538"/>
                <a:gd name="connsiteX133" fmla="*/ 363376 w 826201"/>
                <a:gd name="connsiteY133" fmla="*/ 147900 h 505538"/>
                <a:gd name="connsiteX134" fmla="*/ 344251 w 826201"/>
                <a:gd name="connsiteY134" fmla="*/ 235238 h 505538"/>
                <a:gd name="connsiteX135" fmla="*/ 328951 w 826201"/>
                <a:gd name="connsiteY135" fmla="*/ 265201 h 505538"/>
                <a:gd name="connsiteX136" fmla="*/ 326401 w 826201"/>
                <a:gd name="connsiteY136" fmla="*/ 303451 h 505538"/>
                <a:gd name="connsiteX137" fmla="*/ 314926 w 826201"/>
                <a:gd name="connsiteY137" fmla="*/ 321938 h 505538"/>
                <a:gd name="connsiteX138" fmla="*/ 272213 w 826201"/>
                <a:gd name="connsiteY138" fmla="*/ 334688 h 505538"/>
                <a:gd name="connsiteX139" fmla="*/ 237151 w 826201"/>
                <a:gd name="connsiteY139" fmla="*/ 362738 h 505538"/>
                <a:gd name="connsiteX140" fmla="*/ 220575 w 826201"/>
                <a:gd name="connsiteY140" fmla="*/ 365288 h 505538"/>
                <a:gd name="connsiteX141" fmla="*/ 204638 w 826201"/>
                <a:gd name="connsiteY141" fmla="*/ 379313 h 505538"/>
                <a:gd name="connsiteX142" fmla="*/ 164475 w 826201"/>
                <a:gd name="connsiteY142" fmla="*/ 364651 h 505538"/>
                <a:gd name="connsiteX143" fmla="*/ 156188 w 826201"/>
                <a:gd name="connsiteY143" fmla="*/ 343613 h 505538"/>
                <a:gd name="connsiteX144" fmla="*/ 154913 w 826201"/>
                <a:gd name="connsiteY144" fmla="*/ 344888 h 505538"/>
                <a:gd name="connsiteX145" fmla="*/ 154913 w 826201"/>
                <a:gd name="connsiteY145" fmla="*/ 344888 h 5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26201" h="505538">
                  <a:moveTo>
                    <a:pt x="808352" y="313013"/>
                  </a:moveTo>
                  <a:lnTo>
                    <a:pt x="810264" y="313013"/>
                  </a:lnTo>
                  <a:lnTo>
                    <a:pt x="812177" y="312376"/>
                  </a:lnTo>
                  <a:lnTo>
                    <a:pt x="812177" y="312376"/>
                  </a:lnTo>
                  <a:lnTo>
                    <a:pt x="810902" y="309188"/>
                  </a:lnTo>
                  <a:lnTo>
                    <a:pt x="808352" y="313013"/>
                  </a:lnTo>
                  <a:lnTo>
                    <a:pt x="808352" y="313013"/>
                  </a:lnTo>
                  <a:lnTo>
                    <a:pt x="808352" y="313013"/>
                  </a:lnTo>
                  <a:close/>
                  <a:moveTo>
                    <a:pt x="786677" y="240975"/>
                  </a:moveTo>
                  <a:lnTo>
                    <a:pt x="786677" y="244163"/>
                  </a:lnTo>
                  <a:lnTo>
                    <a:pt x="789864" y="242250"/>
                  </a:lnTo>
                  <a:lnTo>
                    <a:pt x="786677" y="240975"/>
                  </a:lnTo>
                  <a:close/>
                  <a:moveTo>
                    <a:pt x="798152" y="218025"/>
                  </a:moveTo>
                  <a:lnTo>
                    <a:pt x="797514" y="212925"/>
                  </a:lnTo>
                  <a:lnTo>
                    <a:pt x="797514" y="212925"/>
                  </a:lnTo>
                  <a:lnTo>
                    <a:pt x="798152" y="218025"/>
                  </a:lnTo>
                  <a:close/>
                  <a:moveTo>
                    <a:pt x="793689" y="226313"/>
                  </a:moveTo>
                  <a:lnTo>
                    <a:pt x="792414" y="234600"/>
                  </a:lnTo>
                  <a:lnTo>
                    <a:pt x="790502" y="237788"/>
                  </a:lnTo>
                  <a:lnTo>
                    <a:pt x="793689" y="226313"/>
                  </a:lnTo>
                  <a:lnTo>
                    <a:pt x="793689" y="226313"/>
                  </a:lnTo>
                  <a:close/>
                  <a:moveTo>
                    <a:pt x="800064" y="209738"/>
                  </a:moveTo>
                  <a:lnTo>
                    <a:pt x="800701" y="205913"/>
                  </a:lnTo>
                  <a:lnTo>
                    <a:pt x="800064" y="209738"/>
                  </a:lnTo>
                  <a:lnTo>
                    <a:pt x="800064" y="209738"/>
                  </a:lnTo>
                  <a:lnTo>
                    <a:pt x="800064" y="209738"/>
                  </a:lnTo>
                  <a:close/>
                  <a:moveTo>
                    <a:pt x="803889" y="191888"/>
                  </a:moveTo>
                  <a:lnTo>
                    <a:pt x="805802" y="187425"/>
                  </a:lnTo>
                  <a:lnTo>
                    <a:pt x="802614" y="198900"/>
                  </a:lnTo>
                  <a:lnTo>
                    <a:pt x="803889" y="191888"/>
                  </a:lnTo>
                  <a:close/>
                  <a:moveTo>
                    <a:pt x="804527" y="182325"/>
                  </a:moveTo>
                  <a:lnTo>
                    <a:pt x="807076" y="168300"/>
                  </a:lnTo>
                  <a:lnTo>
                    <a:pt x="803889" y="171488"/>
                  </a:lnTo>
                  <a:lnTo>
                    <a:pt x="804527" y="182325"/>
                  </a:lnTo>
                  <a:lnTo>
                    <a:pt x="804527" y="182325"/>
                  </a:lnTo>
                  <a:close/>
                  <a:moveTo>
                    <a:pt x="816002" y="119213"/>
                  </a:moveTo>
                  <a:lnTo>
                    <a:pt x="817277" y="113475"/>
                  </a:lnTo>
                  <a:lnTo>
                    <a:pt x="816639" y="114750"/>
                  </a:lnTo>
                  <a:lnTo>
                    <a:pt x="816002" y="119213"/>
                  </a:lnTo>
                  <a:lnTo>
                    <a:pt x="816002" y="119213"/>
                  </a:lnTo>
                  <a:close/>
                  <a:moveTo>
                    <a:pt x="813452" y="103913"/>
                  </a:moveTo>
                  <a:lnTo>
                    <a:pt x="805164" y="107100"/>
                  </a:lnTo>
                  <a:lnTo>
                    <a:pt x="792414" y="112838"/>
                  </a:lnTo>
                  <a:lnTo>
                    <a:pt x="787951" y="118575"/>
                  </a:lnTo>
                  <a:lnTo>
                    <a:pt x="789864" y="119213"/>
                  </a:lnTo>
                  <a:lnTo>
                    <a:pt x="774564" y="215475"/>
                  </a:lnTo>
                  <a:lnTo>
                    <a:pt x="780302" y="230775"/>
                  </a:lnTo>
                  <a:lnTo>
                    <a:pt x="789864" y="191250"/>
                  </a:lnTo>
                  <a:lnTo>
                    <a:pt x="806439" y="138975"/>
                  </a:lnTo>
                  <a:lnTo>
                    <a:pt x="813452" y="103913"/>
                  </a:lnTo>
                  <a:lnTo>
                    <a:pt x="813452" y="103913"/>
                  </a:lnTo>
                  <a:lnTo>
                    <a:pt x="813452" y="103913"/>
                  </a:lnTo>
                  <a:close/>
                  <a:moveTo>
                    <a:pt x="826202" y="98813"/>
                  </a:moveTo>
                  <a:lnTo>
                    <a:pt x="824289" y="99450"/>
                  </a:lnTo>
                  <a:lnTo>
                    <a:pt x="823652" y="102000"/>
                  </a:lnTo>
                  <a:lnTo>
                    <a:pt x="820464" y="121763"/>
                  </a:lnTo>
                  <a:lnTo>
                    <a:pt x="823014" y="114750"/>
                  </a:lnTo>
                  <a:lnTo>
                    <a:pt x="826202" y="98813"/>
                  </a:lnTo>
                  <a:lnTo>
                    <a:pt x="826202" y="98813"/>
                  </a:lnTo>
                  <a:close/>
                  <a:moveTo>
                    <a:pt x="154913" y="344888"/>
                  </a:moveTo>
                  <a:lnTo>
                    <a:pt x="150450" y="351263"/>
                  </a:lnTo>
                  <a:lnTo>
                    <a:pt x="119213" y="390151"/>
                  </a:lnTo>
                  <a:lnTo>
                    <a:pt x="94988" y="409276"/>
                  </a:lnTo>
                  <a:lnTo>
                    <a:pt x="89888" y="425851"/>
                  </a:lnTo>
                  <a:lnTo>
                    <a:pt x="52913" y="474938"/>
                  </a:lnTo>
                  <a:lnTo>
                    <a:pt x="4463" y="500439"/>
                  </a:lnTo>
                  <a:lnTo>
                    <a:pt x="0" y="505538"/>
                  </a:lnTo>
                  <a:lnTo>
                    <a:pt x="11475" y="503626"/>
                  </a:lnTo>
                  <a:lnTo>
                    <a:pt x="121125" y="481313"/>
                  </a:lnTo>
                  <a:lnTo>
                    <a:pt x="165113" y="471751"/>
                  </a:lnTo>
                  <a:lnTo>
                    <a:pt x="201450" y="460913"/>
                  </a:lnTo>
                  <a:lnTo>
                    <a:pt x="212288" y="459001"/>
                  </a:lnTo>
                  <a:lnTo>
                    <a:pt x="212926" y="460276"/>
                  </a:lnTo>
                  <a:lnTo>
                    <a:pt x="378676" y="429038"/>
                  </a:lnTo>
                  <a:lnTo>
                    <a:pt x="542513" y="387601"/>
                  </a:lnTo>
                  <a:lnTo>
                    <a:pt x="799427" y="314288"/>
                  </a:lnTo>
                  <a:lnTo>
                    <a:pt x="799427" y="314288"/>
                  </a:lnTo>
                  <a:lnTo>
                    <a:pt x="797514" y="311101"/>
                  </a:lnTo>
                  <a:lnTo>
                    <a:pt x="796877" y="309188"/>
                  </a:lnTo>
                  <a:lnTo>
                    <a:pt x="801339" y="313651"/>
                  </a:lnTo>
                  <a:lnTo>
                    <a:pt x="801339" y="313651"/>
                  </a:lnTo>
                  <a:lnTo>
                    <a:pt x="801339" y="313651"/>
                  </a:lnTo>
                  <a:lnTo>
                    <a:pt x="806439" y="312376"/>
                  </a:lnTo>
                  <a:lnTo>
                    <a:pt x="805802" y="311738"/>
                  </a:lnTo>
                  <a:lnTo>
                    <a:pt x="801339" y="290063"/>
                  </a:lnTo>
                  <a:lnTo>
                    <a:pt x="804527" y="290701"/>
                  </a:lnTo>
                  <a:lnTo>
                    <a:pt x="815364" y="309826"/>
                  </a:lnTo>
                  <a:lnTo>
                    <a:pt x="815364" y="309826"/>
                  </a:lnTo>
                  <a:lnTo>
                    <a:pt x="815364" y="309826"/>
                  </a:lnTo>
                  <a:lnTo>
                    <a:pt x="817277" y="309188"/>
                  </a:lnTo>
                  <a:lnTo>
                    <a:pt x="818552" y="308551"/>
                  </a:lnTo>
                  <a:lnTo>
                    <a:pt x="816002" y="303451"/>
                  </a:lnTo>
                  <a:lnTo>
                    <a:pt x="789227" y="263288"/>
                  </a:lnTo>
                  <a:lnTo>
                    <a:pt x="756076" y="269025"/>
                  </a:lnTo>
                  <a:lnTo>
                    <a:pt x="741414" y="281138"/>
                  </a:lnTo>
                  <a:lnTo>
                    <a:pt x="727389" y="268388"/>
                  </a:lnTo>
                  <a:lnTo>
                    <a:pt x="678939" y="252451"/>
                  </a:lnTo>
                  <a:lnTo>
                    <a:pt x="645789" y="251175"/>
                  </a:lnTo>
                  <a:lnTo>
                    <a:pt x="710814" y="245438"/>
                  </a:lnTo>
                  <a:lnTo>
                    <a:pt x="746514" y="269663"/>
                  </a:lnTo>
                  <a:lnTo>
                    <a:pt x="757351" y="253725"/>
                  </a:lnTo>
                  <a:lnTo>
                    <a:pt x="728027" y="217388"/>
                  </a:lnTo>
                  <a:lnTo>
                    <a:pt x="748427" y="218663"/>
                  </a:lnTo>
                  <a:lnTo>
                    <a:pt x="736951" y="188700"/>
                  </a:lnTo>
                  <a:lnTo>
                    <a:pt x="711451" y="189975"/>
                  </a:lnTo>
                  <a:lnTo>
                    <a:pt x="650889" y="140250"/>
                  </a:lnTo>
                  <a:lnTo>
                    <a:pt x="643239" y="140250"/>
                  </a:lnTo>
                  <a:lnTo>
                    <a:pt x="729302" y="182325"/>
                  </a:lnTo>
                  <a:lnTo>
                    <a:pt x="723564" y="152363"/>
                  </a:lnTo>
                  <a:lnTo>
                    <a:pt x="729302" y="142163"/>
                  </a:lnTo>
                  <a:lnTo>
                    <a:pt x="685314" y="125588"/>
                  </a:lnTo>
                  <a:lnTo>
                    <a:pt x="647701" y="123038"/>
                  </a:lnTo>
                  <a:lnTo>
                    <a:pt x="627939" y="107738"/>
                  </a:lnTo>
                  <a:lnTo>
                    <a:pt x="612639" y="117938"/>
                  </a:lnTo>
                  <a:lnTo>
                    <a:pt x="606901" y="73313"/>
                  </a:lnTo>
                  <a:lnTo>
                    <a:pt x="613276" y="74588"/>
                  </a:lnTo>
                  <a:lnTo>
                    <a:pt x="612001" y="38888"/>
                  </a:lnTo>
                  <a:lnTo>
                    <a:pt x="610726" y="37613"/>
                  </a:lnTo>
                  <a:lnTo>
                    <a:pt x="609451" y="38250"/>
                  </a:lnTo>
                  <a:lnTo>
                    <a:pt x="608176" y="37613"/>
                  </a:lnTo>
                  <a:lnTo>
                    <a:pt x="604989" y="35063"/>
                  </a:lnTo>
                  <a:lnTo>
                    <a:pt x="603076" y="33150"/>
                  </a:lnTo>
                  <a:lnTo>
                    <a:pt x="582676" y="23587"/>
                  </a:lnTo>
                  <a:lnTo>
                    <a:pt x="561638" y="8287"/>
                  </a:lnTo>
                  <a:lnTo>
                    <a:pt x="531676" y="638"/>
                  </a:lnTo>
                  <a:lnTo>
                    <a:pt x="529763" y="0"/>
                  </a:lnTo>
                  <a:lnTo>
                    <a:pt x="529763" y="638"/>
                  </a:lnTo>
                  <a:lnTo>
                    <a:pt x="525939" y="28050"/>
                  </a:lnTo>
                  <a:lnTo>
                    <a:pt x="466651" y="2550"/>
                  </a:lnTo>
                  <a:lnTo>
                    <a:pt x="467926" y="39525"/>
                  </a:lnTo>
                  <a:lnTo>
                    <a:pt x="434776" y="102000"/>
                  </a:lnTo>
                  <a:lnTo>
                    <a:pt x="415013" y="123675"/>
                  </a:lnTo>
                  <a:lnTo>
                    <a:pt x="402263" y="161288"/>
                  </a:lnTo>
                  <a:lnTo>
                    <a:pt x="363376" y="147900"/>
                  </a:lnTo>
                  <a:lnTo>
                    <a:pt x="344251" y="235238"/>
                  </a:lnTo>
                  <a:lnTo>
                    <a:pt x="328951" y="265201"/>
                  </a:lnTo>
                  <a:lnTo>
                    <a:pt x="326401" y="303451"/>
                  </a:lnTo>
                  <a:lnTo>
                    <a:pt x="314926" y="321938"/>
                  </a:lnTo>
                  <a:lnTo>
                    <a:pt x="272213" y="334688"/>
                  </a:lnTo>
                  <a:lnTo>
                    <a:pt x="237151" y="362738"/>
                  </a:lnTo>
                  <a:lnTo>
                    <a:pt x="220575" y="365288"/>
                  </a:lnTo>
                  <a:lnTo>
                    <a:pt x="204638" y="379313"/>
                  </a:lnTo>
                  <a:lnTo>
                    <a:pt x="164475" y="364651"/>
                  </a:lnTo>
                  <a:lnTo>
                    <a:pt x="156188" y="343613"/>
                  </a:lnTo>
                  <a:lnTo>
                    <a:pt x="154913" y="344888"/>
                  </a:lnTo>
                  <a:lnTo>
                    <a:pt x="154913" y="34488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7" name="Freeform 58">
              <a:extLst>
                <a:ext uri="{FF2B5EF4-FFF2-40B4-BE49-F238E27FC236}">
                  <a16:creationId xmlns:a16="http://schemas.microsoft.com/office/drawing/2014/main" id="{7605A9A9-733C-23A4-1A21-BB6CB165B5B0}"/>
                </a:ext>
              </a:extLst>
            </p:cNvPr>
            <p:cNvSpPr/>
            <p:nvPr/>
          </p:nvSpPr>
          <p:spPr>
            <a:xfrm>
              <a:off x="5028803" y="1558035"/>
              <a:ext cx="549525" cy="613276"/>
            </a:xfrm>
            <a:custGeom>
              <a:avLst/>
              <a:gdLst>
                <a:gd name="connsiteX0" fmla="*/ 549526 w 549525"/>
                <a:gd name="connsiteY0" fmla="*/ 195075 h 613276"/>
                <a:gd name="connsiteX1" fmla="*/ 533588 w 549525"/>
                <a:gd name="connsiteY1" fmla="*/ 214838 h 613276"/>
                <a:gd name="connsiteX2" fmla="*/ 523388 w 549525"/>
                <a:gd name="connsiteY2" fmla="*/ 244163 h 613276"/>
                <a:gd name="connsiteX3" fmla="*/ 527851 w 549525"/>
                <a:gd name="connsiteY3" fmla="*/ 260100 h 613276"/>
                <a:gd name="connsiteX4" fmla="*/ 549526 w 549525"/>
                <a:gd name="connsiteY4" fmla="*/ 195075 h 613276"/>
                <a:gd name="connsiteX5" fmla="*/ 181050 w 549525"/>
                <a:gd name="connsiteY5" fmla="*/ 43988 h 613276"/>
                <a:gd name="connsiteX6" fmla="*/ 191250 w 549525"/>
                <a:gd name="connsiteY6" fmla="*/ 30600 h 613276"/>
                <a:gd name="connsiteX7" fmla="*/ 184238 w 549525"/>
                <a:gd name="connsiteY7" fmla="*/ 36975 h 613276"/>
                <a:gd name="connsiteX8" fmla="*/ 181050 w 549525"/>
                <a:gd name="connsiteY8" fmla="*/ 43988 h 613276"/>
                <a:gd name="connsiteX9" fmla="*/ 195713 w 549525"/>
                <a:gd name="connsiteY9" fmla="*/ 22950 h 613276"/>
                <a:gd name="connsiteX10" fmla="*/ 192525 w 549525"/>
                <a:gd name="connsiteY10" fmla="*/ 19125 h 613276"/>
                <a:gd name="connsiteX11" fmla="*/ 185513 w 549525"/>
                <a:gd name="connsiteY11" fmla="*/ 23587 h 613276"/>
                <a:gd name="connsiteX12" fmla="*/ 195713 w 549525"/>
                <a:gd name="connsiteY12" fmla="*/ 22950 h 613276"/>
                <a:gd name="connsiteX13" fmla="*/ 195713 w 549525"/>
                <a:gd name="connsiteY13" fmla="*/ 22950 h 613276"/>
                <a:gd name="connsiteX14" fmla="*/ 56100 w 549525"/>
                <a:gd name="connsiteY14" fmla="*/ 58650 h 613276"/>
                <a:gd name="connsiteX15" fmla="*/ 41438 w 549525"/>
                <a:gd name="connsiteY15" fmla="*/ 75225 h 613276"/>
                <a:gd name="connsiteX16" fmla="*/ 48450 w 549525"/>
                <a:gd name="connsiteY16" fmla="*/ 151725 h 613276"/>
                <a:gd name="connsiteX17" fmla="*/ 7650 w 549525"/>
                <a:gd name="connsiteY17" fmla="*/ 188700 h 613276"/>
                <a:gd name="connsiteX18" fmla="*/ 0 w 549525"/>
                <a:gd name="connsiteY18" fmla="*/ 224400 h 613276"/>
                <a:gd name="connsiteX19" fmla="*/ 22313 w 549525"/>
                <a:gd name="connsiteY19" fmla="*/ 244800 h 613276"/>
                <a:gd name="connsiteX20" fmla="*/ 15938 w 549525"/>
                <a:gd name="connsiteY20" fmla="*/ 333413 h 613276"/>
                <a:gd name="connsiteX21" fmla="*/ 39525 w 549525"/>
                <a:gd name="connsiteY21" fmla="*/ 351263 h 613276"/>
                <a:gd name="connsiteX22" fmla="*/ 54825 w 549525"/>
                <a:gd name="connsiteY22" fmla="*/ 352538 h 613276"/>
                <a:gd name="connsiteX23" fmla="*/ 103913 w 549525"/>
                <a:gd name="connsiteY23" fmla="*/ 382501 h 613276"/>
                <a:gd name="connsiteX24" fmla="*/ 135150 w 549525"/>
                <a:gd name="connsiteY24" fmla="*/ 415013 h 613276"/>
                <a:gd name="connsiteX25" fmla="*/ 174038 w 549525"/>
                <a:gd name="connsiteY25" fmla="*/ 434776 h 613276"/>
                <a:gd name="connsiteX26" fmla="*/ 183600 w 549525"/>
                <a:gd name="connsiteY26" fmla="*/ 484501 h 613276"/>
                <a:gd name="connsiteX27" fmla="*/ 183600 w 549525"/>
                <a:gd name="connsiteY27" fmla="*/ 487688 h 613276"/>
                <a:gd name="connsiteX28" fmla="*/ 183600 w 549525"/>
                <a:gd name="connsiteY28" fmla="*/ 487688 h 613276"/>
                <a:gd name="connsiteX29" fmla="*/ 202088 w 549525"/>
                <a:gd name="connsiteY29" fmla="*/ 510001 h 613276"/>
                <a:gd name="connsiteX30" fmla="*/ 196988 w 549525"/>
                <a:gd name="connsiteY30" fmla="*/ 527213 h 613276"/>
                <a:gd name="connsiteX31" fmla="*/ 203363 w 549525"/>
                <a:gd name="connsiteY31" fmla="*/ 564826 h 613276"/>
                <a:gd name="connsiteX32" fmla="*/ 222488 w 549525"/>
                <a:gd name="connsiteY32" fmla="*/ 591601 h 613276"/>
                <a:gd name="connsiteX33" fmla="*/ 257550 w 549525"/>
                <a:gd name="connsiteY33" fmla="*/ 610089 h 613276"/>
                <a:gd name="connsiteX34" fmla="*/ 256913 w 549525"/>
                <a:gd name="connsiteY34" fmla="*/ 613276 h 613276"/>
                <a:gd name="connsiteX35" fmla="*/ 256913 w 549525"/>
                <a:gd name="connsiteY35" fmla="*/ 613276 h 613276"/>
                <a:gd name="connsiteX36" fmla="*/ 397163 w 549525"/>
                <a:gd name="connsiteY36" fmla="*/ 597339 h 613276"/>
                <a:gd name="connsiteX37" fmla="*/ 449438 w 549525"/>
                <a:gd name="connsiteY37" fmla="*/ 590964 h 613276"/>
                <a:gd name="connsiteX38" fmla="*/ 536138 w 549525"/>
                <a:gd name="connsiteY38" fmla="*/ 578851 h 613276"/>
                <a:gd name="connsiteX39" fmla="*/ 533588 w 549525"/>
                <a:gd name="connsiteY39" fmla="*/ 568651 h 613276"/>
                <a:gd name="connsiteX40" fmla="*/ 533588 w 549525"/>
                <a:gd name="connsiteY40" fmla="*/ 538051 h 613276"/>
                <a:gd name="connsiteX41" fmla="*/ 516376 w 549525"/>
                <a:gd name="connsiteY41" fmla="*/ 505538 h 613276"/>
                <a:gd name="connsiteX42" fmla="*/ 511913 w 549525"/>
                <a:gd name="connsiteY42" fmla="*/ 465376 h 613276"/>
                <a:gd name="connsiteX43" fmla="*/ 520201 w 549525"/>
                <a:gd name="connsiteY43" fmla="*/ 420113 h 613276"/>
                <a:gd name="connsiteX44" fmla="*/ 515738 w 549525"/>
                <a:gd name="connsiteY44" fmla="*/ 385688 h 613276"/>
                <a:gd name="connsiteX45" fmla="*/ 531039 w 549525"/>
                <a:gd name="connsiteY45" fmla="*/ 342976 h 613276"/>
                <a:gd name="connsiteX46" fmla="*/ 525301 w 549525"/>
                <a:gd name="connsiteY46" fmla="*/ 335963 h 613276"/>
                <a:gd name="connsiteX47" fmla="*/ 526576 w 549525"/>
                <a:gd name="connsiteY47" fmla="*/ 296438 h 613276"/>
                <a:gd name="connsiteX48" fmla="*/ 534863 w 549525"/>
                <a:gd name="connsiteY48" fmla="*/ 265838 h 613276"/>
                <a:gd name="connsiteX49" fmla="*/ 524664 w 549525"/>
                <a:gd name="connsiteY49" fmla="*/ 255001 h 613276"/>
                <a:gd name="connsiteX50" fmla="*/ 506176 w 549525"/>
                <a:gd name="connsiteY50" fmla="*/ 261376 h 613276"/>
                <a:gd name="connsiteX51" fmla="*/ 495338 w 549525"/>
                <a:gd name="connsiteY51" fmla="*/ 288788 h 613276"/>
                <a:gd name="connsiteX52" fmla="*/ 471113 w 549525"/>
                <a:gd name="connsiteY52" fmla="*/ 302813 h 613276"/>
                <a:gd name="connsiteX53" fmla="*/ 478763 w 549525"/>
                <a:gd name="connsiteY53" fmla="*/ 269025 h 613276"/>
                <a:gd name="connsiteX54" fmla="*/ 500439 w 549525"/>
                <a:gd name="connsiteY54" fmla="*/ 239700 h 613276"/>
                <a:gd name="connsiteX55" fmla="*/ 501713 w 549525"/>
                <a:gd name="connsiteY55" fmla="*/ 226950 h 613276"/>
                <a:gd name="connsiteX56" fmla="*/ 502351 w 549525"/>
                <a:gd name="connsiteY56" fmla="*/ 226313 h 613276"/>
                <a:gd name="connsiteX57" fmla="*/ 471113 w 549525"/>
                <a:gd name="connsiteY57" fmla="*/ 195075 h 613276"/>
                <a:gd name="connsiteX58" fmla="*/ 471113 w 549525"/>
                <a:gd name="connsiteY58" fmla="*/ 151088 h 613276"/>
                <a:gd name="connsiteX59" fmla="*/ 436688 w 549525"/>
                <a:gd name="connsiteY59" fmla="*/ 122400 h 613276"/>
                <a:gd name="connsiteX60" fmla="*/ 388876 w 549525"/>
                <a:gd name="connsiteY60" fmla="*/ 119213 h 613276"/>
                <a:gd name="connsiteX61" fmla="*/ 339788 w 549525"/>
                <a:gd name="connsiteY61" fmla="*/ 106463 h 613276"/>
                <a:gd name="connsiteX62" fmla="*/ 234600 w 549525"/>
                <a:gd name="connsiteY62" fmla="*/ 73950 h 613276"/>
                <a:gd name="connsiteX63" fmla="*/ 214200 w 549525"/>
                <a:gd name="connsiteY63" fmla="*/ 62475 h 613276"/>
                <a:gd name="connsiteX64" fmla="*/ 212288 w 549525"/>
                <a:gd name="connsiteY64" fmla="*/ 64387 h 613276"/>
                <a:gd name="connsiteX65" fmla="*/ 179138 w 549525"/>
                <a:gd name="connsiteY65" fmla="*/ 59925 h 613276"/>
                <a:gd name="connsiteX66" fmla="*/ 167663 w 549525"/>
                <a:gd name="connsiteY66" fmla="*/ 66300 h 613276"/>
                <a:gd name="connsiteX67" fmla="*/ 172125 w 549525"/>
                <a:gd name="connsiteY67" fmla="*/ 19125 h 613276"/>
                <a:gd name="connsiteX68" fmla="*/ 119212 w 549525"/>
                <a:gd name="connsiteY68" fmla="*/ 46538 h 613276"/>
                <a:gd name="connsiteX69" fmla="*/ 54825 w 549525"/>
                <a:gd name="connsiteY69" fmla="*/ 57375 h 613276"/>
                <a:gd name="connsiteX70" fmla="*/ 56100 w 549525"/>
                <a:gd name="connsiteY70" fmla="*/ 58650 h 613276"/>
                <a:gd name="connsiteX71" fmla="*/ 56100 w 549525"/>
                <a:gd name="connsiteY71" fmla="*/ 58650 h 613276"/>
                <a:gd name="connsiteX72" fmla="*/ 181688 w 549525"/>
                <a:gd name="connsiteY72" fmla="*/ 24863 h 613276"/>
                <a:gd name="connsiteX73" fmla="*/ 180413 w 549525"/>
                <a:gd name="connsiteY73" fmla="*/ 20400 h 613276"/>
                <a:gd name="connsiteX74" fmla="*/ 175950 w 549525"/>
                <a:gd name="connsiteY74" fmla="*/ 22313 h 613276"/>
                <a:gd name="connsiteX75" fmla="*/ 181688 w 549525"/>
                <a:gd name="connsiteY75" fmla="*/ 24863 h 613276"/>
                <a:gd name="connsiteX76" fmla="*/ 158738 w 549525"/>
                <a:gd name="connsiteY76" fmla="*/ 20400 h 613276"/>
                <a:gd name="connsiteX77" fmla="*/ 160650 w 549525"/>
                <a:gd name="connsiteY77" fmla="*/ 16575 h 613276"/>
                <a:gd name="connsiteX78" fmla="*/ 159375 w 549525"/>
                <a:gd name="connsiteY78" fmla="*/ 15300 h 613276"/>
                <a:gd name="connsiteX79" fmla="*/ 158738 w 549525"/>
                <a:gd name="connsiteY79" fmla="*/ 20400 h 613276"/>
                <a:gd name="connsiteX80" fmla="*/ 158738 w 549525"/>
                <a:gd name="connsiteY80" fmla="*/ 20400 h 613276"/>
                <a:gd name="connsiteX81" fmla="*/ 205275 w 549525"/>
                <a:gd name="connsiteY81" fmla="*/ 9563 h 613276"/>
                <a:gd name="connsiteX82" fmla="*/ 203363 w 549525"/>
                <a:gd name="connsiteY82" fmla="*/ 0 h 613276"/>
                <a:gd name="connsiteX83" fmla="*/ 201450 w 549525"/>
                <a:gd name="connsiteY83" fmla="*/ 11475 h 613276"/>
                <a:gd name="connsiteX84" fmla="*/ 205275 w 549525"/>
                <a:gd name="connsiteY84" fmla="*/ 9563 h 61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9525" h="613276">
                  <a:moveTo>
                    <a:pt x="549526" y="195075"/>
                  </a:moveTo>
                  <a:lnTo>
                    <a:pt x="533588" y="214838"/>
                  </a:lnTo>
                  <a:lnTo>
                    <a:pt x="523388" y="244163"/>
                  </a:lnTo>
                  <a:lnTo>
                    <a:pt x="527851" y="260100"/>
                  </a:lnTo>
                  <a:lnTo>
                    <a:pt x="549526" y="195075"/>
                  </a:lnTo>
                  <a:close/>
                  <a:moveTo>
                    <a:pt x="181050" y="43988"/>
                  </a:moveTo>
                  <a:lnTo>
                    <a:pt x="191250" y="30600"/>
                  </a:lnTo>
                  <a:lnTo>
                    <a:pt x="184238" y="36975"/>
                  </a:lnTo>
                  <a:lnTo>
                    <a:pt x="181050" y="43988"/>
                  </a:lnTo>
                  <a:close/>
                  <a:moveTo>
                    <a:pt x="195713" y="22950"/>
                  </a:moveTo>
                  <a:lnTo>
                    <a:pt x="192525" y="19125"/>
                  </a:lnTo>
                  <a:lnTo>
                    <a:pt x="185513" y="23587"/>
                  </a:lnTo>
                  <a:lnTo>
                    <a:pt x="195713" y="22950"/>
                  </a:lnTo>
                  <a:lnTo>
                    <a:pt x="195713" y="22950"/>
                  </a:lnTo>
                  <a:close/>
                  <a:moveTo>
                    <a:pt x="56100" y="58650"/>
                  </a:moveTo>
                  <a:lnTo>
                    <a:pt x="41438" y="75225"/>
                  </a:lnTo>
                  <a:lnTo>
                    <a:pt x="48450" y="151725"/>
                  </a:lnTo>
                  <a:lnTo>
                    <a:pt x="7650" y="188700"/>
                  </a:lnTo>
                  <a:lnTo>
                    <a:pt x="0" y="224400"/>
                  </a:lnTo>
                  <a:lnTo>
                    <a:pt x="22313" y="244800"/>
                  </a:lnTo>
                  <a:lnTo>
                    <a:pt x="15938" y="333413"/>
                  </a:lnTo>
                  <a:lnTo>
                    <a:pt x="39525" y="351263"/>
                  </a:lnTo>
                  <a:lnTo>
                    <a:pt x="54825" y="352538"/>
                  </a:lnTo>
                  <a:lnTo>
                    <a:pt x="103913" y="382501"/>
                  </a:lnTo>
                  <a:lnTo>
                    <a:pt x="135150" y="415013"/>
                  </a:lnTo>
                  <a:lnTo>
                    <a:pt x="174038" y="434776"/>
                  </a:lnTo>
                  <a:lnTo>
                    <a:pt x="183600" y="484501"/>
                  </a:lnTo>
                  <a:lnTo>
                    <a:pt x="183600" y="487688"/>
                  </a:lnTo>
                  <a:lnTo>
                    <a:pt x="183600" y="487688"/>
                  </a:lnTo>
                  <a:lnTo>
                    <a:pt x="202088" y="510001"/>
                  </a:lnTo>
                  <a:lnTo>
                    <a:pt x="196988" y="527213"/>
                  </a:lnTo>
                  <a:lnTo>
                    <a:pt x="203363" y="564826"/>
                  </a:lnTo>
                  <a:lnTo>
                    <a:pt x="222488" y="591601"/>
                  </a:lnTo>
                  <a:lnTo>
                    <a:pt x="257550" y="610089"/>
                  </a:lnTo>
                  <a:lnTo>
                    <a:pt x="256913" y="613276"/>
                  </a:lnTo>
                  <a:lnTo>
                    <a:pt x="256913" y="613276"/>
                  </a:lnTo>
                  <a:lnTo>
                    <a:pt x="397163" y="597339"/>
                  </a:lnTo>
                  <a:lnTo>
                    <a:pt x="449438" y="590964"/>
                  </a:lnTo>
                  <a:lnTo>
                    <a:pt x="536138" y="578851"/>
                  </a:lnTo>
                  <a:lnTo>
                    <a:pt x="533588" y="568651"/>
                  </a:lnTo>
                  <a:lnTo>
                    <a:pt x="533588" y="538051"/>
                  </a:lnTo>
                  <a:lnTo>
                    <a:pt x="516376" y="505538"/>
                  </a:lnTo>
                  <a:lnTo>
                    <a:pt x="511913" y="465376"/>
                  </a:lnTo>
                  <a:lnTo>
                    <a:pt x="520201" y="420113"/>
                  </a:lnTo>
                  <a:lnTo>
                    <a:pt x="515738" y="385688"/>
                  </a:lnTo>
                  <a:lnTo>
                    <a:pt x="531039" y="342976"/>
                  </a:lnTo>
                  <a:lnTo>
                    <a:pt x="525301" y="335963"/>
                  </a:lnTo>
                  <a:lnTo>
                    <a:pt x="526576" y="296438"/>
                  </a:lnTo>
                  <a:lnTo>
                    <a:pt x="534863" y="265838"/>
                  </a:lnTo>
                  <a:lnTo>
                    <a:pt x="524664" y="255001"/>
                  </a:lnTo>
                  <a:lnTo>
                    <a:pt x="506176" y="261376"/>
                  </a:lnTo>
                  <a:lnTo>
                    <a:pt x="495338" y="288788"/>
                  </a:lnTo>
                  <a:lnTo>
                    <a:pt x="471113" y="302813"/>
                  </a:lnTo>
                  <a:lnTo>
                    <a:pt x="478763" y="269025"/>
                  </a:lnTo>
                  <a:lnTo>
                    <a:pt x="500439" y="239700"/>
                  </a:lnTo>
                  <a:lnTo>
                    <a:pt x="501713" y="226950"/>
                  </a:lnTo>
                  <a:lnTo>
                    <a:pt x="502351" y="226313"/>
                  </a:lnTo>
                  <a:lnTo>
                    <a:pt x="471113" y="195075"/>
                  </a:lnTo>
                  <a:lnTo>
                    <a:pt x="471113" y="151088"/>
                  </a:lnTo>
                  <a:lnTo>
                    <a:pt x="436688" y="122400"/>
                  </a:lnTo>
                  <a:lnTo>
                    <a:pt x="388876" y="119213"/>
                  </a:lnTo>
                  <a:lnTo>
                    <a:pt x="339788" y="106463"/>
                  </a:lnTo>
                  <a:lnTo>
                    <a:pt x="234600" y="73950"/>
                  </a:lnTo>
                  <a:lnTo>
                    <a:pt x="214200" y="62475"/>
                  </a:lnTo>
                  <a:lnTo>
                    <a:pt x="212288" y="64387"/>
                  </a:lnTo>
                  <a:lnTo>
                    <a:pt x="179138" y="59925"/>
                  </a:lnTo>
                  <a:lnTo>
                    <a:pt x="167663" y="66300"/>
                  </a:lnTo>
                  <a:lnTo>
                    <a:pt x="172125" y="19125"/>
                  </a:lnTo>
                  <a:lnTo>
                    <a:pt x="119212" y="46538"/>
                  </a:lnTo>
                  <a:lnTo>
                    <a:pt x="54825" y="57375"/>
                  </a:lnTo>
                  <a:lnTo>
                    <a:pt x="56100" y="58650"/>
                  </a:lnTo>
                  <a:lnTo>
                    <a:pt x="56100" y="58650"/>
                  </a:lnTo>
                  <a:close/>
                  <a:moveTo>
                    <a:pt x="181688" y="24863"/>
                  </a:moveTo>
                  <a:lnTo>
                    <a:pt x="180413" y="20400"/>
                  </a:lnTo>
                  <a:lnTo>
                    <a:pt x="175950" y="22313"/>
                  </a:lnTo>
                  <a:lnTo>
                    <a:pt x="181688" y="24863"/>
                  </a:lnTo>
                  <a:close/>
                  <a:moveTo>
                    <a:pt x="158738" y="20400"/>
                  </a:moveTo>
                  <a:lnTo>
                    <a:pt x="160650" y="16575"/>
                  </a:lnTo>
                  <a:lnTo>
                    <a:pt x="159375" y="15300"/>
                  </a:lnTo>
                  <a:lnTo>
                    <a:pt x="158738" y="20400"/>
                  </a:lnTo>
                  <a:lnTo>
                    <a:pt x="158738" y="20400"/>
                  </a:lnTo>
                  <a:close/>
                  <a:moveTo>
                    <a:pt x="205275" y="9563"/>
                  </a:moveTo>
                  <a:lnTo>
                    <a:pt x="203363" y="0"/>
                  </a:lnTo>
                  <a:lnTo>
                    <a:pt x="201450" y="11475"/>
                  </a:lnTo>
                  <a:lnTo>
                    <a:pt x="205275" y="9563"/>
                  </a:lnTo>
                  <a:close/>
                </a:path>
              </a:pathLst>
            </a:custGeom>
            <a:solidFill>
              <a:schemeClr val="bg2"/>
            </a:solidFill>
            <a:ln w="6372" cap="flat">
              <a:solidFill>
                <a:schemeClr val="bg1">
                  <a:lumMod val="95000"/>
                </a:schemeClr>
              </a:solidFill>
              <a:prstDash val="solid"/>
              <a:miter/>
            </a:ln>
          </p:spPr>
          <p:txBody>
            <a:bodyPr rtlCol="0" anchor="ctr"/>
            <a:lstStyle/>
            <a:p>
              <a:endParaRPr lang="en-KR" sz="1350"/>
            </a:p>
          </p:txBody>
        </p:sp>
        <p:sp>
          <p:nvSpPr>
            <p:cNvPr id="158" name="Freeform 59">
              <a:extLst>
                <a:ext uri="{FF2B5EF4-FFF2-40B4-BE49-F238E27FC236}">
                  <a16:creationId xmlns:a16="http://schemas.microsoft.com/office/drawing/2014/main" id="{E9DE7005-037F-328D-3169-5CD866374951}"/>
                </a:ext>
              </a:extLst>
            </p:cNvPr>
            <p:cNvSpPr/>
            <p:nvPr/>
          </p:nvSpPr>
          <p:spPr>
            <a:xfrm>
              <a:off x="6180130" y="2242073"/>
              <a:ext cx="460913" cy="479401"/>
            </a:xfrm>
            <a:custGeom>
              <a:avLst/>
              <a:gdLst>
                <a:gd name="connsiteX0" fmla="*/ 264563 w 460913"/>
                <a:gd name="connsiteY0" fmla="*/ 99450 h 479401"/>
                <a:gd name="connsiteX1" fmla="*/ 173400 w 460913"/>
                <a:gd name="connsiteY1" fmla="*/ 121763 h 479401"/>
                <a:gd name="connsiteX2" fmla="*/ 144713 w 460913"/>
                <a:gd name="connsiteY2" fmla="*/ 0 h 479401"/>
                <a:gd name="connsiteX3" fmla="*/ 144713 w 460913"/>
                <a:gd name="connsiteY3" fmla="*/ 0 h 479401"/>
                <a:gd name="connsiteX4" fmla="*/ 143438 w 460913"/>
                <a:gd name="connsiteY4" fmla="*/ 638 h 479401"/>
                <a:gd name="connsiteX5" fmla="*/ 140888 w 460913"/>
                <a:gd name="connsiteY5" fmla="*/ 140888 h 479401"/>
                <a:gd name="connsiteX6" fmla="*/ 120488 w 460913"/>
                <a:gd name="connsiteY6" fmla="*/ 172125 h 479401"/>
                <a:gd name="connsiteX7" fmla="*/ 96900 w 460913"/>
                <a:gd name="connsiteY7" fmla="*/ 189975 h 479401"/>
                <a:gd name="connsiteX8" fmla="*/ 92438 w 460913"/>
                <a:gd name="connsiteY8" fmla="*/ 184875 h 479401"/>
                <a:gd name="connsiteX9" fmla="*/ 65663 w 460913"/>
                <a:gd name="connsiteY9" fmla="*/ 220575 h 479401"/>
                <a:gd name="connsiteX10" fmla="*/ 67575 w 460913"/>
                <a:gd name="connsiteY10" fmla="*/ 249263 h 479401"/>
                <a:gd name="connsiteX11" fmla="*/ 51637 w 460913"/>
                <a:gd name="connsiteY11" fmla="*/ 251813 h 479401"/>
                <a:gd name="connsiteX12" fmla="*/ 29963 w 460913"/>
                <a:gd name="connsiteY12" fmla="*/ 284963 h 479401"/>
                <a:gd name="connsiteX13" fmla="*/ 37613 w 460913"/>
                <a:gd name="connsiteY13" fmla="*/ 306638 h 479401"/>
                <a:gd name="connsiteX14" fmla="*/ 27412 w 460913"/>
                <a:gd name="connsiteY14" fmla="*/ 327676 h 479401"/>
                <a:gd name="connsiteX15" fmla="*/ 0 w 460913"/>
                <a:gd name="connsiteY15" fmla="*/ 341063 h 479401"/>
                <a:gd name="connsiteX16" fmla="*/ 0 w 460913"/>
                <a:gd name="connsiteY16" fmla="*/ 341063 h 479401"/>
                <a:gd name="connsiteX17" fmla="*/ 0 w 460913"/>
                <a:gd name="connsiteY17" fmla="*/ 342338 h 479401"/>
                <a:gd name="connsiteX18" fmla="*/ 12750 w 460913"/>
                <a:gd name="connsiteY18" fmla="*/ 387601 h 479401"/>
                <a:gd name="connsiteX19" fmla="*/ 49088 w 460913"/>
                <a:gd name="connsiteY19" fmla="*/ 432226 h 479401"/>
                <a:gd name="connsiteX20" fmla="*/ 69488 w 460913"/>
                <a:gd name="connsiteY20" fmla="*/ 443701 h 479401"/>
                <a:gd name="connsiteX21" fmla="*/ 85425 w 460913"/>
                <a:gd name="connsiteY21" fmla="*/ 443701 h 479401"/>
                <a:gd name="connsiteX22" fmla="*/ 87338 w 460913"/>
                <a:gd name="connsiteY22" fmla="*/ 444338 h 479401"/>
                <a:gd name="connsiteX23" fmla="*/ 88613 w 460913"/>
                <a:gd name="connsiteY23" fmla="*/ 444976 h 479401"/>
                <a:gd name="connsiteX24" fmla="*/ 95625 w 460913"/>
                <a:gd name="connsiteY24" fmla="*/ 464738 h 479401"/>
                <a:gd name="connsiteX25" fmla="*/ 135788 w 460913"/>
                <a:gd name="connsiteY25" fmla="*/ 479401 h 479401"/>
                <a:gd name="connsiteX26" fmla="*/ 151725 w 460913"/>
                <a:gd name="connsiteY26" fmla="*/ 465376 h 479401"/>
                <a:gd name="connsiteX27" fmla="*/ 168300 w 460913"/>
                <a:gd name="connsiteY27" fmla="*/ 462826 h 479401"/>
                <a:gd name="connsiteX28" fmla="*/ 203363 w 460913"/>
                <a:gd name="connsiteY28" fmla="*/ 434776 h 479401"/>
                <a:gd name="connsiteX29" fmla="*/ 246075 w 460913"/>
                <a:gd name="connsiteY29" fmla="*/ 422026 h 479401"/>
                <a:gd name="connsiteX30" fmla="*/ 257551 w 460913"/>
                <a:gd name="connsiteY30" fmla="*/ 403538 h 479401"/>
                <a:gd name="connsiteX31" fmla="*/ 260100 w 460913"/>
                <a:gd name="connsiteY31" fmla="*/ 365288 h 479401"/>
                <a:gd name="connsiteX32" fmla="*/ 275401 w 460913"/>
                <a:gd name="connsiteY32" fmla="*/ 335326 h 479401"/>
                <a:gd name="connsiteX33" fmla="*/ 294526 w 460913"/>
                <a:gd name="connsiteY33" fmla="*/ 247988 h 479401"/>
                <a:gd name="connsiteX34" fmla="*/ 333413 w 460913"/>
                <a:gd name="connsiteY34" fmla="*/ 261376 h 479401"/>
                <a:gd name="connsiteX35" fmla="*/ 346163 w 460913"/>
                <a:gd name="connsiteY35" fmla="*/ 223763 h 479401"/>
                <a:gd name="connsiteX36" fmla="*/ 365926 w 460913"/>
                <a:gd name="connsiteY36" fmla="*/ 202088 h 479401"/>
                <a:gd name="connsiteX37" fmla="*/ 399076 w 460913"/>
                <a:gd name="connsiteY37" fmla="*/ 139613 h 479401"/>
                <a:gd name="connsiteX38" fmla="*/ 397801 w 460913"/>
                <a:gd name="connsiteY38" fmla="*/ 102638 h 479401"/>
                <a:gd name="connsiteX39" fmla="*/ 457089 w 460913"/>
                <a:gd name="connsiteY39" fmla="*/ 128138 h 479401"/>
                <a:gd name="connsiteX40" fmla="*/ 460913 w 460913"/>
                <a:gd name="connsiteY40" fmla="*/ 100725 h 479401"/>
                <a:gd name="connsiteX41" fmla="*/ 460913 w 460913"/>
                <a:gd name="connsiteY41" fmla="*/ 100088 h 479401"/>
                <a:gd name="connsiteX42" fmla="*/ 460913 w 460913"/>
                <a:gd name="connsiteY42" fmla="*/ 100088 h 479401"/>
                <a:gd name="connsiteX43" fmla="*/ 442426 w 460913"/>
                <a:gd name="connsiteY43" fmla="*/ 67575 h 479401"/>
                <a:gd name="connsiteX44" fmla="*/ 404176 w 460913"/>
                <a:gd name="connsiteY44" fmla="*/ 63113 h 479401"/>
                <a:gd name="connsiteX45" fmla="*/ 381863 w 460913"/>
                <a:gd name="connsiteY45" fmla="*/ 80325 h 479401"/>
                <a:gd name="connsiteX46" fmla="*/ 381863 w 460913"/>
                <a:gd name="connsiteY46" fmla="*/ 93075 h 479401"/>
                <a:gd name="connsiteX47" fmla="*/ 362738 w 460913"/>
                <a:gd name="connsiteY47" fmla="*/ 97538 h 479401"/>
                <a:gd name="connsiteX48" fmla="*/ 334051 w 460913"/>
                <a:gd name="connsiteY48" fmla="*/ 117300 h 479401"/>
                <a:gd name="connsiteX49" fmla="*/ 319388 w 460913"/>
                <a:gd name="connsiteY49" fmla="*/ 120488 h 479401"/>
                <a:gd name="connsiteX50" fmla="*/ 289426 w 460913"/>
                <a:gd name="connsiteY50" fmla="*/ 161925 h 479401"/>
                <a:gd name="connsiteX51" fmla="*/ 274763 w 460913"/>
                <a:gd name="connsiteY51" fmla="*/ 94350 h 479401"/>
                <a:gd name="connsiteX52" fmla="*/ 264563 w 460913"/>
                <a:gd name="connsiteY52" fmla="*/ 99450 h 479401"/>
                <a:gd name="connsiteX53" fmla="*/ 264563 w 460913"/>
                <a:gd name="connsiteY53" fmla="*/ 99450 h 47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0913" h="479401">
                  <a:moveTo>
                    <a:pt x="264563" y="99450"/>
                  </a:moveTo>
                  <a:lnTo>
                    <a:pt x="173400" y="121763"/>
                  </a:lnTo>
                  <a:lnTo>
                    <a:pt x="144713" y="0"/>
                  </a:lnTo>
                  <a:lnTo>
                    <a:pt x="144713" y="0"/>
                  </a:lnTo>
                  <a:lnTo>
                    <a:pt x="143438" y="638"/>
                  </a:lnTo>
                  <a:lnTo>
                    <a:pt x="140888" y="140888"/>
                  </a:lnTo>
                  <a:lnTo>
                    <a:pt x="120488" y="172125"/>
                  </a:lnTo>
                  <a:lnTo>
                    <a:pt x="96900" y="189975"/>
                  </a:lnTo>
                  <a:lnTo>
                    <a:pt x="92438" y="184875"/>
                  </a:lnTo>
                  <a:lnTo>
                    <a:pt x="65663" y="220575"/>
                  </a:lnTo>
                  <a:lnTo>
                    <a:pt x="67575" y="249263"/>
                  </a:lnTo>
                  <a:lnTo>
                    <a:pt x="51637" y="251813"/>
                  </a:lnTo>
                  <a:lnTo>
                    <a:pt x="29963" y="284963"/>
                  </a:lnTo>
                  <a:lnTo>
                    <a:pt x="37613" y="306638"/>
                  </a:lnTo>
                  <a:lnTo>
                    <a:pt x="27412" y="327676"/>
                  </a:lnTo>
                  <a:lnTo>
                    <a:pt x="0" y="341063"/>
                  </a:lnTo>
                  <a:lnTo>
                    <a:pt x="0" y="341063"/>
                  </a:lnTo>
                  <a:lnTo>
                    <a:pt x="0" y="342338"/>
                  </a:lnTo>
                  <a:lnTo>
                    <a:pt x="12750" y="387601"/>
                  </a:lnTo>
                  <a:lnTo>
                    <a:pt x="49088" y="432226"/>
                  </a:lnTo>
                  <a:lnTo>
                    <a:pt x="69488" y="443701"/>
                  </a:lnTo>
                  <a:lnTo>
                    <a:pt x="85425" y="443701"/>
                  </a:lnTo>
                  <a:lnTo>
                    <a:pt x="87338" y="444338"/>
                  </a:lnTo>
                  <a:lnTo>
                    <a:pt x="88613" y="444976"/>
                  </a:lnTo>
                  <a:lnTo>
                    <a:pt x="95625" y="464738"/>
                  </a:lnTo>
                  <a:lnTo>
                    <a:pt x="135788" y="479401"/>
                  </a:lnTo>
                  <a:lnTo>
                    <a:pt x="151725" y="465376"/>
                  </a:lnTo>
                  <a:lnTo>
                    <a:pt x="168300" y="462826"/>
                  </a:lnTo>
                  <a:lnTo>
                    <a:pt x="203363" y="434776"/>
                  </a:lnTo>
                  <a:lnTo>
                    <a:pt x="246075" y="422026"/>
                  </a:lnTo>
                  <a:lnTo>
                    <a:pt x="257551" y="403538"/>
                  </a:lnTo>
                  <a:lnTo>
                    <a:pt x="260100" y="365288"/>
                  </a:lnTo>
                  <a:lnTo>
                    <a:pt x="275401" y="335326"/>
                  </a:lnTo>
                  <a:lnTo>
                    <a:pt x="294526" y="247988"/>
                  </a:lnTo>
                  <a:lnTo>
                    <a:pt x="333413" y="261376"/>
                  </a:lnTo>
                  <a:lnTo>
                    <a:pt x="346163" y="223763"/>
                  </a:lnTo>
                  <a:lnTo>
                    <a:pt x="365926" y="202088"/>
                  </a:lnTo>
                  <a:lnTo>
                    <a:pt x="399076" y="139613"/>
                  </a:lnTo>
                  <a:lnTo>
                    <a:pt x="397801" y="102638"/>
                  </a:lnTo>
                  <a:lnTo>
                    <a:pt x="457089" y="128138"/>
                  </a:lnTo>
                  <a:lnTo>
                    <a:pt x="460913" y="100725"/>
                  </a:lnTo>
                  <a:lnTo>
                    <a:pt x="460913" y="100088"/>
                  </a:lnTo>
                  <a:lnTo>
                    <a:pt x="460913" y="100088"/>
                  </a:lnTo>
                  <a:lnTo>
                    <a:pt x="442426" y="67575"/>
                  </a:lnTo>
                  <a:lnTo>
                    <a:pt x="404176" y="63113"/>
                  </a:lnTo>
                  <a:lnTo>
                    <a:pt x="381863" y="80325"/>
                  </a:lnTo>
                  <a:lnTo>
                    <a:pt x="381863" y="93075"/>
                  </a:lnTo>
                  <a:lnTo>
                    <a:pt x="362738" y="97538"/>
                  </a:lnTo>
                  <a:lnTo>
                    <a:pt x="334051" y="117300"/>
                  </a:lnTo>
                  <a:lnTo>
                    <a:pt x="319388" y="120488"/>
                  </a:lnTo>
                  <a:lnTo>
                    <a:pt x="289426" y="161925"/>
                  </a:lnTo>
                  <a:lnTo>
                    <a:pt x="274763" y="94350"/>
                  </a:lnTo>
                  <a:lnTo>
                    <a:pt x="264563" y="99450"/>
                  </a:lnTo>
                  <a:lnTo>
                    <a:pt x="264563" y="994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59" name="Freeform 60">
              <a:extLst>
                <a:ext uri="{FF2B5EF4-FFF2-40B4-BE49-F238E27FC236}">
                  <a16:creationId xmlns:a16="http://schemas.microsoft.com/office/drawing/2014/main" id="{5F547795-1407-F273-7CFF-87E1AB5963C1}"/>
                </a:ext>
              </a:extLst>
            </p:cNvPr>
            <p:cNvSpPr/>
            <p:nvPr/>
          </p:nvSpPr>
          <p:spPr>
            <a:xfrm>
              <a:off x="6822731" y="2214661"/>
              <a:ext cx="120487" cy="183600"/>
            </a:xfrm>
            <a:custGeom>
              <a:avLst/>
              <a:gdLst>
                <a:gd name="connsiteX0" fmla="*/ 0 w 120487"/>
                <a:gd name="connsiteY0" fmla="*/ 21037 h 183600"/>
                <a:gd name="connsiteX1" fmla="*/ 2550 w 120487"/>
                <a:gd name="connsiteY1" fmla="*/ 31238 h 183600"/>
                <a:gd name="connsiteX2" fmla="*/ 56100 w 120487"/>
                <a:gd name="connsiteY2" fmla="*/ 183600 h 183600"/>
                <a:gd name="connsiteX3" fmla="*/ 116663 w 120487"/>
                <a:gd name="connsiteY3" fmla="*/ 165750 h 183600"/>
                <a:gd name="connsiteX4" fmla="*/ 116025 w 120487"/>
                <a:gd name="connsiteY4" fmla="*/ 164475 h 183600"/>
                <a:gd name="connsiteX5" fmla="*/ 117300 w 120487"/>
                <a:gd name="connsiteY5" fmla="*/ 164475 h 183600"/>
                <a:gd name="connsiteX6" fmla="*/ 119213 w 120487"/>
                <a:gd name="connsiteY6" fmla="*/ 165113 h 183600"/>
                <a:gd name="connsiteX7" fmla="*/ 119213 w 120487"/>
                <a:gd name="connsiteY7" fmla="*/ 165113 h 183600"/>
                <a:gd name="connsiteX8" fmla="*/ 120488 w 120487"/>
                <a:gd name="connsiteY8" fmla="*/ 164475 h 183600"/>
                <a:gd name="connsiteX9" fmla="*/ 119213 w 120487"/>
                <a:gd name="connsiteY9" fmla="*/ 161925 h 183600"/>
                <a:gd name="connsiteX10" fmla="*/ 103913 w 120487"/>
                <a:gd name="connsiteY10" fmla="*/ 121125 h 183600"/>
                <a:gd name="connsiteX11" fmla="*/ 28688 w 120487"/>
                <a:gd name="connsiteY11" fmla="*/ 49725 h 183600"/>
                <a:gd name="connsiteX12" fmla="*/ 31875 w 120487"/>
                <a:gd name="connsiteY12" fmla="*/ 0 h 183600"/>
                <a:gd name="connsiteX13" fmla="*/ 31875 w 120487"/>
                <a:gd name="connsiteY13" fmla="*/ 0 h 183600"/>
                <a:gd name="connsiteX14" fmla="*/ 16575 w 120487"/>
                <a:gd name="connsiteY14" fmla="*/ 0 h 183600"/>
                <a:gd name="connsiteX15" fmla="*/ 5100 w 120487"/>
                <a:gd name="connsiteY15" fmla="*/ 9563 h 183600"/>
                <a:gd name="connsiteX16" fmla="*/ 0 w 120487"/>
                <a:gd name="connsiteY16" fmla="*/ 21037 h 183600"/>
                <a:gd name="connsiteX17" fmla="*/ 0 w 120487"/>
                <a:gd name="connsiteY17" fmla="*/ 21037 h 183600"/>
                <a:gd name="connsiteX18" fmla="*/ 0 w 120487"/>
                <a:gd name="connsiteY18" fmla="*/ 21037 h 18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487" h="183600">
                  <a:moveTo>
                    <a:pt x="0" y="21037"/>
                  </a:moveTo>
                  <a:lnTo>
                    <a:pt x="2550" y="31238"/>
                  </a:lnTo>
                  <a:lnTo>
                    <a:pt x="56100" y="183600"/>
                  </a:lnTo>
                  <a:lnTo>
                    <a:pt x="116663" y="165750"/>
                  </a:lnTo>
                  <a:lnTo>
                    <a:pt x="116025" y="164475"/>
                  </a:lnTo>
                  <a:lnTo>
                    <a:pt x="117300" y="164475"/>
                  </a:lnTo>
                  <a:lnTo>
                    <a:pt x="119213" y="165113"/>
                  </a:lnTo>
                  <a:lnTo>
                    <a:pt x="119213" y="165113"/>
                  </a:lnTo>
                  <a:lnTo>
                    <a:pt x="120488" y="164475"/>
                  </a:lnTo>
                  <a:lnTo>
                    <a:pt x="119213" y="161925"/>
                  </a:lnTo>
                  <a:lnTo>
                    <a:pt x="103913" y="121125"/>
                  </a:lnTo>
                  <a:lnTo>
                    <a:pt x="28688" y="49725"/>
                  </a:lnTo>
                  <a:lnTo>
                    <a:pt x="31875" y="0"/>
                  </a:lnTo>
                  <a:lnTo>
                    <a:pt x="31875" y="0"/>
                  </a:lnTo>
                  <a:lnTo>
                    <a:pt x="16575" y="0"/>
                  </a:lnTo>
                  <a:lnTo>
                    <a:pt x="5100" y="9563"/>
                  </a:lnTo>
                  <a:lnTo>
                    <a:pt x="0" y="21037"/>
                  </a:lnTo>
                  <a:lnTo>
                    <a:pt x="0" y="21037"/>
                  </a:lnTo>
                  <a:lnTo>
                    <a:pt x="0" y="21037"/>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60" name="Freeform 61">
              <a:extLst>
                <a:ext uri="{FF2B5EF4-FFF2-40B4-BE49-F238E27FC236}">
                  <a16:creationId xmlns:a16="http://schemas.microsoft.com/office/drawing/2014/main" id="{C9CCFDCA-1083-97B0-0680-55360E2BB470}"/>
                </a:ext>
              </a:extLst>
            </p:cNvPr>
            <p:cNvSpPr/>
            <p:nvPr/>
          </p:nvSpPr>
          <p:spPr>
            <a:xfrm>
              <a:off x="6719456" y="2371486"/>
              <a:ext cx="22312" cy="20400"/>
            </a:xfrm>
            <a:custGeom>
              <a:avLst/>
              <a:gdLst>
                <a:gd name="connsiteX0" fmla="*/ 0 w 22312"/>
                <a:gd name="connsiteY0" fmla="*/ 5738 h 20400"/>
                <a:gd name="connsiteX1" fmla="*/ 3188 w 22312"/>
                <a:gd name="connsiteY1" fmla="*/ 8288 h 20400"/>
                <a:gd name="connsiteX2" fmla="*/ 4463 w 22312"/>
                <a:gd name="connsiteY2" fmla="*/ 8925 h 20400"/>
                <a:gd name="connsiteX3" fmla="*/ 5738 w 22312"/>
                <a:gd name="connsiteY3" fmla="*/ 8288 h 20400"/>
                <a:gd name="connsiteX4" fmla="*/ 7013 w 22312"/>
                <a:gd name="connsiteY4" fmla="*/ 8925 h 20400"/>
                <a:gd name="connsiteX5" fmla="*/ 11475 w 22312"/>
                <a:gd name="connsiteY5" fmla="*/ 11475 h 20400"/>
                <a:gd name="connsiteX6" fmla="*/ 12750 w 22312"/>
                <a:gd name="connsiteY6" fmla="*/ 13388 h 20400"/>
                <a:gd name="connsiteX7" fmla="*/ 12750 w 22312"/>
                <a:gd name="connsiteY7" fmla="*/ 17850 h 20400"/>
                <a:gd name="connsiteX8" fmla="*/ 14025 w 22312"/>
                <a:gd name="connsiteY8" fmla="*/ 20400 h 20400"/>
                <a:gd name="connsiteX9" fmla="*/ 22313 w 22312"/>
                <a:gd name="connsiteY9" fmla="*/ 5100 h 20400"/>
                <a:gd name="connsiteX10" fmla="*/ 12750 w 22312"/>
                <a:gd name="connsiteY10" fmla="*/ 0 h 20400"/>
                <a:gd name="connsiteX11" fmla="*/ 1275 w 22312"/>
                <a:gd name="connsiteY11" fmla="*/ 638 h 20400"/>
                <a:gd name="connsiteX12" fmla="*/ 0 w 22312"/>
                <a:gd name="connsiteY12" fmla="*/ 5738 h 20400"/>
                <a:gd name="connsiteX13" fmla="*/ 0 w 22312"/>
                <a:gd name="connsiteY13" fmla="*/ 5738 h 2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12" h="20400">
                  <a:moveTo>
                    <a:pt x="0" y="5738"/>
                  </a:moveTo>
                  <a:lnTo>
                    <a:pt x="3188" y="8288"/>
                  </a:lnTo>
                  <a:lnTo>
                    <a:pt x="4463" y="8925"/>
                  </a:lnTo>
                  <a:lnTo>
                    <a:pt x="5738" y="8288"/>
                  </a:lnTo>
                  <a:lnTo>
                    <a:pt x="7013" y="8925"/>
                  </a:lnTo>
                  <a:lnTo>
                    <a:pt x="11475" y="11475"/>
                  </a:lnTo>
                  <a:lnTo>
                    <a:pt x="12750" y="13388"/>
                  </a:lnTo>
                  <a:lnTo>
                    <a:pt x="12750" y="17850"/>
                  </a:lnTo>
                  <a:lnTo>
                    <a:pt x="14025" y="20400"/>
                  </a:lnTo>
                  <a:lnTo>
                    <a:pt x="22313" y="5100"/>
                  </a:lnTo>
                  <a:lnTo>
                    <a:pt x="12750" y="0"/>
                  </a:lnTo>
                  <a:lnTo>
                    <a:pt x="1275" y="638"/>
                  </a:lnTo>
                  <a:lnTo>
                    <a:pt x="0" y="5738"/>
                  </a:lnTo>
                  <a:lnTo>
                    <a:pt x="0" y="5738"/>
                  </a:lnTo>
                  <a:close/>
                </a:path>
              </a:pathLst>
            </a:custGeom>
            <a:solidFill>
              <a:srgbClr val="D8D8D8"/>
            </a:solidFill>
            <a:ln w="6372" cap="flat">
              <a:solidFill>
                <a:schemeClr val="bg1">
                  <a:lumMod val="95000"/>
                </a:schemeClr>
              </a:solidFill>
              <a:prstDash val="solid"/>
              <a:miter/>
            </a:ln>
          </p:spPr>
          <p:txBody>
            <a:bodyPr rtlCol="0" anchor="ctr"/>
            <a:lstStyle/>
            <a:p>
              <a:endParaRPr lang="en-KR" sz="1350"/>
            </a:p>
          </p:txBody>
        </p:sp>
        <p:sp>
          <p:nvSpPr>
            <p:cNvPr id="161" name="Freeform 62">
              <a:extLst>
                <a:ext uri="{FF2B5EF4-FFF2-40B4-BE49-F238E27FC236}">
                  <a16:creationId xmlns:a16="http://schemas.microsoft.com/office/drawing/2014/main" id="{AAEF4265-61ED-3D1B-243B-02A2B6A7AEF5}"/>
                </a:ext>
              </a:extLst>
            </p:cNvPr>
            <p:cNvSpPr/>
            <p:nvPr/>
          </p:nvSpPr>
          <p:spPr>
            <a:xfrm>
              <a:off x="6458080" y="2235698"/>
              <a:ext cx="486413" cy="235237"/>
            </a:xfrm>
            <a:custGeom>
              <a:avLst/>
              <a:gdLst>
                <a:gd name="connsiteX0" fmla="*/ 481951 w 486413"/>
                <a:gd name="connsiteY0" fmla="*/ 202088 h 235237"/>
                <a:gd name="connsiteX1" fmla="*/ 486414 w 486413"/>
                <a:gd name="connsiteY1" fmla="*/ 167663 h 235237"/>
                <a:gd name="connsiteX2" fmla="*/ 482589 w 486413"/>
                <a:gd name="connsiteY2" fmla="*/ 193163 h 235237"/>
                <a:gd name="connsiteX3" fmla="*/ 480039 w 486413"/>
                <a:gd name="connsiteY3" fmla="*/ 204638 h 235237"/>
                <a:gd name="connsiteX4" fmla="*/ 479401 w 486413"/>
                <a:gd name="connsiteY4" fmla="*/ 205913 h 235237"/>
                <a:gd name="connsiteX5" fmla="*/ 481313 w 486413"/>
                <a:gd name="connsiteY5" fmla="*/ 205275 h 235237"/>
                <a:gd name="connsiteX6" fmla="*/ 481951 w 486413"/>
                <a:gd name="connsiteY6" fmla="*/ 202088 h 235237"/>
                <a:gd name="connsiteX7" fmla="*/ 481951 w 486413"/>
                <a:gd name="connsiteY7" fmla="*/ 202088 h 235237"/>
                <a:gd name="connsiteX8" fmla="*/ 485139 w 486413"/>
                <a:gd name="connsiteY8" fmla="*/ 142163 h 235237"/>
                <a:gd name="connsiteX9" fmla="*/ 483864 w 486413"/>
                <a:gd name="connsiteY9" fmla="*/ 142800 h 235237"/>
                <a:gd name="connsiteX10" fmla="*/ 485139 w 486413"/>
                <a:gd name="connsiteY10" fmla="*/ 146625 h 235237"/>
                <a:gd name="connsiteX11" fmla="*/ 485139 w 486413"/>
                <a:gd name="connsiteY11" fmla="*/ 154275 h 235237"/>
                <a:gd name="connsiteX12" fmla="*/ 485139 w 486413"/>
                <a:gd name="connsiteY12" fmla="*/ 142163 h 235237"/>
                <a:gd name="connsiteX13" fmla="*/ 485139 w 486413"/>
                <a:gd name="connsiteY13" fmla="*/ 142163 h 235237"/>
                <a:gd name="connsiteX14" fmla="*/ 485139 w 486413"/>
                <a:gd name="connsiteY14" fmla="*/ 142163 h 235237"/>
                <a:gd name="connsiteX15" fmla="*/ 0 w 486413"/>
                <a:gd name="connsiteY15" fmla="*/ 102638 h 235237"/>
                <a:gd name="connsiteX16" fmla="*/ 14663 w 486413"/>
                <a:gd name="connsiteY16" fmla="*/ 170213 h 235237"/>
                <a:gd name="connsiteX17" fmla="*/ 44625 w 486413"/>
                <a:gd name="connsiteY17" fmla="*/ 128775 h 235237"/>
                <a:gd name="connsiteX18" fmla="*/ 59288 w 486413"/>
                <a:gd name="connsiteY18" fmla="*/ 125588 h 235237"/>
                <a:gd name="connsiteX19" fmla="*/ 87975 w 486413"/>
                <a:gd name="connsiteY19" fmla="*/ 105825 h 235237"/>
                <a:gd name="connsiteX20" fmla="*/ 107101 w 486413"/>
                <a:gd name="connsiteY20" fmla="*/ 101363 h 235237"/>
                <a:gd name="connsiteX21" fmla="*/ 107101 w 486413"/>
                <a:gd name="connsiteY21" fmla="*/ 88613 h 235237"/>
                <a:gd name="connsiteX22" fmla="*/ 129413 w 486413"/>
                <a:gd name="connsiteY22" fmla="*/ 71400 h 235237"/>
                <a:gd name="connsiteX23" fmla="*/ 167663 w 486413"/>
                <a:gd name="connsiteY23" fmla="*/ 75863 h 235237"/>
                <a:gd name="connsiteX24" fmla="*/ 186150 w 486413"/>
                <a:gd name="connsiteY24" fmla="*/ 108375 h 235237"/>
                <a:gd name="connsiteX25" fmla="*/ 186150 w 486413"/>
                <a:gd name="connsiteY25" fmla="*/ 108375 h 235237"/>
                <a:gd name="connsiteX26" fmla="*/ 188063 w 486413"/>
                <a:gd name="connsiteY26" fmla="*/ 109013 h 235237"/>
                <a:gd name="connsiteX27" fmla="*/ 218026 w 486413"/>
                <a:gd name="connsiteY27" fmla="*/ 116663 h 235237"/>
                <a:gd name="connsiteX28" fmla="*/ 239063 w 486413"/>
                <a:gd name="connsiteY28" fmla="*/ 131963 h 235237"/>
                <a:gd name="connsiteX29" fmla="*/ 259463 w 486413"/>
                <a:gd name="connsiteY29" fmla="*/ 141525 h 235237"/>
                <a:gd name="connsiteX30" fmla="*/ 261376 w 486413"/>
                <a:gd name="connsiteY30" fmla="*/ 143438 h 235237"/>
                <a:gd name="connsiteX31" fmla="*/ 263926 w 486413"/>
                <a:gd name="connsiteY31" fmla="*/ 138338 h 235237"/>
                <a:gd name="connsiteX32" fmla="*/ 275401 w 486413"/>
                <a:gd name="connsiteY32" fmla="*/ 137700 h 235237"/>
                <a:gd name="connsiteX33" fmla="*/ 284963 w 486413"/>
                <a:gd name="connsiteY33" fmla="*/ 142800 h 235237"/>
                <a:gd name="connsiteX34" fmla="*/ 276676 w 486413"/>
                <a:gd name="connsiteY34" fmla="*/ 158100 h 235237"/>
                <a:gd name="connsiteX35" fmla="*/ 276676 w 486413"/>
                <a:gd name="connsiteY35" fmla="*/ 158738 h 235237"/>
                <a:gd name="connsiteX36" fmla="*/ 264563 w 486413"/>
                <a:gd name="connsiteY36" fmla="*/ 195713 h 235237"/>
                <a:gd name="connsiteX37" fmla="*/ 304088 w 486413"/>
                <a:gd name="connsiteY37" fmla="*/ 221213 h 235237"/>
                <a:gd name="connsiteX38" fmla="*/ 343613 w 486413"/>
                <a:gd name="connsiteY38" fmla="*/ 223125 h 235237"/>
                <a:gd name="connsiteX39" fmla="*/ 370388 w 486413"/>
                <a:gd name="connsiteY39" fmla="*/ 235238 h 235237"/>
                <a:gd name="connsiteX40" fmla="*/ 358914 w 486413"/>
                <a:gd name="connsiteY40" fmla="*/ 204000 h 235237"/>
                <a:gd name="connsiteX41" fmla="*/ 325126 w 486413"/>
                <a:gd name="connsiteY41" fmla="*/ 192525 h 235237"/>
                <a:gd name="connsiteX42" fmla="*/ 316838 w 486413"/>
                <a:gd name="connsiteY42" fmla="*/ 165750 h 235237"/>
                <a:gd name="connsiteX43" fmla="*/ 337876 w 486413"/>
                <a:gd name="connsiteY43" fmla="*/ 194438 h 235237"/>
                <a:gd name="connsiteX44" fmla="*/ 355088 w 486413"/>
                <a:gd name="connsiteY44" fmla="*/ 196988 h 235237"/>
                <a:gd name="connsiteX45" fmla="*/ 339789 w 486413"/>
                <a:gd name="connsiteY45" fmla="*/ 181688 h 235237"/>
                <a:gd name="connsiteX46" fmla="*/ 327676 w 486413"/>
                <a:gd name="connsiteY46" fmla="*/ 135788 h 235237"/>
                <a:gd name="connsiteX47" fmla="*/ 330863 w 486413"/>
                <a:gd name="connsiteY47" fmla="*/ 109013 h 235237"/>
                <a:gd name="connsiteX48" fmla="*/ 317476 w 486413"/>
                <a:gd name="connsiteY48" fmla="*/ 79688 h 235237"/>
                <a:gd name="connsiteX49" fmla="*/ 331501 w 486413"/>
                <a:gd name="connsiteY49" fmla="*/ 68213 h 235237"/>
                <a:gd name="connsiteX50" fmla="*/ 342338 w 486413"/>
                <a:gd name="connsiteY50" fmla="*/ 31238 h 235237"/>
                <a:gd name="connsiteX51" fmla="*/ 338513 w 486413"/>
                <a:gd name="connsiteY51" fmla="*/ 86063 h 235237"/>
                <a:gd name="connsiteX52" fmla="*/ 349988 w 486413"/>
                <a:gd name="connsiteY52" fmla="*/ 104550 h 235237"/>
                <a:gd name="connsiteX53" fmla="*/ 360826 w 486413"/>
                <a:gd name="connsiteY53" fmla="*/ 82875 h 235237"/>
                <a:gd name="connsiteX54" fmla="*/ 366563 w 486413"/>
                <a:gd name="connsiteY54" fmla="*/ 118575 h 235237"/>
                <a:gd name="connsiteX55" fmla="*/ 355088 w 486413"/>
                <a:gd name="connsiteY55" fmla="*/ 145350 h 235237"/>
                <a:gd name="connsiteX56" fmla="*/ 386963 w 486413"/>
                <a:gd name="connsiteY56" fmla="*/ 156825 h 235237"/>
                <a:gd name="connsiteX57" fmla="*/ 359551 w 486413"/>
                <a:gd name="connsiteY57" fmla="*/ 166388 h 235237"/>
                <a:gd name="connsiteX58" fmla="*/ 373576 w 486413"/>
                <a:gd name="connsiteY58" fmla="*/ 193163 h 235237"/>
                <a:gd name="connsiteX59" fmla="*/ 396526 w 486413"/>
                <a:gd name="connsiteY59" fmla="*/ 200813 h 235237"/>
                <a:gd name="connsiteX60" fmla="*/ 409276 w 486413"/>
                <a:gd name="connsiteY60" fmla="*/ 178500 h 235237"/>
                <a:gd name="connsiteX61" fmla="*/ 408001 w 486413"/>
                <a:gd name="connsiteY61" fmla="*/ 210375 h 235237"/>
                <a:gd name="connsiteX62" fmla="*/ 429676 w 486413"/>
                <a:gd name="connsiteY62" fmla="*/ 209738 h 235237"/>
                <a:gd name="connsiteX63" fmla="*/ 443701 w 486413"/>
                <a:gd name="connsiteY63" fmla="*/ 225675 h 235237"/>
                <a:gd name="connsiteX64" fmla="*/ 444338 w 486413"/>
                <a:gd name="connsiteY64" fmla="*/ 225675 h 235237"/>
                <a:gd name="connsiteX65" fmla="*/ 448801 w 486413"/>
                <a:gd name="connsiteY65" fmla="*/ 219938 h 235237"/>
                <a:gd name="connsiteX66" fmla="*/ 461551 w 486413"/>
                <a:gd name="connsiteY66" fmla="*/ 214200 h 235237"/>
                <a:gd name="connsiteX67" fmla="*/ 469839 w 486413"/>
                <a:gd name="connsiteY67" fmla="*/ 211013 h 235237"/>
                <a:gd name="connsiteX68" fmla="*/ 469201 w 486413"/>
                <a:gd name="connsiteY68" fmla="*/ 209738 h 235237"/>
                <a:gd name="connsiteX69" fmla="*/ 485776 w 486413"/>
                <a:gd name="connsiteY69" fmla="*/ 160013 h 235237"/>
                <a:gd name="connsiteX70" fmla="*/ 485776 w 486413"/>
                <a:gd name="connsiteY70" fmla="*/ 158100 h 235237"/>
                <a:gd name="connsiteX71" fmla="*/ 482589 w 486413"/>
                <a:gd name="connsiteY71" fmla="*/ 145350 h 235237"/>
                <a:gd name="connsiteX72" fmla="*/ 482589 w 486413"/>
                <a:gd name="connsiteY72" fmla="*/ 144713 h 235237"/>
                <a:gd name="connsiteX73" fmla="*/ 422026 w 486413"/>
                <a:gd name="connsiteY73" fmla="*/ 162563 h 235237"/>
                <a:gd name="connsiteX74" fmla="*/ 368476 w 486413"/>
                <a:gd name="connsiteY74" fmla="*/ 10200 h 235237"/>
                <a:gd name="connsiteX75" fmla="*/ 365926 w 486413"/>
                <a:gd name="connsiteY75" fmla="*/ 0 h 235237"/>
                <a:gd name="connsiteX76" fmla="*/ 354451 w 486413"/>
                <a:gd name="connsiteY76" fmla="*/ 3188 h 235237"/>
                <a:gd name="connsiteX77" fmla="*/ 308551 w 486413"/>
                <a:gd name="connsiteY77" fmla="*/ 17213 h 235237"/>
                <a:gd name="connsiteX78" fmla="*/ 57375 w 486413"/>
                <a:gd name="connsiteY78" fmla="*/ 87338 h 235237"/>
                <a:gd name="connsiteX79" fmla="*/ 11475 w 486413"/>
                <a:gd name="connsiteY79" fmla="*/ 99450 h 235237"/>
                <a:gd name="connsiteX80" fmla="*/ 0 w 486413"/>
                <a:gd name="connsiteY80" fmla="*/ 102638 h 235237"/>
                <a:gd name="connsiteX81" fmla="*/ 0 w 486413"/>
                <a:gd name="connsiteY81" fmla="*/ 102638 h 23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6413" h="235237">
                  <a:moveTo>
                    <a:pt x="481951" y="202088"/>
                  </a:moveTo>
                  <a:lnTo>
                    <a:pt x="486414" y="167663"/>
                  </a:lnTo>
                  <a:lnTo>
                    <a:pt x="482589" y="193163"/>
                  </a:lnTo>
                  <a:lnTo>
                    <a:pt x="480039" y="204638"/>
                  </a:lnTo>
                  <a:lnTo>
                    <a:pt x="479401" y="205913"/>
                  </a:lnTo>
                  <a:lnTo>
                    <a:pt x="481313" y="205275"/>
                  </a:lnTo>
                  <a:lnTo>
                    <a:pt x="481951" y="202088"/>
                  </a:lnTo>
                  <a:lnTo>
                    <a:pt x="481951" y="202088"/>
                  </a:lnTo>
                  <a:close/>
                  <a:moveTo>
                    <a:pt x="485139" y="142163"/>
                  </a:moveTo>
                  <a:lnTo>
                    <a:pt x="483864" y="142800"/>
                  </a:lnTo>
                  <a:lnTo>
                    <a:pt x="485139" y="146625"/>
                  </a:lnTo>
                  <a:lnTo>
                    <a:pt x="485139" y="154275"/>
                  </a:lnTo>
                  <a:lnTo>
                    <a:pt x="485139" y="142163"/>
                  </a:lnTo>
                  <a:lnTo>
                    <a:pt x="485139" y="142163"/>
                  </a:lnTo>
                  <a:lnTo>
                    <a:pt x="485139" y="142163"/>
                  </a:lnTo>
                  <a:close/>
                  <a:moveTo>
                    <a:pt x="0" y="102638"/>
                  </a:moveTo>
                  <a:lnTo>
                    <a:pt x="14663" y="170213"/>
                  </a:lnTo>
                  <a:lnTo>
                    <a:pt x="44625" y="128775"/>
                  </a:lnTo>
                  <a:lnTo>
                    <a:pt x="59288" y="125588"/>
                  </a:lnTo>
                  <a:lnTo>
                    <a:pt x="87975" y="105825"/>
                  </a:lnTo>
                  <a:lnTo>
                    <a:pt x="107101" y="101363"/>
                  </a:lnTo>
                  <a:lnTo>
                    <a:pt x="107101" y="88613"/>
                  </a:lnTo>
                  <a:lnTo>
                    <a:pt x="129413" y="71400"/>
                  </a:lnTo>
                  <a:lnTo>
                    <a:pt x="167663" y="75863"/>
                  </a:lnTo>
                  <a:lnTo>
                    <a:pt x="186150" y="108375"/>
                  </a:lnTo>
                  <a:lnTo>
                    <a:pt x="186150" y="108375"/>
                  </a:lnTo>
                  <a:lnTo>
                    <a:pt x="188063" y="109013"/>
                  </a:lnTo>
                  <a:lnTo>
                    <a:pt x="218026" y="116663"/>
                  </a:lnTo>
                  <a:lnTo>
                    <a:pt x="239063" y="131963"/>
                  </a:lnTo>
                  <a:lnTo>
                    <a:pt x="259463" y="141525"/>
                  </a:lnTo>
                  <a:lnTo>
                    <a:pt x="261376" y="143438"/>
                  </a:lnTo>
                  <a:lnTo>
                    <a:pt x="263926" y="138338"/>
                  </a:lnTo>
                  <a:lnTo>
                    <a:pt x="275401" y="137700"/>
                  </a:lnTo>
                  <a:lnTo>
                    <a:pt x="284963" y="142800"/>
                  </a:lnTo>
                  <a:lnTo>
                    <a:pt x="276676" y="158100"/>
                  </a:lnTo>
                  <a:lnTo>
                    <a:pt x="276676" y="158738"/>
                  </a:lnTo>
                  <a:lnTo>
                    <a:pt x="264563" y="195713"/>
                  </a:lnTo>
                  <a:lnTo>
                    <a:pt x="304088" y="221213"/>
                  </a:lnTo>
                  <a:lnTo>
                    <a:pt x="343613" y="223125"/>
                  </a:lnTo>
                  <a:lnTo>
                    <a:pt x="370388" y="235238"/>
                  </a:lnTo>
                  <a:lnTo>
                    <a:pt x="358914" y="204000"/>
                  </a:lnTo>
                  <a:lnTo>
                    <a:pt x="325126" y="192525"/>
                  </a:lnTo>
                  <a:lnTo>
                    <a:pt x="316838" y="165750"/>
                  </a:lnTo>
                  <a:lnTo>
                    <a:pt x="337876" y="194438"/>
                  </a:lnTo>
                  <a:lnTo>
                    <a:pt x="355088" y="196988"/>
                  </a:lnTo>
                  <a:lnTo>
                    <a:pt x="339789" y="181688"/>
                  </a:lnTo>
                  <a:lnTo>
                    <a:pt x="327676" y="135788"/>
                  </a:lnTo>
                  <a:lnTo>
                    <a:pt x="330863" y="109013"/>
                  </a:lnTo>
                  <a:lnTo>
                    <a:pt x="317476" y="79688"/>
                  </a:lnTo>
                  <a:lnTo>
                    <a:pt x="331501" y="68213"/>
                  </a:lnTo>
                  <a:lnTo>
                    <a:pt x="342338" y="31238"/>
                  </a:lnTo>
                  <a:lnTo>
                    <a:pt x="338513" y="86063"/>
                  </a:lnTo>
                  <a:lnTo>
                    <a:pt x="349988" y="104550"/>
                  </a:lnTo>
                  <a:lnTo>
                    <a:pt x="360826" y="82875"/>
                  </a:lnTo>
                  <a:lnTo>
                    <a:pt x="366563" y="118575"/>
                  </a:lnTo>
                  <a:lnTo>
                    <a:pt x="355088" y="145350"/>
                  </a:lnTo>
                  <a:lnTo>
                    <a:pt x="386963" y="156825"/>
                  </a:lnTo>
                  <a:lnTo>
                    <a:pt x="359551" y="166388"/>
                  </a:lnTo>
                  <a:lnTo>
                    <a:pt x="373576" y="193163"/>
                  </a:lnTo>
                  <a:lnTo>
                    <a:pt x="396526" y="200813"/>
                  </a:lnTo>
                  <a:lnTo>
                    <a:pt x="409276" y="178500"/>
                  </a:lnTo>
                  <a:lnTo>
                    <a:pt x="408001" y="210375"/>
                  </a:lnTo>
                  <a:lnTo>
                    <a:pt x="429676" y="209738"/>
                  </a:lnTo>
                  <a:lnTo>
                    <a:pt x="443701" y="225675"/>
                  </a:lnTo>
                  <a:lnTo>
                    <a:pt x="444338" y="225675"/>
                  </a:lnTo>
                  <a:lnTo>
                    <a:pt x="448801" y="219938"/>
                  </a:lnTo>
                  <a:lnTo>
                    <a:pt x="461551" y="214200"/>
                  </a:lnTo>
                  <a:lnTo>
                    <a:pt x="469839" y="211013"/>
                  </a:lnTo>
                  <a:lnTo>
                    <a:pt x="469201" y="209738"/>
                  </a:lnTo>
                  <a:lnTo>
                    <a:pt x="485776" y="160013"/>
                  </a:lnTo>
                  <a:lnTo>
                    <a:pt x="485776" y="158100"/>
                  </a:lnTo>
                  <a:lnTo>
                    <a:pt x="482589" y="145350"/>
                  </a:lnTo>
                  <a:lnTo>
                    <a:pt x="482589" y="144713"/>
                  </a:lnTo>
                  <a:lnTo>
                    <a:pt x="422026" y="162563"/>
                  </a:lnTo>
                  <a:lnTo>
                    <a:pt x="368476" y="10200"/>
                  </a:lnTo>
                  <a:lnTo>
                    <a:pt x="365926" y="0"/>
                  </a:lnTo>
                  <a:lnTo>
                    <a:pt x="354451" y="3188"/>
                  </a:lnTo>
                  <a:lnTo>
                    <a:pt x="308551" y="17213"/>
                  </a:lnTo>
                  <a:lnTo>
                    <a:pt x="57375" y="87338"/>
                  </a:lnTo>
                  <a:lnTo>
                    <a:pt x="11475" y="99450"/>
                  </a:lnTo>
                  <a:lnTo>
                    <a:pt x="0" y="102638"/>
                  </a:lnTo>
                  <a:lnTo>
                    <a:pt x="0" y="102638"/>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62" name="Freeform 63">
              <a:extLst>
                <a:ext uri="{FF2B5EF4-FFF2-40B4-BE49-F238E27FC236}">
                  <a16:creationId xmlns:a16="http://schemas.microsoft.com/office/drawing/2014/main" id="{6F7CD712-2C56-A8CC-2EEC-3DE306A56140}"/>
                </a:ext>
              </a:extLst>
            </p:cNvPr>
            <p:cNvSpPr/>
            <p:nvPr/>
          </p:nvSpPr>
          <p:spPr>
            <a:xfrm>
              <a:off x="6836756" y="1989623"/>
              <a:ext cx="146625" cy="322575"/>
            </a:xfrm>
            <a:custGeom>
              <a:avLst/>
              <a:gdLst>
                <a:gd name="connsiteX0" fmla="*/ 137700 w 146625"/>
                <a:gd name="connsiteY0" fmla="*/ 242888 h 322575"/>
                <a:gd name="connsiteX1" fmla="*/ 134513 w 146625"/>
                <a:gd name="connsiteY1" fmla="*/ 235238 h 322575"/>
                <a:gd name="connsiteX2" fmla="*/ 134513 w 146625"/>
                <a:gd name="connsiteY2" fmla="*/ 242888 h 322575"/>
                <a:gd name="connsiteX3" fmla="*/ 137700 w 146625"/>
                <a:gd name="connsiteY3" fmla="*/ 242888 h 322575"/>
                <a:gd name="connsiteX4" fmla="*/ 144713 w 146625"/>
                <a:gd name="connsiteY4" fmla="*/ 219300 h 322575"/>
                <a:gd name="connsiteX5" fmla="*/ 146625 w 146625"/>
                <a:gd name="connsiteY5" fmla="*/ 200175 h 322575"/>
                <a:gd name="connsiteX6" fmla="*/ 142800 w 146625"/>
                <a:gd name="connsiteY6" fmla="*/ 216750 h 322575"/>
                <a:gd name="connsiteX7" fmla="*/ 144713 w 146625"/>
                <a:gd name="connsiteY7" fmla="*/ 219300 h 322575"/>
                <a:gd name="connsiteX8" fmla="*/ 144713 w 146625"/>
                <a:gd name="connsiteY8" fmla="*/ 219300 h 322575"/>
                <a:gd name="connsiteX9" fmla="*/ 117938 w 146625"/>
                <a:gd name="connsiteY9" fmla="*/ 22313 h 322575"/>
                <a:gd name="connsiteX10" fmla="*/ 50363 w 146625"/>
                <a:gd name="connsiteY10" fmla="*/ 5737 h 322575"/>
                <a:gd name="connsiteX11" fmla="*/ 38887 w 146625"/>
                <a:gd name="connsiteY11" fmla="*/ 2550 h 322575"/>
                <a:gd name="connsiteX12" fmla="*/ 27412 w 146625"/>
                <a:gd name="connsiteY12" fmla="*/ 0 h 322575"/>
                <a:gd name="connsiteX13" fmla="*/ 27412 w 146625"/>
                <a:gd name="connsiteY13" fmla="*/ 0 h 322575"/>
                <a:gd name="connsiteX14" fmla="*/ 0 w 146625"/>
                <a:gd name="connsiteY14" fmla="*/ 59288 h 322575"/>
                <a:gd name="connsiteX15" fmla="*/ 11475 w 146625"/>
                <a:gd name="connsiteY15" fmla="*/ 73313 h 322575"/>
                <a:gd name="connsiteX16" fmla="*/ 10838 w 146625"/>
                <a:gd name="connsiteY16" fmla="*/ 116025 h 322575"/>
                <a:gd name="connsiteX17" fmla="*/ 22950 w 146625"/>
                <a:gd name="connsiteY17" fmla="*/ 117938 h 322575"/>
                <a:gd name="connsiteX18" fmla="*/ 47813 w 146625"/>
                <a:gd name="connsiteY18" fmla="*/ 183600 h 322575"/>
                <a:gd name="connsiteX19" fmla="*/ 46538 w 146625"/>
                <a:gd name="connsiteY19" fmla="*/ 185513 h 322575"/>
                <a:gd name="connsiteX20" fmla="*/ 14662 w 146625"/>
                <a:gd name="connsiteY20" fmla="*/ 232050 h 322575"/>
                <a:gd name="connsiteX21" fmla="*/ 17850 w 146625"/>
                <a:gd name="connsiteY21" fmla="*/ 267113 h 322575"/>
                <a:gd name="connsiteX22" fmla="*/ 93713 w 146625"/>
                <a:gd name="connsiteY22" fmla="*/ 292613 h 322575"/>
                <a:gd name="connsiteX23" fmla="*/ 94350 w 146625"/>
                <a:gd name="connsiteY23" fmla="*/ 322576 h 322575"/>
                <a:gd name="connsiteX24" fmla="*/ 111563 w 146625"/>
                <a:gd name="connsiteY24" fmla="*/ 298351 h 322575"/>
                <a:gd name="connsiteX25" fmla="*/ 114113 w 146625"/>
                <a:gd name="connsiteY25" fmla="*/ 263288 h 322575"/>
                <a:gd name="connsiteX26" fmla="*/ 131963 w 146625"/>
                <a:gd name="connsiteY26" fmla="*/ 251175 h 322575"/>
                <a:gd name="connsiteX27" fmla="*/ 124950 w 146625"/>
                <a:gd name="connsiteY27" fmla="*/ 224401 h 322575"/>
                <a:gd name="connsiteX28" fmla="*/ 138338 w 146625"/>
                <a:gd name="connsiteY28" fmla="*/ 192525 h 322575"/>
                <a:gd name="connsiteX29" fmla="*/ 138338 w 146625"/>
                <a:gd name="connsiteY29" fmla="*/ 123675 h 322575"/>
                <a:gd name="connsiteX30" fmla="*/ 133875 w 146625"/>
                <a:gd name="connsiteY30" fmla="*/ 101363 h 322575"/>
                <a:gd name="connsiteX31" fmla="*/ 103275 w 146625"/>
                <a:gd name="connsiteY31" fmla="*/ 102000 h 322575"/>
                <a:gd name="connsiteX32" fmla="*/ 110925 w 146625"/>
                <a:gd name="connsiteY32" fmla="*/ 70763 h 322575"/>
                <a:gd name="connsiteX33" fmla="*/ 117938 w 146625"/>
                <a:gd name="connsiteY33" fmla="*/ 22313 h 322575"/>
                <a:gd name="connsiteX34" fmla="*/ 117938 w 146625"/>
                <a:gd name="connsiteY34" fmla="*/ 22313 h 322575"/>
                <a:gd name="connsiteX35" fmla="*/ 117938 w 146625"/>
                <a:gd name="connsiteY35" fmla="*/ 22313 h 32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625" h="322575">
                  <a:moveTo>
                    <a:pt x="137700" y="242888"/>
                  </a:moveTo>
                  <a:lnTo>
                    <a:pt x="134513" y="235238"/>
                  </a:lnTo>
                  <a:lnTo>
                    <a:pt x="134513" y="242888"/>
                  </a:lnTo>
                  <a:lnTo>
                    <a:pt x="137700" y="242888"/>
                  </a:lnTo>
                  <a:close/>
                  <a:moveTo>
                    <a:pt x="144713" y="219300"/>
                  </a:moveTo>
                  <a:lnTo>
                    <a:pt x="146625" y="200175"/>
                  </a:lnTo>
                  <a:lnTo>
                    <a:pt x="142800" y="216750"/>
                  </a:lnTo>
                  <a:lnTo>
                    <a:pt x="144713" y="219300"/>
                  </a:lnTo>
                  <a:lnTo>
                    <a:pt x="144713" y="219300"/>
                  </a:lnTo>
                  <a:close/>
                  <a:moveTo>
                    <a:pt x="117938" y="22313"/>
                  </a:moveTo>
                  <a:lnTo>
                    <a:pt x="50363" y="5737"/>
                  </a:lnTo>
                  <a:lnTo>
                    <a:pt x="38887" y="2550"/>
                  </a:lnTo>
                  <a:lnTo>
                    <a:pt x="27412" y="0"/>
                  </a:lnTo>
                  <a:lnTo>
                    <a:pt x="27412" y="0"/>
                  </a:lnTo>
                  <a:lnTo>
                    <a:pt x="0" y="59288"/>
                  </a:lnTo>
                  <a:lnTo>
                    <a:pt x="11475" y="73313"/>
                  </a:lnTo>
                  <a:lnTo>
                    <a:pt x="10838" y="116025"/>
                  </a:lnTo>
                  <a:lnTo>
                    <a:pt x="22950" y="117938"/>
                  </a:lnTo>
                  <a:lnTo>
                    <a:pt x="47813" y="183600"/>
                  </a:lnTo>
                  <a:lnTo>
                    <a:pt x="46538" y="185513"/>
                  </a:lnTo>
                  <a:lnTo>
                    <a:pt x="14662" y="232050"/>
                  </a:lnTo>
                  <a:lnTo>
                    <a:pt x="17850" y="267113"/>
                  </a:lnTo>
                  <a:lnTo>
                    <a:pt x="93713" y="292613"/>
                  </a:lnTo>
                  <a:lnTo>
                    <a:pt x="94350" y="322576"/>
                  </a:lnTo>
                  <a:lnTo>
                    <a:pt x="111563" y="298351"/>
                  </a:lnTo>
                  <a:lnTo>
                    <a:pt x="114113" y="263288"/>
                  </a:lnTo>
                  <a:lnTo>
                    <a:pt x="131963" y="251175"/>
                  </a:lnTo>
                  <a:lnTo>
                    <a:pt x="124950" y="224401"/>
                  </a:lnTo>
                  <a:lnTo>
                    <a:pt x="138338" y="192525"/>
                  </a:lnTo>
                  <a:lnTo>
                    <a:pt x="138338" y="123675"/>
                  </a:lnTo>
                  <a:lnTo>
                    <a:pt x="133875" y="101363"/>
                  </a:lnTo>
                  <a:lnTo>
                    <a:pt x="103275" y="102000"/>
                  </a:lnTo>
                  <a:lnTo>
                    <a:pt x="110925" y="70763"/>
                  </a:lnTo>
                  <a:lnTo>
                    <a:pt x="117938" y="22313"/>
                  </a:lnTo>
                  <a:lnTo>
                    <a:pt x="117938" y="22313"/>
                  </a:lnTo>
                  <a:lnTo>
                    <a:pt x="117938" y="22313"/>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63" name="Freeform 64">
              <a:extLst>
                <a:ext uri="{FF2B5EF4-FFF2-40B4-BE49-F238E27FC236}">
                  <a16:creationId xmlns:a16="http://schemas.microsoft.com/office/drawing/2014/main" id="{6EDF8303-8C31-ABB3-AD1A-B03EB524384D}"/>
                </a:ext>
              </a:extLst>
            </p:cNvPr>
            <p:cNvSpPr/>
            <p:nvPr/>
          </p:nvSpPr>
          <p:spPr>
            <a:xfrm>
              <a:off x="6350792" y="1476597"/>
              <a:ext cx="796238" cy="608176"/>
            </a:xfrm>
            <a:custGeom>
              <a:avLst/>
              <a:gdLst>
                <a:gd name="connsiteX0" fmla="*/ 604351 w 796238"/>
                <a:gd name="connsiteY0" fmla="*/ 590964 h 608176"/>
                <a:gd name="connsiteX1" fmla="*/ 594151 w 796238"/>
                <a:gd name="connsiteY1" fmla="*/ 604351 h 608176"/>
                <a:gd name="connsiteX2" fmla="*/ 591601 w 796238"/>
                <a:gd name="connsiteY2" fmla="*/ 608176 h 608176"/>
                <a:gd name="connsiteX3" fmla="*/ 604351 w 796238"/>
                <a:gd name="connsiteY3" fmla="*/ 590964 h 608176"/>
                <a:gd name="connsiteX4" fmla="*/ 692964 w 796238"/>
                <a:gd name="connsiteY4" fmla="*/ 559089 h 608176"/>
                <a:gd name="connsiteX5" fmla="*/ 725476 w 796238"/>
                <a:gd name="connsiteY5" fmla="*/ 530401 h 608176"/>
                <a:gd name="connsiteX6" fmla="*/ 725476 w 796238"/>
                <a:gd name="connsiteY6" fmla="*/ 529126 h 608176"/>
                <a:gd name="connsiteX7" fmla="*/ 692964 w 796238"/>
                <a:gd name="connsiteY7" fmla="*/ 559089 h 608176"/>
                <a:gd name="connsiteX8" fmla="*/ 692964 w 796238"/>
                <a:gd name="connsiteY8" fmla="*/ 559089 h 608176"/>
                <a:gd name="connsiteX9" fmla="*/ 608814 w 796238"/>
                <a:gd name="connsiteY9" fmla="*/ 578851 h 608176"/>
                <a:gd name="connsiteX10" fmla="*/ 608814 w 796238"/>
                <a:gd name="connsiteY10" fmla="*/ 557176 h 608176"/>
                <a:gd name="connsiteX11" fmla="*/ 606901 w 796238"/>
                <a:gd name="connsiteY11" fmla="*/ 568651 h 608176"/>
                <a:gd name="connsiteX12" fmla="*/ 608814 w 796238"/>
                <a:gd name="connsiteY12" fmla="*/ 578851 h 608176"/>
                <a:gd name="connsiteX13" fmla="*/ 757989 w 796238"/>
                <a:gd name="connsiteY13" fmla="*/ 476214 h 608176"/>
                <a:gd name="connsiteX14" fmla="*/ 750339 w 796238"/>
                <a:gd name="connsiteY14" fmla="*/ 474301 h 608176"/>
                <a:gd name="connsiteX15" fmla="*/ 749064 w 796238"/>
                <a:gd name="connsiteY15" fmla="*/ 480039 h 608176"/>
                <a:gd name="connsiteX16" fmla="*/ 757989 w 796238"/>
                <a:gd name="connsiteY16" fmla="*/ 476214 h 608176"/>
                <a:gd name="connsiteX17" fmla="*/ 775201 w 796238"/>
                <a:gd name="connsiteY17" fmla="*/ 465376 h 608176"/>
                <a:gd name="connsiteX18" fmla="*/ 774564 w 796238"/>
                <a:gd name="connsiteY18" fmla="*/ 471751 h 608176"/>
                <a:gd name="connsiteX19" fmla="*/ 775839 w 796238"/>
                <a:gd name="connsiteY19" fmla="*/ 467926 h 608176"/>
                <a:gd name="connsiteX20" fmla="*/ 775201 w 796238"/>
                <a:gd name="connsiteY20" fmla="*/ 465376 h 608176"/>
                <a:gd name="connsiteX21" fmla="*/ 775201 w 796238"/>
                <a:gd name="connsiteY21" fmla="*/ 465376 h 608176"/>
                <a:gd name="connsiteX22" fmla="*/ 757351 w 796238"/>
                <a:gd name="connsiteY22" fmla="*/ 466013 h 608176"/>
                <a:gd name="connsiteX23" fmla="*/ 714639 w 796238"/>
                <a:gd name="connsiteY23" fmla="*/ 505539 h 608176"/>
                <a:gd name="connsiteX24" fmla="*/ 648339 w 796238"/>
                <a:gd name="connsiteY24" fmla="*/ 534226 h 608176"/>
                <a:gd name="connsiteX25" fmla="*/ 631126 w 796238"/>
                <a:gd name="connsiteY25" fmla="*/ 548889 h 608176"/>
                <a:gd name="connsiteX26" fmla="*/ 629851 w 796238"/>
                <a:gd name="connsiteY26" fmla="*/ 562914 h 608176"/>
                <a:gd name="connsiteX27" fmla="*/ 612001 w 796238"/>
                <a:gd name="connsiteY27" fmla="*/ 577576 h 608176"/>
                <a:gd name="connsiteX28" fmla="*/ 614551 w 796238"/>
                <a:gd name="connsiteY28" fmla="*/ 596701 h 608176"/>
                <a:gd name="connsiteX29" fmla="*/ 642601 w 796238"/>
                <a:gd name="connsiteY29" fmla="*/ 585226 h 608176"/>
                <a:gd name="connsiteX30" fmla="*/ 682764 w 796238"/>
                <a:gd name="connsiteY30" fmla="*/ 552076 h 608176"/>
                <a:gd name="connsiteX31" fmla="*/ 728026 w 796238"/>
                <a:gd name="connsiteY31" fmla="*/ 528489 h 608176"/>
                <a:gd name="connsiteX32" fmla="*/ 796239 w 796238"/>
                <a:gd name="connsiteY32" fmla="*/ 464101 h 608176"/>
                <a:gd name="connsiteX33" fmla="*/ 747789 w 796238"/>
                <a:gd name="connsiteY33" fmla="*/ 500439 h 608176"/>
                <a:gd name="connsiteX34" fmla="*/ 732489 w 796238"/>
                <a:gd name="connsiteY34" fmla="*/ 506814 h 608176"/>
                <a:gd name="connsiteX35" fmla="*/ 757351 w 796238"/>
                <a:gd name="connsiteY35" fmla="*/ 466013 h 608176"/>
                <a:gd name="connsiteX36" fmla="*/ 757351 w 796238"/>
                <a:gd name="connsiteY36" fmla="*/ 466013 h 608176"/>
                <a:gd name="connsiteX37" fmla="*/ 777114 w 796238"/>
                <a:gd name="connsiteY37" fmla="*/ 438601 h 608176"/>
                <a:gd name="connsiteX38" fmla="*/ 779664 w 796238"/>
                <a:gd name="connsiteY38" fmla="*/ 434776 h 608176"/>
                <a:gd name="connsiteX39" fmla="*/ 772014 w 796238"/>
                <a:gd name="connsiteY39" fmla="*/ 444338 h 608176"/>
                <a:gd name="connsiteX40" fmla="*/ 777114 w 796238"/>
                <a:gd name="connsiteY40" fmla="*/ 438601 h 608176"/>
                <a:gd name="connsiteX41" fmla="*/ 54825 w 796238"/>
                <a:gd name="connsiteY41" fmla="*/ 415013 h 608176"/>
                <a:gd name="connsiteX42" fmla="*/ 44625 w 796238"/>
                <a:gd name="connsiteY42" fmla="*/ 413738 h 608176"/>
                <a:gd name="connsiteX43" fmla="*/ 52275 w 796238"/>
                <a:gd name="connsiteY43" fmla="*/ 424576 h 608176"/>
                <a:gd name="connsiteX44" fmla="*/ 54825 w 796238"/>
                <a:gd name="connsiteY44" fmla="*/ 415013 h 608176"/>
                <a:gd name="connsiteX45" fmla="*/ 54825 w 796238"/>
                <a:gd name="connsiteY45" fmla="*/ 415013 h 608176"/>
                <a:gd name="connsiteX46" fmla="*/ 268388 w 796238"/>
                <a:gd name="connsiteY46" fmla="*/ 218026 h 608176"/>
                <a:gd name="connsiteX47" fmla="*/ 269663 w 796238"/>
                <a:gd name="connsiteY47" fmla="*/ 211013 h 608176"/>
                <a:gd name="connsiteX48" fmla="*/ 264563 w 796238"/>
                <a:gd name="connsiteY48" fmla="*/ 217388 h 608176"/>
                <a:gd name="connsiteX49" fmla="*/ 268388 w 796238"/>
                <a:gd name="connsiteY49" fmla="*/ 218026 h 608176"/>
                <a:gd name="connsiteX50" fmla="*/ 268388 w 796238"/>
                <a:gd name="connsiteY50" fmla="*/ 218026 h 608176"/>
                <a:gd name="connsiteX51" fmla="*/ 271575 w 796238"/>
                <a:gd name="connsiteY51" fmla="*/ 172125 h 608176"/>
                <a:gd name="connsiteX52" fmla="*/ 269025 w 796238"/>
                <a:gd name="connsiteY52" fmla="*/ 173400 h 608176"/>
                <a:gd name="connsiteX53" fmla="*/ 265838 w 796238"/>
                <a:gd name="connsiteY53" fmla="*/ 180413 h 608176"/>
                <a:gd name="connsiteX54" fmla="*/ 271575 w 796238"/>
                <a:gd name="connsiteY54" fmla="*/ 172125 h 608176"/>
                <a:gd name="connsiteX55" fmla="*/ 271575 w 796238"/>
                <a:gd name="connsiteY55" fmla="*/ 172125 h 608176"/>
                <a:gd name="connsiteX56" fmla="*/ 0 w 796238"/>
                <a:gd name="connsiteY56" fmla="*/ 536776 h 608176"/>
                <a:gd name="connsiteX57" fmla="*/ 4462 w 796238"/>
                <a:gd name="connsiteY57" fmla="*/ 555901 h 608176"/>
                <a:gd name="connsiteX58" fmla="*/ 38250 w 796238"/>
                <a:gd name="connsiteY58" fmla="*/ 564189 h 608176"/>
                <a:gd name="connsiteX59" fmla="*/ 233325 w 796238"/>
                <a:gd name="connsiteY59" fmla="*/ 510639 h 608176"/>
                <a:gd name="connsiteX60" fmla="*/ 429676 w 796238"/>
                <a:gd name="connsiteY60" fmla="*/ 451988 h 608176"/>
                <a:gd name="connsiteX61" fmla="*/ 465376 w 796238"/>
                <a:gd name="connsiteY61" fmla="*/ 480039 h 608176"/>
                <a:gd name="connsiteX62" fmla="*/ 472388 w 796238"/>
                <a:gd name="connsiteY62" fmla="*/ 495976 h 608176"/>
                <a:gd name="connsiteX63" fmla="*/ 513826 w 796238"/>
                <a:gd name="connsiteY63" fmla="*/ 513826 h 608176"/>
                <a:gd name="connsiteX64" fmla="*/ 515101 w 796238"/>
                <a:gd name="connsiteY64" fmla="*/ 516376 h 608176"/>
                <a:gd name="connsiteX65" fmla="*/ 526576 w 796238"/>
                <a:gd name="connsiteY65" fmla="*/ 518926 h 608176"/>
                <a:gd name="connsiteX66" fmla="*/ 538051 w 796238"/>
                <a:gd name="connsiteY66" fmla="*/ 522114 h 608176"/>
                <a:gd name="connsiteX67" fmla="*/ 605626 w 796238"/>
                <a:gd name="connsiteY67" fmla="*/ 538689 h 608176"/>
                <a:gd name="connsiteX68" fmla="*/ 604351 w 796238"/>
                <a:gd name="connsiteY68" fmla="*/ 535501 h 608176"/>
                <a:gd name="connsiteX69" fmla="*/ 610088 w 796238"/>
                <a:gd name="connsiteY69" fmla="*/ 562276 h 608176"/>
                <a:gd name="connsiteX70" fmla="*/ 622838 w 796238"/>
                <a:gd name="connsiteY70" fmla="*/ 559089 h 608176"/>
                <a:gd name="connsiteX71" fmla="*/ 629851 w 796238"/>
                <a:gd name="connsiteY71" fmla="*/ 529764 h 608176"/>
                <a:gd name="connsiteX72" fmla="*/ 629851 w 796238"/>
                <a:gd name="connsiteY72" fmla="*/ 529126 h 608176"/>
                <a:gd name="connsiteX73" fmla="*/ 618376 w 796238"/>
                <a:gd name="connsiteY73" fmla="*/ 517651 h 608176"/>
                <a:gd name="connsiteX74" fmla="*/ 634951 w 796238"/>
                <a:gd name="connsiteY74" fmla="*/ 497251 h 608176"/>
                <a:gd name="connsiteX75" fmla="*/ 627301 w 796238"/>
                <a:gd name="connsiteY75" fmla="*/ 487051 h 608176"/>
                <a:gd name="connsiteX76" fmla="*/ 603076 w 796238"/>
                <a:gd name="connsiteY76" fmla="*/ 392701 h 608176"/>
                <a:gd name="connsiteX77" fmla="*/ 601801 w 796238"/>
                <a:gd name="connsiteY77" fmla="*/ 386326 h 608176"/>
                <a:gd name="connsiteX78" fmla="*/ 598613 w 796238"/>
                <a:gd name="connsiteY78" fmla="*/ 384413 h 608176"/>
                <a:gd name="connsiteX79" fmla="*/ 596701 w 796238"/>
                <a:gd name="connsiteY79" fmla="*/ 355726 h 608176"/>
                <a:gd name="connsiteX80" fmla="*/ 594789 w 796238"/>
                <a:gd name="connsiteY80" fmla="*/ 324488 h 608176"/>
                <a:gd name="connsiteX81" fmla="*/ 592876 w 796238"/>
                <a:gd name="connsiteY81" fmla="*/ 291338 h 608176"/>
                <a:gd name="connsiteX82" fmla="*/ 592876 w 796238"/>
                <a:gd name="connsiteY82" fmla="*/ 289426 h 608176"/>
                <a:gd name="connsiteX83" fmla="*/ 591601 w 796238"/>
                <a:gd name="connsiteY83" fmla="*/ 290063 h 608176"/>
                <a:gd name="connsiteX84" fmla="*/ 559088 w 796238"/>
                <a:gd name="connsiteY84" fmla="*/ 184875 h 608176"/>
                <a:gd name="connsiteX85" fmla="*/ 525301 w 796238"/>
                <a:gd name="connsiteY85" fmla="*/ 131325 h 608176"/>
                <a:gd name="connsiteX86" fmla="*/ 515101 w 796238"/>
                <a:gd name="connsiteY86" fmla="*/ 67575 h 608176"/>
                <a:gd name="connsiteX87" fmla="*/ 485776 w 796238"/>
                <a:gd name="connsiteY87" fmla="*/ 0 h 608176"/>
                <a:gd name="connsiteX88" fmla="*/ 481951 w 796238"/>
                <a:gd name="connsiteY88" fmla="*/ 1913 h 608176"/>
                <a:gd name="connsiteX89" fmla="*/ 348713 w 796238"/>
                <a:gd name="connsiteY89" fmla="*/ 49088 h 608176"/>
                <a:gd name="connsiteX90" fmla="*/ 321300 w 796238"/>
                <a:gd name="connsiteY90" fmla="*/ 78413 h 608176"/>
                <a:gd name="connsiteX91" fmla="*/ 290700 w 796238"/>
                <a:gd name="connsiteY91" fmla="*/ 135788 h 608176"/>
                <a:gd name="connsiteX92" fmla="*/ 291976 w 796238"/>
                <a:gd name="connsiteY92" fmla="*/ 148538 h 608176"/>
                <a:gd name="connsiteX93" fmla="*/ 252450 w 796238"/>
                <a:gd name="connsiteY93" fmla="*/ 208463 h 608176"/>
                <a:gd name="connsiteX94" fmla="*/ 276675 w 796238"/>
                <a:gd name="connsiteY94" fmla="*/ 216750 h 608176"/>
                <a:gd name="connsiteX95" fmla="*/ 283688 w 796238"/>
                <a:gd name="connsiteY95" fmla="*/ 262651 h 608176"/>
                <a:gd name="connsiteX96" fmla="*/ 255001 w 796238"/>
                <a:gd name="connsiteY96" fmla="*/ 299626 h 608176"/>
                <a:gd name="connsiteX97" fmla="*/ 170213 w 796238"/>
                <a:gd name="connsiteY97" fmla="*/ 351263 h 608176"/>
                <a:gd name="connsiteX98" fmla="*/ 154275 w 796238"/>
                <a:gd name="connsiteY98" fmla="*/ 344888 h 608176"/>
                <a:gd name="connsiteX99" fmla="*/ 91163 w 796238"/>
                <a:gd name="connsiteY99" fmla="*/ 354451 h 608176"/>
                <a:gd name="connsiteX100" fmla="*/ 33150 w 796238"/>
                <a:gd name="connsiteY100" fmla="*/ 389513 h 608176"/>
                <a:gd name="connsiteX101" fmla="*/ 36337 w 796238"/>
                <a:gd name="connsiteY101" fmla="*/ 408001 h 608176"/>
                <a:gd name="connsiteX102" fmla="*/ 56737 w 796238"/>
                <a:gd name="connsiteY102" fmla="*/ 425851 h 608176"/>
                <a:gd name="connsiteX103" fmla="*/ 45262 w 796238"/>
                <a:gd name="connsiteY103" fmla="*/ 481951 h 608176"/>
                <a:gd name="connsiteX104" fmla="*/ 0 w 796238"/>
                <a:gd name="connsiteY104" fmla="*/ 536776 h 608176"/>
                <a:gd name="connsiteX105" fmla="*/ 0 w 796238"/>
                <a:gd name="connsiteY105" fmla="*/ 536776 h 608176"/>
                <a:gd name="connsiteX106" fmla="*/ 0 w 796238"/>
                <a:gd name="connsiteY106" fmla="*/ 536776 h 6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96238" h="608176">
                  <a:moveTo>
                    <a:pt x="604351" y="590964"/>
                  </a:moveTo>
                  <a:lnTo>
                    <a:pt x="594151" y="604351"/>
                  </a:lnTo>
                  <a:lnTo>
                    <a:pt x="591601" y="608176"/>
                  </a:lnTo>
                  <a:lnTo>
                    <a:pt x="604351" y="590964"/>
                  </a:lnTo>
                  <a:close/>
                  <a:moveTo>
                    <a:pt x="692964" y="559089"/>
                  </a:moveTo>
                  <a:lnTo>
                    <a:pt x="725476" y="530401"/>
                  </a:lnTo>
                  <a:lnTo>
                    <a:pt x="725476" y="529126"/>
                  </a:lnTo>
                  <a:lnTo>
                    <a:pt x="692964" y="559089"/>
                  </a:lnTo>
                  <a:lnTo>
                    <a:pt x="692964" y="559089"/>
                  </a:lnTo>
                  <a:close/>
                  <a:moveTo>
                    <a:pt x="608814" y="578851"/>
                  </a:moveTo>
                  <a:lnTo>
                    <a:pt x="608814" y="557176"/>
                  </a:lnTo>
                  <a:lnTo>
                    <a:pt x="606901" y="568651"/>
                  </a:lnTo>
                  <a:lnTo>
                    <a:pt x="608814" y="578851"/>
                  </a:lnTo>
                  <a:close/>
                  <a:moveTo>
                    <a:pt x="757989" y="476214"/>
                  </a:moveTo>
                  <a:lnTo>
                    <a:pt x="750339" y="474301"/>
                  </a:lnTo>
                  <a:lnTo>
                    <a:pt x="749064" y="480039"/>
                  </a:lnTo>
                  <a:lnTo>
                    <a:pt x="757989" y="476214"/>
                  </a:lnTo>
                  <a:close/>
                  <a:moveTo>
                    <a:pt x="775201" y="465376"/>
                  </a:moveTo>
                  <a:lnTo>
                    <a:pt x="774564" y="471751"/>
                  </a:lnTo>
                  <a:lnTo>
                    <a:pt x="775839" y="467926"/>
                  </a:lnTo>
                  <a:lnTo>
                    <a:pt x="775201" y="465376"/>
                  </a:lnTo>
                  <a:lnTo>
                    <a:pt x="775201" y="465376"/>
                  </a:lnTo>
                  <a:close/>
                  <a:moveTo>
                    <a:pt x="757351" y="466013"/>
                  </a:moveTo>
                  <a:lnTo>
                    <a:pt x="714639" y="505539"/>
                  </a:lnTo>
                  <a:lnTo>
                    <a:pt x="648339" y="534226"/>
                  </a:lnTo>
                  <a:lnTo>
                    <a:pt x="631126" y="548889"/>
                  </a:lnTo>
                  <a:lnTo>
                    <a:pt x="629851" y="562914"/>
                  </a:lnTo>
                  <a:lnTo>
                    <a:pt x="612001" y="577576"/>
                  </a:lnTo>
                  <a:lnTo>
                    <a:pt x="614551" y="596701"/>
                  </a:lnTo>
                  <a:lnTo>
                    <a:pt x="642601" y="585226"/>
                  </a:lnTo>
                  <a:lnTo>
                    <a:pt x="682764" y="552076"/>
                  </a:lnTo>
                  <a:lnTo>
                    <a:pt x="728026" y="528489"/>
                  </a:lnTo>
                  <a:lnTo>
                    <a:pt x="796239" y="464101"/>
                  </a:lnTo>
                  <a:lnTo>
                    <a:pt x="747789" y="500439"/>
                  </a:lnTo>
                  <a:lnTo>
                    <a:pt x="732489" y="506814"/>
                  </a:lnTo>
                  <a:lnTo>
                    <a:pt x="757351" y="466013"/>
                  </a:lnTo>
                  <a:lnTo>
                    <a:pt x="757351" y="466013"/>
                  </a:lnTo>
                  <a:close/>
                  <a:moveTo>
                    <a:pt x="777114" y="438601"/>
                  </a:moveTo>
                  <a:lnTo>
                    <a:pt x="779664" y="434776"/>
                  </a:lnTo>
                  <a:lnTo>
                    <a:pt x="772014" y="444338"/>
                  </a:lnTo>
                  <a:lnTo>
                    <a:pt x="777114" y="438601"/>
                  </a:lnTo>
                  <a:close/>
                  <a:moveTo>
                    <a:pt x="54825" y="415013"/>
                  </a:moveTo>
                  <a:lnTo>
                    <a:pt x="44625" y="413738"/>
                  </a:lnTo>
                  <a:lnTo>
                    <a:pt x="52275" y="424576"/>
                  </a:lnTo>
                  <a:lnTo>
                    <a:pt x="54825" y="415013"/>
                  </a:lnTo>
                  <a:lnTo>
                    <a:pt x="54825" y="415013"/>
                  </a:lnTo>
                  <a:close/>
                  <a:moveTo>
                    <a:pt x="268388" y="218026"/>
                  </a:moveTo>
                  <a:lnTo>
                    <a:pt x="269663" y="211013"/>
                  </a:lnTo>
                  <a:lnTo>
                    <a:pt x="264563" y="217388"/>
                  </a:lnTo>
                  <a:lnTo>
                    <a:pt x="268388" y="218026"/>
                  </a:lnTo>
                  <a:lnTo>
                    <a:pt x="268388" y="218026"/>
                  </a:lnTo>
                  <a:close/>
                  <a:moveTo>
                    <a:pt x="271575" y="172125"/>
                  </a:moveTo>
                  <a:lnTo>
                    <a:pt x="269025" y="173400"/>
                  </a:lnTo>
                  <a:lnTo>
                    <a:pt x="265838" y="180413"/>
                  </a:lnTo>
                  <a:lnTo>
                    <a:pt x="271575" y="172125"/>
                  </a:lnTo>
                  <a:lnTo>
                    <a:pt x="271575" y="172125"/>
                  </a:lnTo>
                  <a:close/>
                  <a:moveTo>
                    <a:pt x="0" y="536776"/>
                  </a:moveTo>
                  <a:lnTo>
                    <a:pt x="4462" y="555901"/>
                  </a:lnTo>
                  <a:lnTo>
                    <a:pt x="38250" y="564189"/>
                  </a:lnTo>
                  <a:lnTo>
                    <a:pt x="233325" y="510639"/>
                  </a:lnTo>
                  <a:lnTo>
                    <a:pt x="429676" y="451988"/>
                  </a:lnTo>
                  <a:lnTo>
                    <a:pt x="465376" y="480039"/>
                  </a:lnTo>
                  <a:lnTo>
                    <a:pt x="472388" y="495976"/>
                  </a:lnTo>
                  <a:lnTo>
                    <a:pt x="513826" y="513826"/>
                  </a:lnTo>
                  <a:lnTo>
                    <a:pt x="515101" y="516376"/>
                  </a:lnTo>
                  <a:lnTo>
                    <a:pt x="526576" y="518926"/>
                  </a:lnTo>
                  <a:lnTo>
                    <a:pt x="538051" y="522114"/>
                  </a:lnTo>
                  <a:lnTo>
                    <a:pt x="605626" y="538689"/>
                  </a:lnTo>
                  <a:lnTo>
                    <a:pt x="604351" y="535501"/>
                  </a:lnTo>
                  <a:lnTo>
                    <a:pt x="610088" y="562276"/>
                  </a:lnTo>
                  <a:lnTo>
                    <a:pt x="622838" y="559089"/>
                  </a:lnTo>
                  <a:lnTo>
                    <a:pt x="629851" y="529764"/>
                  </a:lnTo>
                  <a:lnTo>
                    <a:pt x="629851" y="529126"/>
                  </a:lnTo>
                  <a:lnTo>
                    <a:pt x="618376" y="517651"/>
                  </a:lnTo>
                  <a:lnTo>
                    <a:pt x="634951" y="497251"/>
                  </a:lnTo>
                  <a:lnTo>
                    <a:pt x="627301" y="487051"/>
                  </a:lnTo>
                  <a:lnTo>
                    <a:pt x="603076" y="392701"/>
                  </a:lnTo>
                  <a:lnTo>
                    <a:pt x="601801" y="386326"/>
                  </a:lnTo>
                  <a:lnTo>
                    <a:pt x="598613" y="384413"/>
                  </a:lnTo>
                  <a:lnTo>
                    <a:pt x="596701" y="355726"/>
                  </a:lnTo>
                  <a:lnTo>
                    <a:pt x="594789" y="324488"/>
                  </a:lnTo>
                  <a:lnTo>
                    <a:pt x="592876" y="291338"/>
                  </a:lnTo>
                  <a:lnTo>
                    <a:pt x="592876" y="289426"/>
                  </a:lnTo>
                  <a:lnTo>
                    <a:pt x="591601" y="290063"/>
                  </a:lnTo>
                  <a:lnTo>
                    <a:pt x="559088" y="184875"/>
                  </a:lnTo>
                  <a:lnTo>
                    <a:pt x="525301" y="131325"/>
                  </a:lnTo>
                  <a:lnTo>
                    <a:pt x="515101" y="67575"/>
                  </a:lnTo>
                  <a:lnTo>
                    <a:pt x="485776" y="0"/>
                  </a:lnTo>
                  <a:lnTo>
                    <a:pt x="481951" y="1913"/>
                  </a:lnTo>
                  <a:lnTo>
                    <a:pt x="348713" y="49088"/>
                  </a:lnTo>
                  <a:lnTo>
                    <a:pt x="321300" y="78413"/>
                  </a:lnTo>
                  <a:lnTo>
                    <a:pt x="290700" y="135788"/>
                  </a:lnTo>
                  <a:lnTo>
                    <a:pt x="291976" y="148538"/>
                  </a:lnTo>
                  <a:lnTo>
                    <a:pt x="252450" y="208463"/>
                  </a:lnTo>
                  <a:lnTo>
                    <a:pt x="276675" y="216750"/>
                  </a:lnTo>
                  <a:lnTo>
                    <a:pt x="283688" y="262651"/>
                  </a:lnTo>
                  <a:lnTo>
                    <a:pt x="255001" y="299626"/>
                  </a:lnTo>
                  <a:lnTo>
                    <a:pt x="170213" y="351263"/>
                  </a:lnTo>
                  <a:lnTo>
                    <a:pt x="154275" y="344888"/>
                  </a:lnTo>
                  <a:lnTo>
                    <a:pt x="91163" y="354451"/>
                  </a:lnTo>
                  <a:lnTo>
                    <a:pt x="33150" y="389513"/>
                  </a:lnTo>
                  <a:lnTo>
                    <a:pt x="36337" y="408001"/>
                  </a:lnTo>
                  <a:lnTo>
                    <a:pt x="56737" y="425851"/>
                  </a:lnTo>
                  <a:lnTo>
                    <a:pt x="45262" y="481951"/>
                  </a:lnTo>
                  <a:lnTo>
                    <a:pt x="0" y="536776"/>
                  </a:lnTo>
                  <a:lnTo>
                    <a:pt x="0" y="536776"/>
                  </a:lnTo>
                  <a:lnTo>
                    <a:pt x="0" y="536776"/>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64" name="Freeform 65">
              <a:extLst>
                <a:ext uri="{FF2B5EF4-FFF2-40B4-BE49-F238E27FC236}">
                  <a16:creationId xmlns:a16="http://schemas.microsoft.com/office/drawing/2014/main" id="{68ECBFE9-E9F2-CC51-B88F-10B7A0EA042E}"/>
                </a:ext>
              </a:extLst>
            </p:cNvPr>
            <p:cNvSpPr/>
            <p:nvPr/>
          </p:nvSpPr>
          <p:spPr>
            <a:xfrm>
              <a:off x="6285318" y="1924598"/>
              <a:ext cx="601801" cy="438600"/>
            </a:xfrm>
            <a:custGeom>
              <a:avLst/>
              <a:gdLst>
                <a:gd name="connsiteX0" fmla="*/ 578214 w 601801"/>
                <a:gd name="connsiteY0" fmla="*/ 61838 h 438600"/>
                <a:gd name="connsiteX1" fmla="*/ 536776 w 601801"/>
                <a:gd name="connsiteY1" fmla="*/ 43988 h 438600"/>
                <a:gd name="connsiteX2" fmla="*/ 529763 w 601801"/>
                <a:gd name="connsiteY2" fmla="*/ 28050 h 438600"/>
                <a:gd name="connsiteX3" fmla="*/ 494064 w 601801"/>
                <a:gd name="connsiteY3" fmla="*/ 0 h 438600"/>
                <a:gd name="connsiteX4" fmla="*/ 297713 w 601801"/>
                <a:gd name="connsiteY4" fmla="*/ 58650 h 438600"/>
                <a:gd name="connsiteX5" fmla="*/ 102638 w 601801"/>
                <a:gd name="connsiteY5" fmla="*/ 112200 h 438600"/>
                <a:gd name="connsiteX6" fmla="*/ 68850 w 601801"/>
                <a:gd name="connsiteY6" fmla="*/ 103913 h 438600"/>
                <a:gd name="connsiteX7" fmla="*/ 64387 w 601801"/>
                <a:gd name="connsiteY7" fmla="*/ 84788 h 438600"/>
                <a:gd name="connsiteX8" fmla="*/ 52913 w 601801"/>
                <a:gd name="connsiteY8" fmla="*/ 93075 h 438600"/>
                <a:gd name="connsiteX9" fmla="*/ 35700 w 601801"/>
                <a:gd name="connsiteY9" fmla="*/ 105188 h 438600"/>
                <a:gd name="connsiteX10" fmla="*/ 3825 w 601801"/>
                <a:gd name="connsiteY10" fmla="*/ 137700 h 438600"/>
                <a:gd name="connsiteX11" fmla="*/ 0 w 601801"/>
                <a:gd name="connsiteY11" fmla="*/ 140888 h 438600"/>
                <a:gd name="connsiteX12" fmla="*/ 17850 w 601801"/>
                <a:gd name="connsiteY12" fmla="*/ 219938 h 438600"/>
                <a:gd name="connsiteX13" fmla="*/ 21037 w 601801"/>
                <a:gd name="connsiteY13" fmla="*/ 233963 h 438600"/>
                <a:gd name="connsiteX14" fmla="*/ 36975 w 601801"/>
                <a:gd name="connsiteY14" fmla="*/ 303450 h 438600"/>
                <a:gd name="connsiteX15" fmla="*/ 40163 w 601801"/>
                <a:gd name="connsiteY15" fmla="*/ 316838 h 438600"/>
                <a:gd name="connsiteX16" fmla="*/ 40163 w 601801"/>
                <a:gd name="connsiteY16" fmla="*/ 316838 h 438600"/>
                <a:gd name="connsiteX17" fmla="*/ 68850 w 601801"/>
                <a:gd name="connsiteY17" fmla="*/ 438601 h 438600"/>
                <a:gd name="connsiteX18" fmla="*/ 160013 w 601801"/>
                <a:gd name="connsiteY18" fmla="*/ 416288 h 438600"/>
                <a:gd name="connsiteX19" fmla="*/ 172763 w 601801"/>
                <a:gd name="connsiteY19" fmla="*/ 413101 h 438600"/>
                <a:gd name="connsiteX20" fmla="*/ 184238 w 601801"/>
                <a:gd name="connsiteY20" fmla="*/ 409913 h 438600"/>
                <a:gd name="connsiteX21" fmla="*/ 230138 w 601801"/>
                <a:gd name="connsiteY21" fmla="*/ 397801 h 438600"/>
                <a:gd name="connsiteX22" fmla="*/ 481313 w 601801"/>
                <a:gd name="connsiteY22" fmla="*/ 327676 h 438600"/>
                <a:gd name="connsiteX23" fmla="*/ 527214 w 601801"/>
                <a:gd name="connsiteY23" fmla="*/ 313651 h 438600"/>
                <a:gd name="connsiteX24" fmla="*/ 538689 w 601801"/>
                <a:gd name="connsiteY24" fmla="*/ 310463 h 438600"/>
                <a:gd name="connsiteX25" fmla="*/ 538689 w 601801"/>
                <a:gd name="connsiteY25" fmla="*/ 310463 h 438600"/>
                <a:gd name="connsiteX26" fmla="*/ 543789 w 601801"/>
                <a:gd name="connsiteY26" fmla="*/ 297713 h 438600"/>
                <a:gd name="connsiteX27" fmla="*/ 555263 w 601801"/>
                <a:gd name="connsiteY27" fmla="*/ 288150 h 438600"/>
                <a:gd name="connsiteX28" fmla="*/ 570564 w 601801"/>
                <a:gd name="connsiteY28" fmla="*/ 288150 h 438600"/>
                <a:gd name="connsiteX29" fmla="*/ 572476 w 601801"/>
                <a:gd name="connsiteY29" fmla="*/ 282413 h 438600"/>
                <a:gd name="connsiteX30" fmla="*/ 597339 w 601801"/>
                <a:gd name="connsiteY30" fmla="*/ 253725 h 438600"/>
                <a:gd name="connsiteX31" fmla="*/ 599889 w 601801"/>
                <a:gd name="connsiteY31" fmla="*/ 249263 h 438600"/>
                <a:gd name="connsiteX32" fmla="*/ 601801 w 601801"/>
                <a:gd name="connsiteY32" fmla="*/ 247988 h 438600"/>
                <a:gd name="connsiteX33" fmla="*/ 576939 w 601801"/>
                <a:gd name="connsiteY33" fmla="*/ 182325 h 438600"/>
                <a:gd name="connsiteX34" fmla="*/ 564826 w 601801"/>
                <a:gd name="connsiteY34" fmla="*/ 180413 h 438600"/>
                <a:gd name="connsiteX35" fmla="*/ 565464 w 601801"/>
                <a:gd name="connsiteY35" fmla="*/ 137700 h 438600"/>
                <a:gd name="connsiteX36" fmla="*/ 553989 w 601801"/>
                <a:gd name="connsiteY36" fmla="*/ 123675 h 438600"/>
                <a:gd name="connsiteX37" fmla="*/ 581401 w 601801"/>
                <a:gd name="connsiteY37" fmla="*/ 64387 h 438600"/>
                <a:gd name="connsiteX38" fmla="*/ 581401 w 601801"/>
                <a:gd name="connsiteY38" fmla="*/ 64387 h 438600"/>
                <a:gd name="connsiteX39" fmla="*/ 578214 w 601801"/>
                <a:gd name="connsiteY39" fmla="*/ 61838 h 438600"/>
                <a:gd name="connsiteX40" fmla="*/ 578214 w 601801"/>
                <a:gd name="connsiteY40" fmla="*/ 61838 h 4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1801" h="438600">
                  <a:moveTo>
                    <a:pt x="578214" y="61838"/>
                  </a:moveTo>
                  <a:lnTo>
                    <a:pt x="536776" y="43988"/>
                  </a:lnTo>
                  <a:lnTo>
                    <a:pt x="529763" y="28050"/>
                  </a:lnTo>
                  <a:lnTo>
                    <a:pt x="494064" y="0"/>
                  </a:lnTo>
                  <a:lnTo>
                    <a:pt x="297713" y="58650"/>
                  </a:lnTo>
                  <a:lnTo>
                    <a:pt x="102638" y="112200"/>
                  </a:lnTo>
                  <a:lnTo>
                    <a:pt x="68850" y="103913"/>
                  </a:lnTo>
                  <a:lnTo>
                    <a:pt x="64387" y="84788"/>
                  </a:lnTo>
                  <a:lnTo>
                    <a:pt x="52913" y="93075"/>
                  </a:lnTo>
                  <a:lnTo>
                    <a:pt x="35700" y="105188"/>
                  </a:lnTo>
                  <a:lnTo>
                    <a:pt x="3825" y="137700"/>
                  </a:lnTo>
                  <a:lnTo>
                    <a:pt x="0" y="140888"/>
                  </a:lnTo>
                  <a:lnTo>
                    <a:pt x="17850" y="219938"/>
                  </a:lnTo>
                  <a:lnTo>
                    <a:pt x="21037" y="233963"/>
                  </a:lnTo>
                  <a:lnTo>
                    <a:pt x="36975" y="303450"/>
                  </a:lnTo>
                  <a:lnTo>
                    <a:pt x="40163" y="316838"/>
                  </a:lnTo>
                  <a:lnTo>
                    <a:pt x="40163" y="316838"/>
                  </a:lnTo>
                  <a:lnTo>
                    <a:pt x="68850" y="438601"/>
                  </a:lnTo>
                  <a:lnTo>
                    <a:pt x="160013" y="416288"/>
                  </a:lnTo>
                  <a:lnTo>
                    <a:pt x="172763" y="413101"/>
                  </a:lnTo>
                  <a:lnTo>
                    <a:pt x="184238" y="409913"/>
                  </a:lnTo>
                  <a:lnTo>
                    <a:pt x="230138" y="397801"/>
                  </a:lnTo>
                  <a:lnTo>
                    <a:pt x="481313" y="327676"/>
                  </a:lnTo>
                  <a:lnTo>
                    <a:pt x="527214" y="313651"/>
                  </a:lnTo>
                  <a:lnTo>
                    <a:pt x="538689" y="310463"/>
                  </a:lnTo>
                  <a:lnTo>
                    <a:pt x="538689" y="310463"/>
                  </a:lnTo>
                  <a:lnTo>
                    <a:pt x="543789" y="297713"/>
                  </a:lnTo>
                  <a:lnTo>
                    <a:pt x="555263" y="288150"/>
                  </a:lnTo>
                  <a:lnTo>
                    <a:pt x="570564" y="288150"/>
                  </a:lnTo>
                  <a:lnTo>
                    <a:pt x="572476" y="282413"/>
                  </a:lnTo>
                  <a:lnTo>
                    <a:pt x="597339" y="253725"/>
                  </a:lnTo>
                  <a:lnTo>
                    <a:pt x="599889" y="249263"/>
                  </a:lnTo>
                  <a:lnTo>
                    <a:pt x="601801" y="247988"/>
                  </a:lnTo>
                  <a:lnTo>
                    <a:pt x="576939" y="182325"/>
                  </a:lnTo>
                  <a:lnTo>
                    <a:pt x="564826" y="180413"/>
                  </a:lnTo>
                  <a:lnTo>
                    <a:pt x="565464" y="137700"/>
                  </a:lnTo>
                  <a:lnTo>
                    <a:pt x="553989" y="123675"/>
                  </a:lnTo>
                  <a:lnTo>
                    <a:pt x="581401" y="64387"/>
                  </a:lnTo>
                  <a:lnTo>
                    <a:pt x="581401" y="64387"/>
                  </a:lnTo>
                  <a:lnTo>
                    <a:pt x="578214" y="61838"/>
                  </a:lnTo>
                  <a:lnTo>
                    <a:pt x="578214" y="6183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65" name="Freeform 66">
              <a:extLst>
                <a:ext uri="{FF2B5EF4-FFF2-40B4-BE49-F238E27FC236}">
                  <a16:creationId xmlns:a16="http://schemas.microsoft.com/office/drawing/2014/main" id="{F85A721E-1BAF-1F57-30BD-555F47C6640D}"/>
                </a:ext>
              </a:extLst>
            </p:cNvPr>
            <p:cNvSpPr/>
            <p:nvPr/>
          </p:nvSpPr>
          <p:spPr>
            <a:xfrm>
              <a:off x="7021632" y="1004683"/>
              <a:ext cx="382500" cy="640051"/>
            </a:xfrm>
            <a:custGeom>
              <a:avLst/>
              <a:gdLst>
                <a:gd name="connsiteX0" fmla="*/ 151725 w 382500"/>
                <a:gd name="connsiteY0" fmla="*/ 640051 h 640051"/>
                <a:gd name="connsiteX1" fmla="*/ 151725 w 382500"/>
                <a:gd name="connsiteY1" fmla="*/ 640051 h 640051"/>
                <a:gd name="connsiteX2" fmla="*/ 151725 w 382500"/>
                <a:gd name="connsiteY2" fmla="*/ 640051 h 640051"/>
                <a:gd name="connsiteX3" fmla="*/ 151725 w 382500"/>
                <a:gd name="connsiteY3" fmla="*/ 640051 h 640051"/>
                <a:gd name="connsiteX4" fmla="*/ 151725 w 382500"/>
                <a:gd name="connsiteY4" fmla="*/ 640051 h 640051"/>
                <a:gd name="connsiteX5" fmla="*/ 198900 w 382500"/>
                <a:gd name="connsiteY5" fmla="*/ 502988 h 640051"/>
                <a:gd name="connsiteX6" fmla="*/ 193801 w 382500"/>
                <a:gd name="connsiteY6" fmla="*/ 495339 h 640051"/>
                <a:gd name="connsiteX7" fmla="*/ 193801 w 382500"/>
                <a:gd name="connsiteY7" fmla="*/ 499164 h 640051"/>
                <a:gd name="connsiteX8" fmla="*/ 198900 w 382500"/>
                <a:gd name="connsiteY8" fmla="*/ 502988 h 640051"/>
                <a:gd name="connsiteX9" fmla="*/ 189975 w 382500"/>
                <a:gd name="connsiteY9" fmla="*/ 495976 h 640051"/>
                <a:gd name="connsiteX10" fmla="*/ 189975 w 382500"/>
                <a:gd name="connsiteY10" fmla="*/ 489601 h 640051"/>
                <a:gd name="connsiteX11" fmla="*/ 189338 w 382500"/>
                <a:gd name="connsiteY11" fmla="*/ 485776 h 640051"/>
                <a:gd name="connsiteX12" fmla="*/ 189975 w 382500"/>
                <a:gd name="connsiteY12" fmla="*/ 495976 h 640051"/>
                <a:gd name="connsiteX13" fmla="*/ 212926 w 382500"/>
                <a:gd name="connsiteY13" fmla="*/ 469201 h 640051"/>
                <a:gd name="connsiteX14" fmla="*/ 211651 w 382500"/>
                <a:gd name="connsiteY14" fmla="*/ 468563 h 640051"/>
                <a:gd name="connsiteX15" fmla="*/ 212288 w 382500"/>
                <a:gd name="connsiteY15" fmla="*/ 470476 h 640051"/>
                <a:gd name="connsiteX16" fmla="*/ 212926 w 382500"/>
                <a:gd name="connsiteY16" fmla="*/ 469201 h 640051"/>
                <a:gd name="connsiteX17" fmla="*/ 212926 w 382500"/>
                <a:gd name="connsiteY17" fmla="*/ 469201 h 640051"/>
                <a:gd name="connsiteX18" fmla="*/ 277313 w 382500"/>
                <a:gd name="connsiteY18" fmla="*/ 436688 h 640051"/>
                <a:gd name="connsiteX19" fmla="*/ 276038 w 382500"/>
                <a:gd name="connsiteY19" fmla="*/ 426488 h 640051"/>
                <a:gd name="connsiteX20" fmla="*/ 273488 w 382500"/>
                <a:gd name="connsiteY20" fmla="*/ 430951 h 640051"/>
                <a:gd name="connsiteX21" fmla="*/ 277313 w 382500"/>
                <a:gd name="connsiteY21" fmla="*/ 436688 h 640051"/>
                <a:gd name="connsiteX22" fmla="*/ 261376 w 382500"/>
                <a:gd name="connsiteY22" fmla="*/ 440513 h 640051"/>
                <a:gd name="connsiteX23" fmla="*/ 262013 w 382500"/>
                <a:gd name="connsiteY23" fmla="*/ 433501 h 640051"/>
                <a:gd name="connsiteX24" fmla="*/ 254363 w 382500"/>
                <a:gd name="connsiteY24" fmla="*/ 434776 h 640051"/>
                <a:gd name="connsiteX25" fmla="*/ 261376 w 382500"/>
                <a:gd name="connsiteY25" fmla="*/ 440513 h 640051"/>
                <a:gd name="connsiteX26" fmla="*/ 261376 w 382500"/>
                <a:gd name="connsiteY26" fmla="*/ 440513 h 640051"/>
                <a:gd name="connsiteX27" fmla="*/ 284963 w 382500"/>
                <a:gd name="connsiteY27" fmla="*/ 419476 h 640051"/>
                <a:gd name="connsiteX28" fmla="*/ 282413 w 382500"/>
                <a:gd name="connsiteY28" fmla="*/ 419476 h 640051"/>
                <a:gd name="connsiteX29" fmla="*/ 282413 w 382500"/>
                <a:gd name="connsiteY29" fmla="*/ 420751 h 640051"/>
                <a:gd name="connsiteX30" fmla="*/ 284963 w 382500"/>
                <a:gd name="connsiteY30" fmla="*/ 419476 h 640051"/>
                <a:gd name="connsiteX31" fmla="*/ 253088 w 382500"/>
                <a:gd name="connsiteY31" fmla="*/ 429676 h 640051"/>
                <a:gd name="connsiteX32" fmla="*/ 247350 w 382500"/>
                <a:gd name="connsiteY32" fmla="*/ 428401 h 640051"/>
                <a:gd name="connsiteX33" fmla="*/ 246713 w 382500"/>
                <a:gd name="connsiteY33" fmla="*/ 434138 h 640051"/>
                <a:gd name="connsiteX34" fmla="*/ 253088 w 382500"/>
                <a:gd name="connsiteY34" fmla="*/ 429676 h 640051"/>
                <a:gd name="connsiteX35" fmla="*/ 253088 w 382500"/>
                <a:gd name="connsiteY35" fmla="*/ 429676 h 640051"/>
                <a:gd name="connsiteX36" fmla="*/ 285601 w 382500"/>
                <a:gd name="connsiteY36" fmla="*/ 409276 h 640051"/>
                <a:gd name="connsiteX37" fmla="*/ 291338 w 382500"/>
                <a:gd name="connsiteY37" fmla="*/ 413738 h 640051"/>
                <a:gd name="connsiteX38" fmla="*/ 289426 w 382500"/>
                <a:gd name="connsiteY38" fmla="*/ 408638 h 640051"/>
                <a:gd name="connsiteX39" fmla="*/ 285601 w 382500"/>
                <a:gd name="connsiteY39" fmla="*/ 409276 h 640051"/>
                <a:gd name="connsiteX40" fmla="*/ 268388 w 382500"/>
                <a:gd name="connsiteY40" fmla="*/ 409913 h 640051"/>
                <a:gd name="connsiteX41" fmla="*/ 262651 w 382500"/>
                <a:gd name="connsiteY41" fmla="*/ 421388 h 640051"/>
                <a:gd name="connsiteX42" fmla="*/ 270301 w 382500"/>
                <a:gd name="connsiteY42" fmla="*/ 417563 h 640051"/>
                <a:gd name="connsiteX43" fmla="*/ 268388 w 382500"/>
                <a:gd name="connsiteY43" fmla="*/ 409913 h 640051"/>
                <a:gd name="connsiteX44" fmla="*/ 268388 w 382500"/>
                <a:gd name="connsiteY44" fmla="*/ 409913 h 640051"/>
                <a:gd name="connsiteX45" fmla="*/ 240975 w 382500"/>
                <a:gd name="connsiteY45" fmla="*/ 409913 h 640051"/>
                <a:gd name="connsiteX46" fmla="*/ 238426 w 382500"/>
                <a:gd name="connsiteY46" fmla="*/ 413738 h 640051"/>
                <a:gd name="connsiteX47" fmla="*/ 240338 w 382500"/>
                <a:gd name="connsiteY47" fmla="*/ 419476 h 640051"/>
                <a:gd name="connsiteX48" fmla="*/ 240975 w 382500"/>
                <a:gd name="connsiteY48" fmla="*/ 409913 h 640051"/>
                <a:gd name="connsiteX49" fmla="*/ 240975 w 382500"/>
                <a:gd name="connsiteY49" fmla="*/ 409913 h 640051"/>
                <a:gd name="connsiteX50" fmla="*/ 278588 w 382500"/>
                <a:gd name="connsiteY50" fmla="*/ 388876 h 640051"/>
                <a:gd name="connsiteX51" fmla="*/ 277950 w 382500"/>
                <a:gd name="connsiteY51" fmla="*/ 383776 h 640051"/>
                <a:gd name="connsiteX52" fmla="*/ 276038 w 382500"/>
                <a:gd name="connsiteY52" fmla="*/ 386963 h 640051"/>
                <a:gd name="connsiteX53" fmla="*/ 278588 w 382500"/>
                <a:gd name="connsiteY53" fmla="*/ 388876 h 640051"/>
                <a:gd name="connsiteX54" fmla="*/ 278588 w 382500"/>
                <a:gd name="connsiteY54" fmla="*/ 388876 h 640051"/>
                <a:gd name="connsiteX55" fmla="*/ 275401 w 382500"/>
                <a:gd name="connsiteY55" fmla="*/ 391426 h 640051"/>
                <a:gd name="connsiteX56" fmla="*/ 269663 w 382500"/>
                <a:gd name="connsiteY56" fmla="*/ 386326 h 640051"/>
                <a:gd name="connsiteX57" fmla="*/ 269663 w 382500"/>
                <a:gd name="connsiteY57" fmla="*/ 390788 h 640051"/>
                <a:gd name="connsiteX58" fmla="*/ 275401 w 382500"/>
                <a:gd name="connsiteY58" fmla="*/ 391426 h 640051"/>
                <a:gd name="connsiteX59" fmla="*/ 239700 w 382500"/>
                <a:gd name="connsiteY59" fmla="*/ 406726 h 640051"/>
                <a:gd name="connsiteX60" fmla="*/ 238426 w 382500"/>
                <a:gd name="connsiteY60" fmla="*/ 399713 h 640051"/>
                <a:gd name="connsiteX61" fmla="*/ 235875 w 382500"/>
                <a:gd name="connsiteY61" fmla="*/ 405451 h 640051"/>
                <a:gd name="connsiteX62" fmla="*/ 239700 w 382500"/>
                <a:gd name="connsiteY62" fmla="*/ 406726 h 640051"/>
                <a:gd name="connsiteX63" fmla="*/ 300263 w 382500"/>
                <a:gd name="connsiteY63" fmla="*/ 384413 h 640051"/>
                <a:gd name="connsiteX64" fmla="*/ 290063 w 382500"/>
                <a:gd name="connsiteY64" fmla="*/ 398438 h 640051"/>
                <a:gd name="connsiteX65" fmla="*/ 289426 w 382500"/>
                <a:gd name="connsiteY65" fmla="*/ 387601 h 640051"/>
                <a:gd name="connsiteX66" fmla="*/ 300263 w 382500"/>
                <a:gd name="connsiteY66" fmla="*/ 384413 h 640051"/>
                <a:gd name="connsiteX67" fmla="*/ 347438 w 382500"/>
                <a:gd name="connsiteY67" fmla="*/ 341063 h 640051"/>
                <a:gd name="connsiteX68" fmla="*/ 342976 w 382500"/>
                <a:gd name="connsiteY68" fmla="*/ 334688 h 640051"/>
                <a:gd name="connsiteX69" fmla="*/ 340426 w 382500"/>
                <a:gd name="connsiteY69" fmla="*/ 335963 h 640051"/>
                <a:gd name="connsiteX70" fmla="*/ 347438 w 382500"/>
                <a:gd name="connsiteY70" fmla="*/ 341063 h 640051"/>
                <a:gd name="connsiteX71" fmla="*/ 364651 w 382500"/>
                <a:gd name="connsiteY71" fmla="*/ 312376 h 640051"/>
                <a:gd name="connsiteX72" fmla="*/ 360826 w 382500"/>
                <a:gd name="connsiteY72" fmla="*/ 310463 h 640051"/>
                <a:gd name="connsiteX73" fmla="*/ 360188 w 382500"/>
                <a:gd name="connsiteY73" fmla="*/ 312376 h 640051"/>
                <a:gd name="connsiteX74" fmla="*/ 364651 w 382500"/>
                <a:gd name="connsiteY74" fmla="*/ 312376 h 640051"/>
                <a:gd name="connsiteX75" fmla="*/ 364651 w 382500"/>
                <a:gd name="connsiteY75" fmla="*/ 312376 h 640051"/>
                <a:gd name="connsiteX76" fmla="*/ 372938 w 382500"/>
                <a:gd name="connsiteY76" fmla="*/ 262013 h 640051"/>
                <a:gd name="connsiteX77" fmla="*/ 367201 w 382500"/>
                <a:gd name="connsiteY77" fmla="*/ 262013 h 640051"/>
                <a:gd name="connsiteX78" fmla="*/ 373576 w 382500"/>
                <a:gd name="connsiteY78" fmla="*/ 263926 h 640051"/>
                <a:gd name="connsiteX79" fmla="*/ 372938 w 382500"/>
                <a:gd name="connsiteY79" fmla="*/ 262013 h 640051"/>
                <a:gd name="connsiteX80" fmla="*/ 372938 w 382500"/>
                <a:gd name="connsiteY80" fmla="*/ 262013 h 640051"/>
                <a:gd name="connsiteX81" fmla="*/ 382501 w 382500"/>
                <a:gd name="connsiteY81" fmla="*/ 268388 h 640051"/>
                <a:gd name="connsiteX82" fmla="*/ 380588 w 382500"/>
                <a:gd name="connsiteY82" fmla="*/ 256913 h 640051"/>
                <a:gd name="connsiteX83" fmla="*/ 375488 w 382500"/>
                <a:gd name="connsiteY83" fmla="*/ 256276 h 640051"/>
                <a:gd name="connsiteX84" fmla="*/ 382501 w 382500"/>
                <a:gd name="connsiteY84" fmla="*/ 268388 h 640051"/>
                <a:gd name="connsiteX85" fmla="*/ 372301 w 382500"/>
                <a:gd name="connsiteY85" fmla="*/ 258188 h 640051"/>
                <a:gd name="connsiteX86" fmla="*/ 371026 w 382500"/>
                <a:gd name="connsiteY86" fmla="*/ 246076 h 640051"/>
                <a:gd name="connsiteX87" fmla="*/ 366563 w 382500"/>
                <a:gd name="connsiteY87" fmla="*/ 254363 h 640051"/>
                <a:gd name="connsiteX88" fmla="*/ 372301 w 382500"/>
                <a:gd name="connsiteY88" fmla="*/ 258188 h 640051"/>
                <a:gd name="connsiteX89" fmla="*/ 372301 w 382500"/>
                <a:gd name="connsiteY89" fmla="*/ 258188 h 640051"/>
                <a:gd name="connsiteX90" fmla="*/ 0 w 382500"/>
                <a:gd name="connsiteY90" fmla="*/ 359551 h 640051"/>
                <a:gd name="connsiteX91" fmla="*/ 93075 w 382500"/>
                <a:gd name="connsiteY91" fmla="*/ 578214 h 640051"/>
                <a:gd name="connsiteX92" fmla="*/ 94350 w 382500"/>
                <a:gd name="connsiteY92" fmla="*/ 582676 h 640051"/>
                <a:gd name="connsiteX93" fmla="*/ 134513 w 382500"/>
                <a:gd name="connsiteY93" fmla="*/ 632401 h 640051"/>
                <a:gd name="connsiteX94" fmla="*/ 134513 w 382500"/>
                <a:gd name="connsiteY94" fmla="*/ 631126 h 640051"/>
                <a:gd name="connsiteX95" fmla="*/ 140888 w 382500"/>
                <a:gd name="connsiteY95" fmla="*/ 629214 h 640051"/>
                <a:gd name="connsiteX96" fmla="*/ 142163 w 382500"/>
                <a:gd name="connsiteY96" fmla="*/ 592876 h 640051"/>
                <a:gd name="connsiteX97" fmla="*/ 153000 w 382500"/>
                <a:gd name="connsiteY97" fmla="*/ 580126 h 640051"/>
                <a:gd name="connsiteX98" fmla="*/ 159375 w 382500"/>
                <a:gd name="connsiteY98" fmla="*/ 546339 h 640051"/>
                <a:gd name="connsiteX99" fmla="*/ 153638 w 382500"/>
                <a:gd name="connsiteY99" fmla="*/ 540601 h 640051"/>
                <a:gd name="connsiteX100" fmla="*/ 165113 w 382500"/>
                <a:gd name="connsiteY100" fmla="*/ 507451 h 640051"/>
                <a:gd name="connsiteX101" fmla="*/ 202088 w 382500"/>
                <a:gd name="connsiteY101" fmla="*/ 490238 h 640051"/>
                <a:gd name="connsiteX102" fmla="*/ 226313 w 382500"/>
                <a:gd name="connsiteY102" fmla="*/ 460276 h 640051"/>
                <a:gd name="connsiteX103" fmla="*/ 235875 w 382500"/>
                <a:gd name="connsiteY103" fmla="*/ 408638 h 640051"/>
                <a:gd name="connsiteX104" fmla="*/ 274763 w 382500"/>
                <a:gd name="connsiteY104" fmla="*/ 406088 h 640051"/>
                <a:gd name="connsiteX105" fmla="*/ 269663 w 382500"/>
                <a:gd name="connsiteY105" fmla="*/ 379313 h 640051"/>
                <a:gd name="connsiteX106" fmla="*/ 318751 w 382500"/>
                <a:gd name="connsiteY106" fmla="*/ 360826 h 640051"/>
                <a:gd name="connsiteX107" fmla="*/ 321938 w 382500"/>
                <a:gd name="connsiteY107" fmla="*/ 331501 h 640051"/>
                <a:gd name="connsiteX108" fmla="*/ 333413 w 382500"/>
                <a:gd name="connsiteY108" fmla="*/ 334051 h 640051"/>
                <a:gd name="connsiteX109" fmla="*/ 365926 w 382500"/>
                <a:gd name="connsiteY109" fmla="*/ 307276 h 640051"/>
                <a:gd name="connsiteX110" fmla="*/ 379951 w 382500"/>
                <a:gd name="connsiteY110" fmla="*/ 273488 h 640051"/>
                <a:gd name="connsiteX111" fmla="*/ 346801 w 382500"/>
                <a:gd name="connsiteY111" fmla="*/ 240338 h 640051"/>
                <a:gd name="connsiteX112" fmla="*/ 312376 w 382500"/>
                <a:gd name="connsiteY112" fmla="*/ 233326 h 640051"/>
                <a:gd name="connsiteX113" fmla="*/ 299626 w 382500"/>
                <a:gd name="connsiteY113" fmla="*/ 206550 h 640051"/>
                <a:gd name="connsiteX114" fmla="*/ 299626 w 382500"/>
                <a:gd name="connsiteY114" fmla="*/ 191250 h 640051"/>
                <a:gd name="connsiteX115" fmla="*/ 278588 w 382500"/>
                <a:gd name="connsiteY115" fmla="*/ 197625 h 640051"/>
                <a:gd name="connsiteX116" fmla="*/ 255001 w 382500"/>
                <a:gd name="connsiteY116" fmla="*/ 189338 h 640051"/>
                <a:gd name="connsiteX117" fmla="*/ 255001 w 382500"/>
                <a:gd name="connsiteY117" fmla="*/ 163200 h 640051"/>
                <a:gd name="connsiteX118" fmla="*/ 190613 w 382500"/>
                <a:gd name="connsiteY118" fmla="*/ 24225 h 640051"/>
                <a:gd name="connsiteX119" fmla="*/ 143438 w 382500"/>
                <a:gd name="connsiteY119" fmla="*/ 0 h 640051"/>
                <a:gd name="connsiteX120" fmla="*/ 91163 w 382500"/>
                <a:gd name="connsiteY120" fmla="*/ 43988 h 640051"/>
                <a:gd name="connsiteX121" fmla="*/ 77138 w 382500"/>
                <a:gd name="connsiteY121" fmla="*/ 41438 h 640051"/>
                <a:gd name="connsiteX122" fmla="*/ 65025 w 382500"/>
                <a:gd name="connsiteY122" fmla="*/ 19125 h 640051"/>
                <a:gd name="connsiteX123" fmla="*/ 48450 w 382500"/>
                <a:gd name="connsiteY123" fmla="*/ 25500 h 640051"/>
                <a:gd name="connsiteX124" fmla="*/ 24863 w 382500"/>
                <a:gd name="connsiteY124" fmla="*/ 144075 h 640051"/>
                <a:gd name="connsiteX125" fmla="*/ 33150 w 382500"/>
                <a:gd name="connsiteY125" fmla="*/ 182325 h 640051"/>
                <a:gd name="connsiteX126" fmla="*/ 40163 w 382500"/>
                <a:gd name="connsiteY126" fmla="*/ 260101 h 640051"/>
                <a:gd name="connsiteX127" fmla="*/ 21675 w 382500"/>
                <a:gd name="connsiteY127" fmla="*/ 320026 h 640051"/>
                <a:gd name="connsiteX128" fmla="*/ 34425 w 382500"/>
                <a:gd name="connsiteY128" fmla="*/ 330226 h 640051"/>
                <a:gd name="connsiteX129" fmla="*/ 19125 w 382500"/>
                <a:gd name="connsiteY129" fmla="*/ 360188 h 640051"/>
                <a:gd name="connsiteX130" fmla="*/ 2550 w 382500"/>
                <a:gd name="connsiteY130" fmla="*/ 357638 h 640051"/>
                <a:gd name="connsiteX131" fmla="*/ 0 w 382500"/>
                <a:gd name="connsiteY131" fmla="*/ 359551 h 640051"/>
                <a:gd name="connsiteX132" fmla="*/ 0 w 382500"/>
                <a:gd name="connsiteY132" fmla="*/ 359551 h 64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82500" h="640051">
                  <a:moveTo>
                    <a:pt x="151725" y="640051"/>
                  </a:moveTo>
                  <a:lnTo>
                    <a:pt x="151725" y="640051"/>
                  </a:lnTo>
                  <a:lnTo>
                    <a:pt x="151725" y="640051"/>
                  </a:lnTo>
                  <a:lnTo>
                    <a:pt x="151725" y="640051"/>
                  </a:lnTo>
                  <a:lnTo>
                    <a:pt x="151725" y="640051"/>
                  </a:lnTo>
                  <a:close/>
                  <a:moveTo>
                    <a:pt x="198900" y="502988"/>
                  </a:moveTo>
                  <a:lnTo>
                    <a:pt x="193801" y="495339"/>
                  </a:lnTo>
                  <a:lnTo>
                    <a:pt x="193801" y="499164"/>
                  </a:lnTo>
                  <a:lnTo>
                    <a:pt x="198900" y="502988"/>
                  </a:lnTo>
                  <a:close/>
                  <a:moveTo>
                    <a:pt x="189975" y="495976"/>
                  </a:moveTo>
                  <a:lnTo>
                    <a:pt x="189975" y="489601"/>
                  </a:lnTo>
                  <a:lnTo>
                    <a:pt x="189338" y="485776"/>
                  </a:lnTo>
                  <a:lnTo>
                    <a:pt x="189975" y="495976"/>
                  </a:lnTo>
                  <a:close/>
                  <a:moveTo>
                    <a:pt x="212926" y="469201"/>
                  </a:moveTo>
                  <a:lnTo>
                    <a:pt x="211651" y="468563"/>
                  </a:lnTo>
                  <a:lnTo>
                    <a:pt x="212288" y="470476"/>
                  </a:lnTo>
                  <a:lnTo>
                    <a:pt x="212926" y="469201"/>
                  </a:lnTo>
                  <a:lnTo>
                    <a:pt x="212926" y="469201"/>
                  </a:lnTo>
                  <a:close/>
                  <a:moveTo>
                    <a:pt x="277313" y="436688"/>
                  </a:moveTo>
                  <a:lnTo>
                    <a:pt x="276038" y="426488"/>
                  </a:lnTo>
                  <a:lnTo>
                    <a:pt x="273488" y="430951"/>
                  </a:lnTo>
                  <a:lnTo>
                    <a:pt x="277313" y="436688"/>
                  </a:lnTo>
                  <a:close/>
                  <a:moveTo>
                    <a:pt x="261376" y="440513"/>
                  </a:moveTo>
                  <a:lnTo>
                    <a:pt x="262013" y="433501"/>
                  </a:lnTo>
                  <a:lnTo>
                    <a:pt x="254363" y="434776"/>
                  </a:lnTo>
                  <a:lnTo>
                    <a:pt x="261376" y="440513"/>
                  </a:lnTo>
                  <a:lnTo>
                    <a:pt x="261376" y="440513"/>
                  </a:lnTo>
                  <a:close/>
                  <a:moveTo>
                    <a:pt x="284963" y="419476"/>
                  </a:moveTo>
                  <a:lnTo>
                    <a:pt x="282413" y="419476"/>
                  </a:lnTo>
                  <a:lnTo>
                    <a:pt x="282413" y="420751"/>
                  </a:lnTo>
                  <a:lnTo>
                    <a:pt x="284963" y="419476"/>
                  </a:lnTo>
                  <a:close/>
                  <a:moveTo>
                    <a:pt x="253088" y="429676"/>
                  </a:moveTo>
                  <a:lnTo>
                    <a:pt x="247350" y="428401"/>
                  </a:lnTo>
                  <a:lnTo>
                    <a:pt x="246713" y="434138"/>
                  </a:lnTo>
                  <a:lnTo>
                    <a:pt x="253088" y="429676"/>
                  </a:lnTo>
                  <a:lnTo>
                    <a:pt x="253088" y="429676"/>
                  </a:lnTo>
                  <a:close/>
                  <a:moveTo>
                    <a:pt x="285601" y="409276"/>
                  </a:moveTo>
                  <a:lnTo>
                    <a:pt x="291338" y="413738"/>
                  </a:lnTo>
                  <a:lnTo>
                    <a:pt x="289426" y="408638"/>
                  </a:lnTo>
                  <a:lnTo>
                    <a:pt x="285601" y="409276"/>
                  </a:lnTo>
                  <a:close/>
                  <a:moveTo>
                    <a:pt x="268388" y="409913"/>
                  </a:moveTo>
                  <a:lnTo>
                    <a:pt x="262651" y="421388"/>
                  </a:lnTo>
                  <a:lnTo>
                    <a:pt x="270301" y="417563"/>
                  </a:lnTo>
                  <a:lnTo>
                    <a:pt x="268388" y="409913"/>
                  </a:lnTo>
                  <a:lnTo>
                    <a:pt x="268388" y="409913"/>
                  </a:lnTo>
                  <a:close/>
                  <a:moveTo>
                    <a:pt x="240975" y="409913"/>
                  </a:moveTo>
                  <a:lnTo>
                    <a:pt x="238426" y="413738"/>
                  </a:lnTo>
                  <a:lnTo>
                    <a:pt x="240338" y="419476"/>
                  </a:lnTo>
                  <a:lnTo>
                    <a:pt x="240975" y="409913"/>
                  </a:lnTo>
                  <a:lnTo>
                    <a:pt x="240975" y="409913"/>
                  </a:lnTo>
                  <a:close/>
                  <a:moveTo>
                    <a:pt x="278588" y="388876"/>
                  </a:moveTo>
                  <a:lnTo>
                    <a:pt x="277950" y="383776"/>
                  </a:lnTo>
                  <a:lnTo>
                    <a:pt x="276038" y="386963"/>
                  </a:lnTo>
                  <a:lnTo>
                    <a:pt x="278588" y="388876"/>
                  </a:lnTo>
                  <a:lnTo>
                    <a:pt x="278588" y="388876"/>
                  </a:lnTo>
                  <a:close/>
                  <a:moveTo>
                    <a:pt x="275401" y="391426"/>
                  </a:moveTo>
                  <a:lnTo>
                    <a:pt x="269663" y="386326"/>
                  </a:lnTo>
                  <a:lnTo>
                    <a:pt x="269663" y="390788"/>
                  </a:lnTo>
                  <a:lnTo>
                    <a:pt x="275401" y="391426"/>
                  </a:lnTo>
                  <a:close/>
                  <a:moveTo>
                    <a:pt x="239700" y="406726"/>
                  </a:moveTo>
                  <a:lnTo>
                    <a:pt x="238426" y="399713"/>
                  </a:lnTo>
                  <a:lnTo>
                    <a:pt x="235875" y="405451"/>
                  </a:lnTo>
                  <a:lnTo>
                    <a:pt x="239700" y="406726"/>
                  </a:lnTo>
                  <a:close/>
                  <a:moveTo>
                    <a:pt x="300263" y="384413"/>
                  </a:moveTo>
                  <a:lnTo>
                    <a:pt x="290063" y="398438"/>
                  </a:lnTo>
                  <a:lnTo>
                    <a:pt x="289426" y="387601"/>
                  </a:lnTo>
                  <a:lnTo>
                    <a:pt x="300263" y="384413"/>
                  </a:lnTo>
                  <a:close/>
                  <a:moveTo>
                    <a:pt x="347438" y="341063"/>
                  </a:moveTo>
                  <a:lnTo>
                    <a:pt x="342976" y="334688"/>
                  </a:lnTo>
                  <a:lnTo>
                    <a:pt x="340426" y="335963"/>
                  </a:lnTo>
                  <a:lnTo>
                    <a:pt x="347438" y="341063"/>
                  </a:lnTo>
                  <a:close/>
                  <a:moveTo>
                    <a:pt x="364651" y="312376"/>
                  </a:moveTo>
                  <a:lnTo>
                    <a:pt x="360826" y="310463"/>
                  </a:lnTo>
                  <a:lnTo>
                    <a:pt x="360188" y="312376"/>
                  </a:lnTo>
                  <a:lnTo>
                    <a:pt x="364651" y="312376"/>
                  </a:lnTo>
                  <a:lnTo>
                    <a:pt x="364651" y="312376"/>
                  </a:lnTo>
                  <a:close/>
                  <a:moveTo>
                    <a:pt x="372938" y="262013"/>
                  </a:moveTo>
                  <a:lnTo>
                    <a:pt x="367201" y="262013"/>
                  </a:lnTo>
                  <a:lnTo>
                    <a:pt x="373576" y="263926"/>
                  </a:lnTo>
                  <a:lnTo>
                    <a:pt x="372938" y="262013"/>
                  </a:lnTo>
                  <a:lnTo>
                    <a:pt x="372938" y="262013"/>
                  </a:lnTo>
                  <a:close/>
                  <a:moveTo>
                    <a:pt x="382501" y="268388"/>
                  </a:moveTo>
                  <a:lnTo>
                    <a:pt x="380588" y="256913"/>
                  </a:lnTo>
                  <a:lnTo>
                    <a:pt x="375488" y="256276"/>
                  </a:lnTo>
                  <a:cubicBezTo>
                    <a:pt x="376126" y="256913"/>
                    <a:pt x="382501" y="268388"/>
                    <a:pt x="382501" y="268388"/>
                  </a:cubicBezTo>
                  <a:close/>
                  <a:moveTo>
                    <a:pt x="372301" y="258188"/>
                  </a:moveTo>
                  <a:lnTo>
                    <a:pt x="371026" y="246076"/>
                  </a:lnTo>
                  <a:lnTo>
                    <a:pt x="366563" y="254363"/>
                  </a:lnTo>
                  <a:lnTo>
                    <a:pt x="372301" y="258188"/>
                  </a:lnTo>
                  <a:lnTo>
                    <a:pt x="372301" y="258188"/>
                  </a:lnTo>
                  <a:close/>
                  <a:moveTo>
                    <a:pt x="0" y="359551"/>
                  </a:moveTo>
                  <a:lnTo>
                    <a:pt x="93075" y="578214"/>
                  </a:lnTo>
                  <a:lnTo>
                    <a:pt x="94350" y="582676"/>
                  </a:lnTo>
                  <a:lnTo>
                    <a:pt x="134513" y="632401"/>
                  </a:lnTo>
                  <a:lnTo>
                    <a:pt x="134513" y="631126"/>
                  </a:lnTo>
                  <a:lnTo>
                    <a:pt x="140888" y="629214"/>
                  </a:lnTo>
                  <a:lnTo>
                    <a:pt x="142163" y="592876"/>
                  </a:lnTo>
                  <a:lnTo>
                    <a:pt x="153000" y="580126"/>
                  </a:lnTo>
                  <a:lnTo>
                    <a:pt x="159375" y="546339"/>
                  </a:lnTo>
                  <a:lnTo>
                    <a:pt x="153638" y="540601"/>
                  </a:lnTo>
                  <a:lnTo>
                    <a:pt x="165113" y="507451"/>
                  </a:lnTo>
                  <a:lnTo>
                    <a:pt x="202088" y="490238"/>
                  </a:lnTo>
                  <a:lnTo>
                    <a:pt x="226313" y="460276"/>
                  </a:lnTo>
                  <a:lnTo>
                    <a:pt x="235875" y="408638"/>
                  </a:lnTo>
                  <a:lnTo>
                    <a:pt x="274763" y="406088"/>
                  </a:lnTo>
                  <a:lnTo>
                    <a:pt x="269663" y="379313"/>
                  </a:lnTo>
                  <a:lnTo>
                    <a:pt x="318751" y="360826"/>
                  </a:lnTo>
                  <a:lnTo>
                    <a:pt x="321938" y="331501"/>
                  </a:lnTo>
                  <a:lnTo>
                    <a:pt x="333413" y="334051"/>
                  </a:lnTo>
                  <a:lnTo>
                    <a:pt x="365926" y="307276"/>
                  </a:lnTo>
                  <a:lnTo>
                    <a:pt x="379951" y="273488"/>
                  </a:lnTo>
                  <a:lnTo>
                    <a:pt x="346801" y="240338"/>
                  </a:lnTo>
                  <a:lnTo>
                    <a:pt x="312376" y="233326"/>
                  </a:lnTo>
                  <a:lnTo>
                    <a:pt x="299626" y="206550"/>
                  </a:lnTo>
                  <a:lnTo>
                    <a:pt x="299626" y="191250"/>
                  </a:lnTo>
                  <a:lnTo>
                    <a:pt x="278588" y="197625"/>
                  </a:lnTo>
                  <a:lnTo>
                    <a:pt x="255001" y="189338"/>
                  </a:lnTo>
                  <a:lnTo>
                    <a:pt x="255001" y="163200"/>
                  </a:lnTo>
                  <a:lnTo>
                    <a:pt x="190613" y="24225"/>
                  </a:lnTo>
                  <a:lnTo>
                    <a:pt x="143438" y="0"/>
                  </a:lnTo>
                  <a:lnTo>
                    <a:pt x="91163" y="43988"/>
                  </a:lnTo>
                  <a:lnTo>
                    <a:pt x="77138" y="41438"/>
                  </a:lnTo>
                  <a:lnTo>
                    <a:pt x="65025" y="19125"/>
                  </a:lnTo>
                  <a:lnTo>
                    <a:pt x="48450" y="25500"/>
                  </a:lnTo>
                  <a:lnTo>
                    <a:pt x="24863" y="144075"/>
                  </a:lnTo>
                  <a:lnTo>
                    <a:pt x="33150" y="182325"/>
                  </a:lnTo>
                  <a:lnTo>
                    <a:pt x="40163" y="260101"/>
                  </a:lnTo>
                  <a:lnTo>
                    <a:pt x="21675" y="320026"/>
                  </a:lnTo>
                  <a:lnTo>
                    <a:pt x="34425" y="330226"/>
                  </a:lnTo>
                  <a:lnTo>
                    <a:pt x="19125" y="360188"/>
                  </a:lnTo>
                  <a:lnTo>
                    <a:pt x="2550" y="357638"/>
                  </a:lnTo>
                  <a:lnTo>
                    <a:pt x="0" y="359551"/>
                  </a:lnTo>
                  <a:lnTo>
                    <a:pt x="0" y="359551"/>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66" name="Freeform 67">
              <a:extLst>
                <a:ext uri="{FF2B5EF4-FFF2-40B4-BE49-F238E27FC236}">
                  <a16:creationId xmlns:a16="http://schemas.microsoft.com/office/drawing/2014/main" id="{6904B223-92B6-0C74-CDA5-0B8DA6D97154}"/>
                </a:ext>
              </a:extLst>
            </p:cNvPr>
            <p:cNvSpPr/>
            <p:nvPr/>
          </p:nvSpPr>
          <p:spPr>
            <a:xfrm>
              <a:off x="5238281" y="1400423"/>
              <a:ext cx="829389" cy="830664"/>
            </a:xfrm>
            <a:custGeom>
              <a:avLst/>
              <a:gdLst>
                <a:gd name="connsiteX0" fmla="*/ 429038 w 829389"/>
                <a:gd name="connsiteY0" fmla="*/ 385051 h 830664"/>
                <a:gd name="connsiteX1" fmla="*/ 425851 w 829389"/>
                <a:gd name="connsiteY1" fmla="*/ 379951 h 830664"/>
                <a:gd name="connsiteX2" fmla="*/ 425213 w 829389"/>
                <a:gd name="connsiteY2" fmla="*/ 386326 h 830664"/>
                <a:gd name="connsiteX3" fmla="*/ 429038 w 829389"/>
                <a:gd name="connsiteY3" fmla="*/ 385051 h 830664"/>
                <a:gd name="connsiteX4" fmla="*/ 439239 w 829389"/>
                <a:gd name="connsiteY4" fmla="*/ 374213 h 830664"/>
                <a:gd name="connsiteX5" fmla="*/ 431588 w 829389"/>
                <a:gd name="connsiteY5" fmla="*/ 363376 h 830664"/>
                <a:gd name="connsiteX6" fmla="*/ 430313 w 829389"/>
                <a:gd name="connsiteY6" fmla="*/ 367838 h 830664"/>
                <a:gd name="connsiteX7" fmla="*/ 439239 w 829389"/>
                <a:gd name="connsiteY7" fmla="*/ 374213 h 830664"/>
                <a:gd name="connsiteX8" fmla="*/ 445614 w 829389"/>
                <a:gd name="connsiteY8" fmla="*/ 327676 h 830664"/>
                <a:gd name="connsiteX9" fmla="*/ 439239 w 829389"/>
                <a:gd name="connsiteY9" fmla="*/ 321938 h 830664"/>
                <a:gd name="connsiteX10" fmla="*/ 439239 w 829389"/>
                <a:gd name="connsiteY10" fmla="*/ 323213 h 830664"/>
                <a:gd name="connsiteX11" fmla="*/ 445614 w 829389"/>
                <a:gd name="connsiteY11" fmla="*/ 327676 h 830664"/>
                <a:gd name="connsiteX12" fmla="*/ 429676 w 829389"/>
                <a:gd name="connsiteY12" fmla="*/ 830664 h 830664"/>
                <a:gd name="connsiteX13" fmla="*/ 509364 w 829389"/>
                <a:gd name="connsiteY13" fmla="*/ 817914 h 830664"/>
                <a:gd name="connsiteX14" fmla="*/ 531676 w 829389"/>
                <a:gd name="connsiteY14" fmla="*/ 813452 h 830664"/>
                <a:gd name="connsiteX15" fmla="*/ 630489 w 829389"/>
                <a:gd name="connsiteY15" fmla="*/ 796239 h 830664"/>
                <a:gd name="connsiteX16" fmla="*/ 632401 w 829389"/>
                <a:gd name="connsiteY16" fmla="*/ 804527 h 830664"/>
                <a:gd name="connsiteX17" fmla="*/ 638776 w 829389"/>
                <a:gd name="connsiteY17" fmla="*/ 802614 h 830664"/>
                <a:gd name="connsiteX18" fmla="*/ 680851 w 829389"/>
                <a:gd name="connsiteY18" fmla="*/ 793052 h 830664"/>
                <a:gd name="connsiteX19" fmla="*/ 721014 w 829389"/>
                <a:gd name="connsiteY19" fmla="*/ 782852 h 830664"/>
                <a:gd name="connsiteX20" fmla="*/ 761814 w 829389"/>
                <a:gd name="connsiteY20" fmla="*/ 772014 h 830664"/>
                <a:gd name="connsiteX21" fmla="*/ 761177 w 829389"/>
                <a:gd name="connsiteY21" fmla="*/ 770102 h 830664"/>
                <a:gd name="connsiteX22" fmla="*/ 782214 w 829389"/>
                <a:gd name="connsiteY22" fmla="*/ 728664 h 830664"/>
                <a:gd name="connsiteX23" fmla="*/ 780302 w 829389"/>
                <a:gd name="connsiteY23" fmla="*/ 694239 h 830664"/>
                <a:gd name="connsiteX24" fmla="*/ 803889 w 829389"/>
                <a:gd name="connsiteY24" fmla="*/ 634951 h 830664"/>
                <a:gd name="connsiteX25" fmla="*/ 822377 w 829389"/>
                <a:gd name="connsiteY25" fmla="*/ 646426 h 830664"/>
                <a:gd name="connsiteX26" fmla="*/ 829389 w 829389"/>
                <a:gd name="connsiteY26" fmla="*/ 633039 h 830664"/>
                <a:gd name="connsiteX27" fmla="*/ 827477 w 829389"/>
                <a:gd name="connsiteY27" fmla="*/ 581401 h 830664"/>
                <a:gd name="connsiteX28" fmla="*/ 810264 w 829389"/>
                <a:gd name="connsiteY28" fmla="*/ 548889 h 830664"/>
                <a:gd name="connsiteX29" fmla="*/ 784764 w 829389"/>
                <a:gd name="connsiteY29" fmla="*/ 480676 h 830664"/>
                <a:gd name="connsiteX30" fmla="*/ 762451 w 829389"/>
                <a:gd name="connsiteY30" fmla="*/ 455813 h 830664"/>
                <a:gd name="connsiteX31" fmla="*/ 750976 w 829389"/>
                <a:gd name="connsiteY31" fmla="*/ 452626 h 830664"/>
                <a:gd name="connsiteX32" fmla="*/ 709539 w 829389"/>
                <a:gd name="connsiteY32" fmla="*/ 481951 h 830664"/>
                <a:gd name="connsiteX33" fmla="*/ 714001 w 829389"/>
                <a:gd name="connsiteY33" fmla="*/ 487688 h 830664"/>
                <a:gd name="connsiteX34" fmla="*/ 692326 w 829389"/>
                <a:gd name="connsiteY34" fmla="*/ 528489 h 830664"/>
                <a:gd name="connsiteX35" fmla="*/ 671289 w 829389"/>
                <a:gd name="connsiteY35" fmla="*/ 524664 h 830664"/>
                <a:gd name="connsiteX36" fmla="*/ 664914 w 829389"/>
                <a:gd name="connsiteY36" fmla="*/ 481951 h 830664"/>
                <a:gd name="connsiteX37" fmla="*/ 674476 w 829389"/>
                <a:gd name="connsiteY37" fmla="*/ 478764 h 830664"/>
                <a:gd name="connsiteX38" fmla="*/ 692964 w 829389"/>
                <a:gd name="connsiteY38" fmla="*/ 436051 h 830664"/>
                <a:gd name="connsiteX39" fmla="*/ 694876 w 829389"/>
                <a:gd name="connsiteY39" fmla="*/ 360188 h 830664"/>
                <a:gd name="connsiteX40" fmla="*/ 665552 w 829389"/>
                <a:gd name="connsiteY40" fmla="*/ 295801 h 830664"/>
                <a:gd name="connsiteX41" fmla="*/ 600526 w 829389"/>
                <a:gd name="connsiteY41" fmla="*/ 284963 h 830664"/>
                <a:gd name="connsiteX42" fmla="*/ 594151 w 829389"/>
                <a:gd name="connsiteY42" fmla="*/ 274763 h 830664"/>
                <a:gd name="connsiteX43" fmla="*/ 534864 w 829389"/>
                <a:gd name="connsiteY43" fmla="*/ 257550 h 830664"/>
                <a:gd name="connsiteX44" fmla="*/ 507451 w 829389"/>
                <a:gd name="connsiteY44" fmla="*/ 290701 h 830664"/>
                <a:gd name="connsiteX45" fmla="*/ 510001 w 829389"/>
                <a:gd name="connsiteY45" fmla="*/ 320026 h 830664"/>
                <a:gd name="connsiteX46" fmla="*/ 489601 w 829389"/>
                <a:gd name="connsiteY46" fmla="*/ 345526 h 830664"/>
                <a:gd name="connsiteX47" fmla="*/ 494064 w 829389"/>
                <a:gd name="connsiteY47" fmla="*/ 385051 h 830664"/>
                <a:gd name="connsiteX48" fmla="*/ 474301 w 829389"/>
                <a:gd name="connsiteY48" fmla="*/ 399076 h 830664"/>
                <a:gd name="connsiteX49" fmla="*/ 474301 w 829389"/>
                <a:gd name="connsiteY49" fmla="*/ 348713 h 830664"/>
                <a:gd name="connsiteX50" fmla="*/ 456451 w 829389"/>
                <a:gd name="connsiteY50" fmla="*/ 386326 h 830664"/>
                <a:gd name="connsiteX51" fmla="*/ 435413 w 829389"/>
                <a:gd name="connsiteY51" fmla="*/ 419476 h 830664"/>
                <a:gd name="connsiteX52" fmla="*/ 421388 w 829389"/>
                <a:gd name="connsiteY52" fmla="*/ 430951 h 830664"/>
                <a:gd name="connsiteX53" fmla="*/ 428401 w 829389"/>
                <a:gd name="connsiteY53" fmla="*/ 466013 h 830664"/>
                <a:gd name="connsiteX54" fmla="*/ 418838 w 829389"/>
                <a:gd name="connsiteY54" fmla="*/ 502351 h 830664"/>
                <a:gd name="connsiteX55" fmla="*/ 423938 w 829389"/>
                <a:gd name="connsiteY55" fmla="*/ 548251 h 830664"/>
                <a:gd name="connsiteX56" fmla="*/ 417563 w 829389"/>
                <a:gd name="connsiteY56" fmla="*/ 570564 h 830664"/>
                <a:gd name="connsiteX57" fmla="*/ 464101 w 829389"/>
                <a:gd name="connsiteY57" fmla="*/ 659176 h 830664"/>
                <a:gd name="connsiteX58" fmla="*/ 469839 w 829389"/>
                <a:gd name="connsiteY58" fmla="*/ 692964 h 830664"/>
                <a:gd name="connsiteX59" fmla="*/ 464101 w 829389"/>
                <a:gd name="connsiteY59" fmla="*/ 756077 h 830664"/>
                <a:gd name="connsiteX60" fmla="*/ 432864 w 829389"/>
                <a:gd name="connsiteY60" fmla="*/ 826839 h 830664"/>
                <a:gd name="connsiteX61" fmla="*/ 429676 w 829389"/>
                <a:gd name="connsiteY61" fmla="*/ 830664 h 830664"/>
                <a:gd name="connsiteX62" fmla="*/ 429676 w 829389"/>
                <a:gd name="connsiteY62" fmla="*/ 830664 h 830664"/>
                <a:gd name="connsiteX63" fmla="*/ 566739 w 829389"/>
                <a:gd name="connsiteY63" fmla="*/ 251175 h 830664"/>
                <a:gd name="connsiteX64" fmla="*/ 550164 w 829389"/>
                <a:gd name="connsiteY64" fmla="*/ 252451 h 830664"/>
                <a:gd name="connsiteX65" fmla="*/ 561001 w 829389"/>
                <a:gd name="connsiteY65" fmla="*/ 260101 h 830664"/>
                <a:gd name="connsiteX66" fmla="*/ 566739 w 829389"/>
                <a:gd name="connsiteY66" fmla="*/ 251175 h 830664"/>
                <a:gd name="connsiteX67" fmla="*/ 566739 w 829389"/>
                <a:gd name="connsiteY67" fmla="*/ 251175 h 830664"/>
                <a:gd name="connsiteX68" fmla="*/ 469839 w 829389"/>
                <a:gd name="connsiteY68" fmla="*/ 267751 h 830664"/>
                <a:gd name="connsiteX69" fmla="*/ 464739 w 829389"/>
                <a:gd name="connsiteY69" fmla="*/ 267751 h 830664"/>
                <a:gd name="connsiteX70" fmla="*/ 470476 w 829389"/>
                <a:gd name="connsiteY70" fmla="*/ 270301 h 830664"/>
                <a:gd name="connsiteX71" fmla="*/ 469839 w 829389"/>
                <a:gd name="connsiteY71" fmla="*/ 267751 h 830664"/>
                <a:gd name="connsiteX72" fmla="*/ 582039 w 829389"/>
                <a:gd name="connsiteY72" fmla="*/ 186788 h 830664"/>
                <a:gd name="connsiteX73" fmla="*/ 575664 w 829389"/>
                <a:gd name="connsiteY73" fmla="*/ 175950 h 830664"/>
                <a:gd name="connsiteX74" fmla="*/ 573114 w 829389"/>
                <a:gd name="connsiteY74" fmla="*/ 176588 h 830664"/>
                <a:gd name="connsiteX75" fmla="*/ 582039 w 829389"/>
                <a:gd name="connsiteY75" fmla="*/ 186788 h 830664"/>
                <a:gd name="connsiteX76" fmla="*/ 582039 w 829389"/>
                <a:gd name="connsiteY76" fmla="*/ 186788 h 830664"/>
                <a:gd name="connsiteX77" fmla="*/ 0 w 829389"/>
                <a:gd name="connsiteY77" fmla="*/ 233326 h 830664"/>
                <a:gd name="connsiteX78" fmla="*/ 20400 w 829389"/>
                <a:gd name="connsiteY78" fmla="*/ 244800 h 830664"/>
                <a:gd name="connsiteX79" fmla="*/ 125588 w 829389"/>
                <a:gd name="connsiteY79" fmla="*/ 277313 h 830664"/>
                <a:gd name="connsiteX80" fmla="*/ 174676 w 829389"/>
                <a:gd name="connsiteY80" fmla="*/ 290063 h 830664"/>
                <a:gd name="connsiteX81" fmla="*/ 222488 w 829389"/>
                <a:gd name="connsiteY81" fmla="*/ 293251 h 830664"/>
                <a:gd name="connsiteX82" fmla="*/ 256913 w 829389"/>
                <a:gd name="connsiteY82" fmla="*/ 321938 h 830664"/>
                <a:gd name="connsiteX83" fmla="*/ 256913 w 829389"/>
                <a:gd name="connsiteY83" fmla="*/ 365926 h 830664"/>
                <a:gd name="connsiteX84" fmla="*/ 288151 w 829389"/>
                <a:gd name="connsiteY84" fmla="*/ 397163 h 830664"/>
                <a:gd name="connsiteX85" fmla="*/ 288151 w 829389"/>
                <a:gd name="connsiteY85" fmla="*/ 395888 h 830664"/>
                <a:gd name="connsiteX86" fmla="*/ 313013 w 829389"/>
                <a:gd name="connsiteY86" fmla="*/ 323213 h 830664"/>
                <a:gd name="connsiteX87" fmla="*/ 343613 w 829389"/>
                <a:gd name="connsiteY87" fmla="*/ 302176 h 830664"/>
                <a:gd name="connsiteX88" fmla="*/ 366563 w 829389"/>
                <a:gd name="connsiteY88" fmla="*/ 276676 h 830664"/>
                <a:gd name="connsiteX89" fmla="*/ 370388 w 829389"/>
                <a:gd name="connsiteY89" fmla="*/ 299626 h 830664"/>
                <a:gd name="connsiteX90" fmla="*/ 393976 w 829389"/>
                <a:gd name="connsiteY90" fmla="*/ 263288 h 830664"/>
                <a:gd name="connsiteX91" fmla="*/ 450713 w 829389"/>
                <a:gd name="connsiteY91" fmla="*/ 241613 h 830664"/>
                <a:gd name="connsiteX92" fmla="*/ 455176 w 829389"/>
                <a:gd name="connsiteY92" fmla="*/ 232050 h 830664"/>
                <a:gd name="connsiteX93" fmla="*/ 512551 w 829389"/>
                <a:gd name="connsiteY93" fmla="*/ 239063 h 830664"/>
                <a:gd name="connsiteX94" fmla="*/ 534864 w 829389"/>
                <a:gd name="connsiteY94" fmla="*/ 250538 h 830664"/>
                <a:gd name="connsiteX95" fmla="*/ 546339 w 829389"/>
                <a:gd name="connsiteY95" fmla="*/ 221851 h 830664"/>
                <a:gd name="connsiteX96" fmla="*/ 557176 w 829389"/>
                <a:gd name="connsiteY96" fmla="*/ 228226 h 830664"/>
                <a:gd name="connsiteX97" fmla="*/ 602439 w 829389"/>
                <a:gd name="connsiteY97" fmla="*/ 221213 h 830664"/>
                <a:gd name="connsiteX98" fmla="*/ 590964 w 829389"/>
                <a:gd name="connsiteY98" fmla="*/ 203363 h 830664"/>
                <a:gd name="connsiteX99" fmla="*/ 571201 w 829389"/>
                <a:gd name="connsiteY99" fmla="*/ 191888 h 830664"/>
                <a:gd name="connsiteX100" fmla="*/ 575026 w 829389"/>
                <a:gd name="connsiteY100" fmla="*/ 150450 h 830664"/>
                <a:gd name="connsiteX101" fmla="*/ 536138 w 829389"/>
                <a:gd name="connsiteY101" fmla="*/ 172125 h 830664"/>
                <a:gd name="connsiteX102" fmla="*/ 500439 w 829389"/>
                <a:gd name="connsiteY102" fmla="*/ 167663 h 830664"/>
                <a:gd name="connsiteX103" fmla="*/ 488964 w 829389"/>
                <a:gd name="connsiteY103" fmla="*/ 139613 h 830664"/>
                <a:gd name="connsiteX104" fmla="*/ 492788 w 829389"/>
                <a:gd name="connsiteY104" fmla="*/ 130050 h 830664"/>
                <a:gd name="connsiteX105" fmla="*/ 443701 w 829389"/>
                <a:gd name="connsiteY105" fmla="*/ 153000 h 830664"/>
                <a:gd name="connsiteX106" fmla="*/ 411826 w 829389"/>
                <a:gd name="connsiteY106" fmla="*/ 154913 h 830664"/>
                <a:gd name="connsiteX107" fmla="*/ 355726 w 829389"/>
                <a:gd name="connsiteY107" fmla="*/ 189338 h 830664"/>
                <a:gd name="connsiteX108" fmla="*/ 349351 w 829389"/>
                <a:gd name="connsiteY108" fmla="*/ 202088 h 830664"/>
                <a:gd name="connsiteX109" fmla="*/ 314926 w 829389"/>
                <a:gd name="connsiteY109" fmla="*/ 193800 h 830664"/>
                <a:gd name="connsiteX110" fmla="*/ 293251 w 829389"/>
                <a:gd name="connsiteY110" fmla="*/ 204000 h 830664"/>
                <a:gd name="connsiteX111" fmla="*/ 249263 w 829389"/>
                <a:gd name="connsiteY111" fmla="*/ 166388 h 830664"/>
                <a:gd name="connsiteX112" fmla="*/ 151725 w 829389"/>
                <a:gd name="connsiteY112" fmla="*/ 136425 h 830664"/>
                <a:gd name="connsiteX113" fmla="*/ 149813 w 829389"/>
                <a:gd name="connsiteY113" fmla="*/ 124950 h 830664"/>
                <a:gd name="connsiteX114" fmla="*/ 87338 w 829389"/>
                <a:gd name="connsiteY114" fmla="*/ 184238 h 830664"/>
                <a:gd name="connsiteX115" fmla="*/ 52275 w 829389"/>
                <a:gd name="connsiteY115" fmla="*/ 193800 h 830664"/>
                <a:gd name="connsiteX116" fmla="*/ 1912 w 829389"/>
                <a:gd name="connsiteY116" fmla="*/ 231413 h 830664"/>
                <a:gd name="connsiteX117" fmla="*/ 0 w 829389"/>
                <a:gd name="connsiteY117" fmla="*/ 233326 h 830664"/>
                <a:gd name="connsiteX118" fmla="*/ 0 w 829389"/>
                <a:gd name="connsiteY118" fmla="*/ 233326 h 830664"/>
                <a:gd name="connsiteX119" fmla="*/ 227588 w 829389"/>
                <a:gd name="connsiteY119" fmla="*/ 87975 h 830664"/>
                <a:gd name="connsiteX120" fmla="*/ 152363 w 829389"/>
                <a:gd name="connsiteY120" fmla="*/ 124950 h 830664"/>
                <a:gd name="connsiteX121" fmla="*/ 177225 w 829389"/>
                <a:gd name="connsiteY121" fmla="*/ 149175 h 830664"/>
                <a:gd name="connsiteX122" fmla="*/ 187426 w 829389"/>
                <a:gd name="connsiteY122" fmla="*/ 124950 h 830664"/>
                <a:gd name="connsiteX123" fmla="*/ 212926 w 829389"/>
                <a:gd name="connsiteY123" fmla="*/ 93075 h 830664"/>
                <a:gd name="connsiteX124" fmla="*/ 227588 w 829389"/>
                <a:gd name="connsiteY124" fmla="*/ 87975 h 830664"/>
                <a:gd name="connsiteX125" fmla="*/ 227588 w 829389"/>
                <a:gd name="connsiteY125" fmla="*/ 87975 h 830664"/>
                <a:gd name="connsiteX126" fmla="*/ 143438 w 829389"/>
                <a:gd name="connsiteY126" fmla="*/ 0 h 830664"/>
                <a:gd name="connsiteX127" fmla="*/ 91800 w 829389"/>
                <a:gd name="connsiteY127" fmla="*/ 35063 h 830664"/>
                <a:gd name="connsiteX128" fmla="*/ 89250 w 829389"/>
                <a:gd name="connsiteY128" fmla="*/ 52275 h 830664"/>
                <a:gd name="connsiteX129" fmla="*/ 129413 w 829389"/>
                <a:gd name="connsiteY129" fmla="*/ 22313 h 830664"/>
                <a:gd name="connsiteX130" fmla="*/ 143438 w 829389"/>
                <a:gd name="connsiteY130" fmla="*/ 0 h 83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29389" h="830664">
                  <a:moveTo>
                    <a:pt x="429038" y="385051"/>
                  </a:moveTo>
                  <a:lnTo>
                    <a:pt x="425851" y="379951"/>
                  </a:lnTo>
                  <a:lnTo>
                    <a:pt x="425213" y="386326"/>
                  </a:lnTo>
                  <a:lnTo>
                    <a:pt x="429038" y="385051"/>
                  </a:lnTo>
                  <a:close/>
                  <a:moveTo>
                    <a:pt x="439239" y="374213"/>
                  </a:moveTo>
                  <a:lnTo>
                    <a:pt x="431588" y="363376"/>
                  </a:lnTo>
                  <a:lnTo>
                    <a:pt x="430313" y="367838"/>
                  </a:lnTo>
                  <a:lnTo>
                    <a:pt x="439239" y="374213"/>
                  </a:lnTo>
                  <a:close/>
                  <a:moveTo>
                    <a:pt x="445614" y="327676"/>
                  </a:moveTo>
                  <a:lnTo>
                    <a:pt x="439239" y="321938"/>
                  </a:lnTo>
                  <a:lnTo>
                    <a:pt x="439239" y="323213"/>
                  </a:lnTo>
                  <a:lnTo>
                    <a:pt x="445614" y="327676"/>
                  </a:lnTo>
                  <a:close/>
                  <a:moveTo>
                    <a:pt x="429676" y="830664"/>
                  </a:moveTo>
                  <a:lnTo>
                    <a:pt x="509364" y="817914"/>
                  </a:lnTo>
                  <a:lnTo>
                    <a:pt x="531676" y="813452"/>
                  </a:lnTo>
                  <a:lnTo>
                    <a:pt x="630489" y="796239"/>
                  </a:lnTo>
                  <a:lnTo>
                    <a:pt x="632401" y="804527"/>
                  </a:lnTo>
                  <a:lnTo>
                    <a:pt x="638776" y="802614"/>
                  </a:lnTo>
                  <a:lnTo>
                    <a:pt x="680851" y="793052"/>
                  </a:lnTo>
                  <a:lnTo>
                    <a:pt x="721014" y="782852"/>
                  </a:lnTo>
                  <a:lnTo>
                    <a:pt x="761814" y="772014"/>
                  </a:lnTo>
                  <a:lnTo>
                    <a:pt x="761177" y="770102"/>
                  </a:lnTo>
                  <a:lnTo>
                    <a:pt x="782214" y="728664"/>
                  </a:lnTo>
                  <a:lnTo>
                    <a:pt x="780302" y="694239"/>
                  </a:lnTo>
                  <a:lnTo>
                    <a:pt x="803889" y="634951"/>
                  </a:lnTo>
                  <a:lnTo>
                    <a:pt x="822377" y="646426"/>
                  </a:lnTo>
                  <a:lnTo>
                    <a:pt x="829389" y="633039"/>
                  </a:lnTo>
                  <a:lnTo>
                    <a:pt x="827477" y="581401"/>
                  </a:lnTo>
                  <a:lnTo>
                    <a:pt x="810264" y="548889"/>
                  </a:lnTo>
                  <a:lnTo>
                    <a:pt x="784764" y="480676"/>
                  </a:lnTo>
                  <a:lnTo>
                    <a:pt x="762451" y="455813"/>
                  </a:lnTo>
                  <a:lnTo>
                    <a:pt x="750976" y="452626"/>
                  </a:lnTo>
                  <a:lnTo>
                    <a:pt x="709539" y="481951"/>
                  </a:lnTo>
                  <a:lnTo>
                    <a:pt x="714001" y="487688"/>
                  </a:lnTo>
                  <a:lnTo>
                    <a:pt x="692326" y="528489"/>
                  </a:lnTo>
                  <a:lnTo>
                    <a:pt x="671289" y="524664"/>
                  </a:lnTo>
                  <a:lnTo>
                    <a:pt x="664914" y="481951"/>
                  </a:lnTo>
                  <a:lnTo>
                    <a:pt x="674476" y="478764"/>
                  </a:lnTo>
                  <a:lnTo>
                    <a:pt x="692964" y="436051"/>
                  </a:lnTo>
                  <a:lnTo>
                    <a:pt x="694876" y="360188"/>
                  </a:lnTo>
                  <a:lnTo>
                    <a:pt x="665552" y="295801"/>
                  </a:lnTo>
                  <a:lnTo>
                    <a:pt x="600526" y="284963"/>
                  </a:lnTo>
                  <a:lnTo>
                    <a:pt x="594151" y="274763"/>
                  </a:lnTo>
                  <a:lnTo>
                    <a:pt x="534864" y="257550"/>
                  </a:lnTo>
                  <a:lnTo>
                    <a:pt x="507451" y="290701"/>
                  </a:lnTo>
                  <a:lnTo>
                    <a:pt x="510001" y="320026"/>
                  </a:lnTo>
                  <a:lnTo>
                    <a:pt x="489601" y="345526"/>
                  </a:lnTo>
                  <a:lnTo>
                    <a:pt x="494064" y="385051"/>
                  </a:lnTo>
                  <a:lnTo>
                    <a:pt x="474301" y="399076"/>
                  </a:lnTo>
                  <a:lnTo>
                    <a:pt x="474301" y="348713"/>
                  </a:lnTo>
                  <a:lnTo>
                    <a:pt x="456451" y="386326"/>
                  </a:lnTo>
                  <a:lnTo>
                    <a:pt x="435413" y="419476"/>
                  </a:lnTo>
                  <a:lnTo>
                    <a:pt x="421388" y="430951"/>
                  </a:lnTo>
                  <a:lnTo>
                    <a:pt x="428401" y="466013"/>
                  </a:lnTo>
                  <a:lnTo>
                    <a:pt x="418838" y="502351"/>
                  </a:lnTo>
                  <a:lnTo>
                    <a:pt x="423938" y="548251"/>
                  </a:lnTo>
                  <a:lnTo>
                    <a:pt x="417563" y="570564"/>
                  </a:lnTo>
                  <a:lnTo>
                    <a:pt x="464101" y="659176"/>
                  </a:lnTo>
                  <a:lnTo>
                    <a:pt x="469839" y="692964"/>
                  </a:lnTo>
                  <a:lnTo>
                    <a:pt x="464101" y="756077"/>
                  </a:lnTo>
                  <a:lnTo>
                    <a:pt x="432864" y="826839"/>
                  </a:lnTo>
                  <a:lnTo>
                    <a:pt x="429676" y="830664"/>
                  </a:lnTo>
                  <a:lnTo>
                    <a:pt x="429676" y="830664"/>
                  </a:lnTo>
                  <a:close/>
                  <a:moveTo>
                    <a:pt x="566739" y="251175"/>
                  </a:moveTo>
                  <a:lnTo>
                    <a:pt x="550164" y="252451"/>
                  </a:lnTo>
                  <a:lnTo>
                    <a:pt x="561001" y="260101"/>
                  </a:lnTo>
                  <a:lnTo>
                    <a:pt x="566739" y="251175"/>
                  </a:lnTo>
                  <a:lnTo>
                    <a:pt x="566739" y="251175"/>
                  </a:lnTo>
                  <a:close/>
                  <a:moveTo>
                    <a:pt x="469839" y="267751"/>
                  </a:moveTo>
                  <a:lnTo>
                    <a:pt x="464739" y="267751"/>
                  </a:lnTo>
                  <a:lnTo>
                    <a:pt x="470476" y="270301"/>
                  </a:lnTo>
                  <a:lnTo>
                    <a:pt x="469839" y="267751"/>
                  </a:lnTo>
                  <a:close/>
                  <a:moveTo>
                    <a:pt x="582039" y="186788"/>
                  </a:moveTo>
                  <a:lnTo>
                    <a:pt x="575664" y="175950"/>
                  </a:lnTo>
                  <a:lnTo>
                    <a:pt x="573114" y="176588"/>
                  </a:lnTo>
                  <a:lnTo>
                    <a:pt x="582039" y="186788"/>
                  </a:lnTo>
                  <a:lnTo>
                    <a:pt x="582039" y="186788"/>
                  </a:lnTo>
                  <a:close/>
                  <a:moveTo>
                    <a:pt x="0" y="233326"/>
                  </a:moveTo>
                  <a:lnTo>
                    <a:pt x="20400" y="244800"/>
                  </a:lnTo>
                  <a:lnTo>
                    <a:pt x="125588" y="277313"/>
                  </a:lnTo>
                  <a:lnTo>
                    <a:pt x="174676" y="290063"/>
                  </a:lnTo>
                  <a:lnTo>
                    <a:pt x="222488" y="293251"/>
                  </a:lnTo>
                  <a:lnTo>
                    <a:pt x="256913" y="321938"/>
                  </a:lnTo>
                  <a:lnTo>
                    <a:pt x="256913" y="365926"/>
                  </a:lnTo>
                  <a:lnTo>
                    <a:pt x="288151" y="397163"/>
                  </a:lnTo>
                  <a:lnTo>
                    <a:pt x="288151" y="395888"/>
                  </a:lnTo>
                  <a:lnTo>
                    <a:pt x="313013" y="323213"/>
                  </a:lnTo>
                  <a:lnTo>
                    <a:pt x="343613" y="302176"/>
                  </a:lnTo>
                  <a:lnTo>
                    <a:pt x="366563" y="276676"/>
                  </a:lnTo>
                  <a:lnTo>
                    <a:pt x="370388" y="299626"/>
                  </a:lnTo>
                  <a:lnTo>
                    <a:pt x="393976" y="263288"/>
                  </a:lnTo>
                  <a:lnTo>
                    <a:pt x="450713" y="241613"/>
                  </a:lnTo>
                  <a:lnTo>
                    <a:pt x="455176" y="232050"/>
                  </a:lnTo>
                  <a:lnTo>
                    <a:pt x="512551" y="239063"/>
                  </a:lnTo>
                  <a:lnTo>
                    <a:pt x="534864" y="250538"/>
                  </a:lnTo>
                  <a:lnTo>
                    <a:pt x="546339" y="221851"/>
                  </a:lnTo>
                  <a:lnTo>
                    <a:pt x="557176" y="228226"/>
                  </a:lnTo>
                  <a:lnTo>
                    <a:pt x="602439" y="221213"/>
                  </a:lnTo>
                  <a:lnTo>
                    <a:pt x="590964" y="203363"/>
                  </a:lnTo>
                  <a:lnTo>
                    <a:pt x="571201" y="191888"/>
                  </a:lnTo>
                  <a:lnTo>
                    <a:pt x="575026" y="150450"/>
                  </a:lnTo>
                  <a:lnTo>
                    <a:pt x="536138" y="172125"/>
                  </a:lnTo>
                  <a:lnTo>
                    <a:pt x="500439" y="167663"/>
                  </a:lnTo>
                  <a:lnTo>
                    <a:pt x="488964" y="139613"/>
                  </a:lnTo>
                  <a:lnTo>
                    <a:pt x="492788" y="130050"/>
                  </a:lnTo>
                  <a:lnTo>
                    <a:pt x="443701" y="153000"/>
                  </a:lnTo>
                  <a:lnTo>
                    <a:pt x="411826" y="154913"/>
                  </a:lnTo>
                  <a:lnTo>
                    <a:pt x="355726" y="189338"/>
                  </a:lnTo>
                  <a:lnTo>
                    <a:pt x="349351" y="202088"/>
                  </a:lnTo>
                  <a:lnTo>
                    <a:pt x="314926" y="193800"/>
                  </a:lnTo>
                  <a:lnTo>
                    <a:pt x="293251" y="204000"/>
                  </a:lnTo>
                  <a:lnTo>
                    <a:pt x="249263" y="166388"/>
                  </a:lnTo>
                  <a:lnTo>
                    <a:pt x="151725" y="136425"/>
                  </a:lnTo>
                  <a:lnTo>
                    <a:pt x="149813" y="124950"/>
                  </a:lnTo>
                  <a:lnTo>
                    <a:pt x="87338" y="184238"/>
                  </a:lnTo>
                  <a:lnTo>
                    <a:pt x="52275" y="193800"/>
                  </a:lnTo>
                  <a:lnTo>
                    <a:pt x="1912" y="231413"/>
                  </a:lnTo>
                  <a:lnTo>
                    <a:pt x="0" y="233326"/>
                  </a:lnTo>
                  <a:lnTo>
                    <a:pt x="0" y="233326"/>
                  </a:lnTo>
                  <a:close/>
                  <a:moveTo>
                    <a:pt x="227588" y="87975"/>
                  </a:moveTo>
                  <a:lnTo>
                    <a:pt x="152363" y="124950"/>
                  </a:lnTo>
                  <a:lnTo>
                    <a:pt x="177225" y="149175"/>
                  </a:lnTo>
                  <a:lnTo>
                    <a:pt x="187426" y="124950"/>
                  </a:lnTo>
                  <a:lnTo>
                    <a:pt x="212926" y="93075"/>
                  </a:lnTo>
                  <a:lnTo>
                    <a:pt x="227588" y="87975"/>
                  </a:lnTo>
                  <a:lnTo>
                    <a:pt x="227588" y="87975"/>
                  </a:lnTo>
                  <a:close/>
                  <a:moveTo>
                    <a:pt x="143438" y="0"/>
                  </a:moveTo>
                  <a:lnTo>
                    <a:pt x="91800" y="35063"/>
                  </a:lnTo>
                  <a:lnTo>
                    <a:pt x="89250" y="52275"/>
                  </a:lnTo>
                  <a:lnTo>
                    <a:pt x="129413" y="22313"/>
                  </a:lnTo>
                  <a:lnTo>
                    <a:pt x="143438"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p>
              <a:endParaRPr lang="en-KR" sz="1350"/>
            </a:p>
          </p:txBody>
        </p:sp>
        <p:sp>
          <p:nvSpPr>
            <p:cNvPr id="167" name="Freeform 27">
              <a:extLst>
                <a:ext uri="{FF2B5EF4-FFF2-40B4-BE49-F238E27FC236}">
                  <a16:creationId xmlns:a16="http://schemas.microsoft.com/office/drawing/2014/main" id="{DC845313-2470-9362-E9D6-52913CF1F349}"/>
                </a:ext>
              </a:extLst>
            </p:cNvPr>
            <p:cNvSpPr/>
            <p:nvPr/>
          </p:nvSpPr>
          <p:spPr>
            <a:xfrm>
              <a:off x="3387874" y="2374511"/>
              <a:ext cx="762451" cy="589851"/>
            </a:xfrm>
            <a:custGeom>
              <a:avLst/>
              <a:gdLst>
                <a:gd name="connsiteX0" fmla="*/ 759902 w 762451"/>
                <a:gd name="connsiteY0" fmla="*/ 174038 h 586501"/>
                <a:gd name="connsiteX1" fmla="*/ 762452 w 762451"/>
                <a:gd name="connsiteY1" fmla="*/ 48450 h 586501"/>
                <a:gd name="connsiteX2" fmla="*/ 731214 w 762451"/>
                <a:gd name="connsiteY2" fmla="*/ 47175 h 586501"/>
                <a:gd name="connsiteX3" fmla="*/ 574389 w 762451"/>
                <a:gd name="connsiteY3" fmla="*/ 41438 h 586501"/>
                <a:gd name="connsiteX4" fmla="*/ 559089 w 762451"/>
                <a:gd name="connsiteY4" fmla="*/ 40800 h 586501"/>
                <a:gd name="connsiteX5" fmla="*/ 546339 w 762451"/>
                <a:gd name="connsiteY5" fmla="*/ 40163 h 586501"/>
                <a:gd name="connsiteX6" fmla="*/ 355726 w 762451"/>
                <a:gd name="connsiteY6" fmla="*/ 28050 h 586501"/>
                <a:gd name="connsiteX7" fmla="*/ 228863 w 762451"/>
                <a:gd name="connsiteY7" fmla="*/ 17213 h 586501"/>
                <a:gd name="connsiteX8" fmla="*/ 70125 w 762451"/>
                <a:gd name="connsiteY8" fmla="*/ 1913 h 586501"/>
                <a:gd name="connsiteX9" fmla="*/ 54825 w 762451"/>
                <a:gd name="connsiteY9" fmla="*/ 0 h 586501"/>
                <a:gd name="connsiteX10" fmla="*/ 52913 w 762451"/>
                <a:gd name="connsiteY10" fmla="*/ 16575 h 586501"/>
                <a:gd name="connsiteX11" fmla="*/ 18487 w 762451"/>
                <a:gd name="connsiteY11" fmla="*/ 351263 h 586501"/>
                <a:gd name="connsiteX12" fmla="*/ 6375 w 762451"/>
                <a:gd name="connsiteY12" fmla="*/ 468563 h 586501"/>
                <a:gd name="connsiteX13" fmla="*/ 1275 w 762451"/>
                <a:gd name="connsiteY13" fmla="*/ 519564 h 586501"/>
                <a:gd name="connsiteX14" fmla="*/ 0 w 762451"/>
                <a:gd name="connsiteY14" fmla="*/ 536139 h 586501"/>
                <a:gd name="connsiteX15" fmla="*/ 19763 w 762451"/>
                <a:gd name="connsiteY15" fmla="*/ 538051 h 586501"/>
                <a:gd name="connsiteX16" fmla="*/ 343613 w 762451"/>
                <a:gd name="connsiteY16" fmla="*/ 566739 h 586501"/>
                <a:gd name="connsiteX17" fmla="*/ 485776 w 762451"/>
                <a:gd name="connsiteY17" fmla="*/ 576301 h 586501"/>
                <a:gd name="connsiteX18" fmla="*/ 627939 w 762451"/>
                <a:gd name="connsiteY18" fmla="*/ 582676 h 586501"/>
                <a:gd name="connsiteX19" fmla="*/ 648339 w 762451"/>
                <a:gd name="connsiteY19" fmla="*/ 583314 h 586501"/>
                <a:gd name="connsiteX20" fmla="*/ 661089 w 762451"/>
                <a:gd name="connsiteY20" fmla="*/ 583951 h 586501"/>
                <a:gd name="connsiteX21" fmla="*/ 688501 w 762451"/>
                <a:gd name="connsiteY21" fmla="*/ 584589 h 586501"/>
                <a:gd name="connsiteX22" fmla="*/ 701251 w 762451"/>
                <a:gd name="connsiteY22" fmla="*/ 585226 h 586501"/>
                <a:gd name="connsiteX23" fmla="*/ 741414 w 762451"/>
                <a:gd name="connsiteY23" fmla="*/ 586501 h 586501"/>
                <a:gd name="connsiteX24" fmla="*/ 752252 w 762451"/>
                <a:gd name="connsiteY24" fmla="*/ 586501 h 586501"/>
                <a:gd name="connsiteX25" fmla="*/ 752252 w 762451"/>
                <a:gd name="connsiteY25" fmla="*/ 573751 h 586501"/>
                <a:gd name="connsiteX26" fmla="*/ 759264 w 762451"/>
                <a:gd name="connsiteY26" fmla="*/ 233963 h 586501"/>
                <a:gd name="connsiteX27" fmla="*/ 759902 w 762451"/>
                <a:gd name="connsiteY27" fmla="*/ 196351 h 586501"/>
                <a:gd name="connsiteX28" fmla="*/ 759902 w 762451"/>
                <a:gd name="connsiteY28" fmla="*/ 184238 h 586501"/>
                <a:gd name="connsiteX29" fmla="*/ 759902 w 762451"/>
                <a:gd name="connsiteY29" fmla="*/ 174038 h 586501"/>
                <a:gd name="connsiteX30" fmla="*/ 759902 w 762451"/>
                <a:gd name="connsiteY30" fmla="*/ 174038 h 5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2451" h="586501">
                  <a:moveTo>
                    <a:pt x="759902" y="174038"/>
                  </a:moveTo>
                  <a:lnTo>
                    <a:pt x="762452" y="48450"/>
                  </a:lnTo>
                  <a:lnTo>
                    <a:pt x="731214" y="47175"/>
                  </a:lnTo>
                  <a:lnTo>
                    <a:pt x="574389" y="41438"/>
                  </a:lnTo>
                  <a:lnTo>
                    <a:pt x="559089" y="40800"/>
                  </a:lnTo>
                  <a:lnTo>
                    <a:pt x="546339" y="40163"/>
                  </a:lnTo>
                  <a:lnTo>
                    <a:pt x="355726" y="28050"/>
                  </a:lnTo>
                  <a:lnTo>
                    <a:pt x="228863" y="17213"/>
                  </a:lnTo>
                  <a:lnTo>
                    <a:pt x="70125" y="1913"/>
                  </a:lnTo>
                  <a:lnTo>
                    <a:pt x="54825" y="0"/>
                  </a:lnTo>
                  <a:lnTo>
                    <a:pt x="52913" y="16575"/>
                  </a:lnTo>
                  <a:lnTo>
                    <a:pt x="18487" y="351263"/>
                  </a:lnTo>
                  <a:lnTo>
                    <a:pt x="6375" y="468563"/>
                  </a:lnTo>
                  <a:lnTo>
                    <a:pt x="1275" y="519564"/>
                  </a:lnTo>
                  <a:lnTo>
                    <a:pt x="0" y="536139"/>
                  </a:lnTo>
                  <a:lnTo>
                    <a:pt x="19763" y="538051"/>
                  </a:lnTo>
                  <a:lnTo>
                    <a:pt x="343613" y="566739"/>
                  </a:lnTo>
                  <a:lnTo>
                    <a:pt x="485776" y="576301"/>
                  </a:lnTo>
                  <a:lnTo>
                    <a:pt x="627939" y="582676"/>
                  </a:lnTo>
                  <a:lnTo>
                    <a:pt x="648339" y="583314"/>
                  </a:lnTo>
                  <a:lnTo>
                    <a:pt x="661089" y="583951"/>
                  </a:lnTo>
                  <a:lnTo>
                    <a:pt x="688501" y="584589"/>
                  </a:lnTo>
                  <a:lnTo>
                    <a:pt x="701251" y="585226"/>
                  </a:lnTo>
                  <a:lnTo>
                    <a:pt x="741414" y="586501"/>
                  </a:lnTo>
                  <a:lnTo>
                    <a:pt x="752252" y="586501"/>
                  </a:lnTo>
                  <a:lnTo>
                    <a:pt x="752252" y="573751"/>
                  </a:lnTo>
                  <a:lnTo>
                    <a:pt x="759264" y="233963"/>
                  </a:lnTo>
                  <a:lnTo>
                    <a:pt x="759902" y="196351"/>
                  </a:lnTo>
                  <a:lnTo>
                    <a:pt x="759902" y="184238"/>
                  </a:lnTo>
                  <a:lnTo>
                    <a:pt x="759902" y="174038"/>
                  </a:lnTo>
                  <a:lnTo>
                    <a:pt x="759902" y="174038"/>
                  </a:lnTo>
                  <a:close/>
                </a:path>
              </a:pathLst>
            </a:custGeom>
            <a:solidFill>
              <a:schemeClr val="bg2"/>
            </a:solidFill>
            <a:ln w="28575" cap="flat">
              <a:solidFill>
                <a:schemeClr val="accent5"/>
              </a:solidFill>
              <a:prstDash val="solid"/>
              <a:miter/>
            </a:ln>
          </p:spPr>
          <p:txBody>
            <a:bodyPr rtlCol="0" anchor="ctr"/>
            <a:lstStyle/>
            <a:p>
              <a:endParaRPr lang="en-KR" sz="1350"/>
            </a:p>
          </p:txBody>
        </p:sp>
        <p:sp>
          <p:nvSpPr>
            <p:cNvPr id="168" name="Freeform 51">
              <a:extLst>
                <a:ext uri="{FF2B5EF4-FFF2-40B4-BE49-F238E27FC236}">
                  <a16:creationId xmlns:a16="http://schemas.microsoft.com/office/drawing/2014/main" id="{45EE1609-5AF2-3A93-15A7-364037A26692}"/>
                </a:ext>
              </a:extLst>
            </p:cNvPr>
            <p:cNvSpPr/>
            <p:nvPr/>
          </p:nvSpPr>
          <p:spPr>
            <a:xfrm>
              <a:off x="5228341" y="2138161"/>
              <a:ext cx="433500" cy="752251"/>
            </a:xfrm>
            <a:custGeom>
              <a:avLst/>
              <a:gdLst>
                <a:gd name="connsiteX0" fmla="*/ 56100 w 433500"/>
                <a:gd name="connsiteY0" fmla="*/ 34425 h 752251"/>
                <a:gd name="connsiteX1" fmla="*/ 54825 w 433500"/>
                <a:gd name="connsiteY1" fmla="*/ 37613 h 752251"/>
                <a:gd name="connsiteX2" fmla="*/ 79050 w 433500"/>
                <a:gd name="connsiteY2" fmla="*/ 52913 h 752251"/>
                <a:gd name="connsiteX3" fmla="*/ 86700 w 433500"/>
                <a:gd name="connsiteY3" fmla="*/ 68213 h 752251"/>
                <a:gd name="connsiteX4" fmla="*/ 112200 w 433500"/>
                <a:gd name="connsiteY4" fmla="*/ 92438 h 752251"/>
                <a:gd name="connsiteX5" fmla="*/ 111563 w 433500"/>
                <a:gd name="connsiteY5" fmla="*/ 112838 h 752251"/>
                <a:gd name="connsiteX6" fmla="*/ 97538 w 433500"/>
                <a:gd name="connsiteY6" fmla="*/ 153000 h 752251"/>
                <a:gd name="connsiteX7" fmla="*/ 65025 w 433500"/>
                <a:gd name="connsiteY7" fmla="*/ 175950 h 752251"/>
                <a:gd name="connsiteX8" fmla="*/ 35700 w 433500"/>
                <a:gd name="connsiteY8" fmla="*/ 181688 h 752251"/>
                <a:gd name="connsiteX9" fmla="*/ 29963 w 433500"/>
                <a:gd name="connsiteY9" fmla="*/ 214838 h 752251"/>
                <a:gd name="connsiteX10" fmla="*/ 40163 w 433500"/>
                <a:gd name="connsiteY10" fmla="*/ 219300 h 752251"/>
                <a:gd name="connsiteX11" fmla="*/ 29963 w 433500"/>
                <a:gd name="connsiteY11" fmla="*/ 284963 h 752251"/>
                <a:gd name="connsiteX12" fmla="*/ 6375 w 433500"/>
                <a:gd name="connsiteY12" fmla="*/ 299626 h 752251"/>
                <a:gd name="connsiteX13" fmla="*/ 10838 w 433500"/>
                <a:gd name="connsiteY13" fmla="*/ 324488 h 752251"/>
                <a:gd name="connsiteX14" fmla="*/ 5100 w 433500"/>
                <a:gd name="connsiteY14" fmla="*/ 327038 h 752251"/>
                <a:gd name="connsiteX15" fmla="*/ 5100 w 433500"/>
                <a:gd name="connsiteY15" fmla="*/ 327038 h 752251"/>
                <a:gd name="connsiteX16" fmla="*/ 0 w 433500"/>
                <a:gd name="connsiteY16" fmla="*/ 355726 h 752251"/>
                <a:gd name="connsiteX17" fmla="*/ 20400 w 433500"/>
                <a:gd name="connsiteY17" fmla="*/ 412463 h 752251"/>
                <a:gd name="connsiteX18" fmla="*/ 93713 w 433500"/>
                <a:gd name="connsiteY18" fmla="*/ 474301 h 752251"/>
                <a:gd name="connsiteX19" fmla="*/ 100088 w 433500"/>
                <a:gd name="connsiteY19" fmla="*/ 504263 h 752251"/>
                <a:gd name="connsiteX20" fmla="*/ 114112 w 433500"/>
                <a:gd name="connsiteY20" fmla="*/ 518926 h 752251"/>
                <a:gd name="connsiteX21" fmla="*/ 160650 w 433500"/>
                <a:gd name="connsiteY21" fmla="*/ 516376 h 752251"/>
                <a:gd name="connsiteX22" fmla="*/ 152363 w 433500"/>
                <a:gd name="connsiteY22" fmla="*/ 559089 h 752251"/>
                <a:gd name="connsiteX23" fmla="*/ 149175 w 433500"/>
                <a:gd name="connsiteY23" fmla="*/ 605626 h 752251"/>
                <a:gd name="connsiteX24" fmla="*/ 177225 w 433500"/>
                <a:gd name="connsiteY24" fmla="*/ 627939 h 752251"/>
                <a:gd name="connsiteX25" fmla="*/ 221213 w 433500"/>
                <a:gd name="connsiteY25" fmla="*/ 647064 h 752251"/>
                <a:gd name="connsiteX26" fmla="*/ 244163 w 433500"/>
                <a:gd name="connsiteY26" fmla="*/ 664914 h 752251"/>
                <a:gd name="connsiteX27" fmla="*/ 256913 w 433500"/>
                <a:gd name="connsiteY27" fmla="*/ 701251 h 752251"/>
                <a:gd name="connsiteX28" fmla="*/ 249901 w 433500"/>
                <a:gd name="connsiteY28" fmla="*/ 714639 h 752251"/>
                <a:gd name="connsiteX29" fmla="*/ 295800 w 433500"/>
                <a:gd name="connsiteY29" fmla="*/ 751614 h 752251"/>
                <a:gd name="connsiteX30" fmla="*/ 297713 w 433500"/>
                <a:gd name="connsiteY30" fmla="*/ 752252 h 752251"/>
                <a:gd name="connsiteX31" fmla="*/ 293888 w 433500"/>
                <a:gd name="connsiteY31" fmla="*/ 748426 h 752251"/>
                <a:gd name="connsiteX32" fmla="*/ 306638 w 433500"/>
                <a:gd name="connsiteY32" fmla="*/ 717826 h 752251"/>
                <a:gd name="connsiteX33" fmla="*/ 356363 w 433500"/>
                <a:gd name="connsiteY33" fmla="*/ 731214 h 752251"/>
                <a:gd name="connsiteX34" fmla="*/ 368476 w 433500"/>
                <a:gd name="connsiteY34" fmla="*/ 717189 h 752251"/>
                <a:gd name="connsiteX35" fmla="*/ 358276 w 433500"/>
                <a:gd name="connsiteY35" fmla="*/ 688501 h 752251"/>
                <a:gd name="connsiteX36" fmla="*/ 398438 w 433500"/>
                <a:gd name="connsiteY36" fmla="*/ 664914 h 752251"/>
                <a:gd name="connsiteX37" fmla="*/ 386963 w 433500"/>
                <a:gd name="connsiteY37" fmla="*/ 649614 h 752251"/>
                <a:gd name="connsiteX38" fmla="*/ 397163 w 433500"/>
                <a:gd name="connsiteY38" fmla="*/ 627939 h 752251"/>
                <a:gd name="connsiteX39" fmla="*/ 397163 w 433500"/>
                <a:gd name="connsiteY39" fmla="*/ 627939 h 752251"/>
                <a:gd name="connsiteX40" fmla="*/ 394613 w 433500"/>
                <a:gd name="connsiteY40" fmla="*/ 627301 h 752251"/>
                <a:gd name="connsiteX41" fmla="*/ 395251 w 433500"/>
                <a:gd name="connsiteY41" fmla="*/ 570564 h 752251"/>
                <a:gd name="connsiteX42" fmla="*/ 409276 w 433500"/>
                <a:gd name="connsiteY42" fmla="*/ 559726 h 752251"/>
                <a:gd name="connsiteX43" fmla="*/ 433501 w 433500"/>
                <a:gd name="connsiteY43" fmla="*/ 502988 h 752251"/>
                <a:gd name="connsiteX44" fmla="*/ 428401 w 433500"/>
                <a:gd name="connsiteY44" fmla="*/ 478126 h 752251"/>
                <a:gd name="connsiteX45" fmla="*/ 412463 w 433500"/>
                <a:gd name="connsiteY45" fmla="*/ 447526 h 752251"/>
                <a:gd name="connsiteX46" fmla="*/ 422026 w 433500"/>
                <a:gd name="connsiteY46" fmla="*/ 413738 h 752251"/>
                <a:gd name="connsiteX47" fmla="*/ 376763 w 433500"/>
                <a:gd name="connsiteY47" fmla="*/ 96900 h 752251"/>
                <a:gd name="connsiteX48" fmla="*/ 370388 w 433500"/>
                <a:gd name="connsiteY48" fmla="*/ 89888 h 752251"/>
                <a:gd name="connsiteX49" fmla="*/ 353813 w 433500"/>
                <a:gd name="connsiteY49" fmla="*/ 52275 h 752251"/>
                <a:gd name="connsiteX50" fmla="*/ 340425 w 433500"/>
                <a:gd name="connsiteY50" fmla="*/ 38250 h 752251"/>
                <a:gd name="connsiteX51" fmla="*/ 334688 w 433500"/>
                <a:gd name="connsiteY51" fmla="*/ 1275 h 752251"/>
                <a:gd name="connsiteX52" fmla="*/ 334688 w 433500"/>
                <a:gd name="connsiteY52" fmla="*/ 0 h 752251"/>
                <a:gd name="connsiteX53" fmla="*/ 247988 w 433500"/>
                <a:gd name="connsiteY53" fmla="*/ 12112 h 752251"/>
                <a:gd name="connsiteX54" fmla="*/ 195713 w 433500"/>
                <a:gd name="connsiteY54" fmla="*/ 18487 h 752251"/>
                <a:gd name="connsiteX55" fmla="*/ 56100 w 433500"/>
                <a:gd name="connsiteY55" fmla="*/ 34425 h 752251"/>
                <a:gd name="connsiteX56" fmla="*/ 56100 w 433500"/>
                <a:gd name="connsiteY56" fmla="*/ 34425 h 752251"/>
                <a:gd name="connsiteX57" fmla="*/ 56100 w 433500"/>
                <a:gd name="connsiteY57" fmla="*/ 34425 h 75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33500" h="752251">
                  <a:moveTo>
                    <a:pt x="56100" y="34425"/>
                  </a:moveTo>
                  <a:lnTo>
                    <a:pt x="54825" y="37613"/>
                  </a:lnTo>
                  <a:lnTo>
                    <a:pt x="79050" y="52913"/>
                  </a:lnTo>
                  <a:lnTo>
                    <a:pt x="86700" y="68213"/>
                  </a:lnTo>
                  <a:lnTo>
                    <a:pt x="112200" y="92438"/>
                  </a:lnTo>
                  <a:lnTo>
                    <a:pt x="111563" y="112838"/>
                  </a:lnTo>
                  <a:lnTo>
                    <a:pt x="97538" y="153000"/>
                  </a:lnTo>
                  <a:lnTo>
                    <a:pt x="65025" y="175950"/>
                  </a:lnTo>
                  <a:lnTo>
                    <a:pt x="35700" y="181688"/>
                  </a:lnTo>
                  <a:lnTo>
                    <a:pt x="29963" y="214838"/>
                  </a:lnTo>
                  <a:lnTo>
                    <a:pt x="40163" y="219300"/>
                  </a:lnTo>
                  <a:lnTo>
                    <a:pt x="29963" y="284963"/>
                  </a:lnTo>
                  <a:lnTo>
                    <a:pt x="6375" y="299626"/>
                  </a:lnTo>
                  <a:lnTo>
                    <a:pt x="10838" y="324488"/>
                  </a:lnTo>
                  <a:lnTo>
                    <a:pt x="5100" y="327038"/>
                  </a:lnTo>
                  <a:lnTo>
                    <a:pt x="5100" y="327038"/>
                  </a:lnTo>
                  <a:lnTo>
                    <a:pt x="0" y="355726"/>
                  </a:lnTo>
                  <a:lnTo>
                    <a:pt x="20400" y="412463"/>
                  </a:lnTo>
                  <a:lnTo>
                    <a:pt x="93713" y="474301"/>
                  </a:lnTo>
                  <a:lnTo>
                    <a:pt x="100088" y="504263"/>
                  </a:lnTo>
                  <a:lnTo>
                    <a:pt x="114112" y="518926"/>
                  </a:lnTo>
                  <a:lnTo>
                    <a:pt x="160650" y="516376"/>
                  </a:lnTo>
                  <a:lnTo>
                    <a:pt x="152363" y="559089"/>
                  </a:lnTo>
                  <a:lnTo>
                    <a:pt x="149175" y="605626"/>
                  </a:lnTo>
                  <a:lnTo>
                    <a:pt x="177225" y="627939"/>
                  </a:lnTo>
                  <a:lnTo>
                    <a:pt x="221213" y="647064"/>
                  </a:lnTo>
                  <a:lnTo>
                    <a:pt x="244163" y="664914"/>
                  </a:lnTo>
                  <a:lnTo>
                    <a:pt x="256913" y="701251"/>
                  </a:lnTo>
                  <a:lnTo>
                    <a:pt x="249901" y="714639"/>
                  </a:lnTo>
                  <a:lnTo>
                    <a:pt x="295800" y="751614"/>
                  </a:lnTo>
                  <a:lnTo>
                    <a:pt x="297713" y="752252"/>
                  </a:lnTo>
                  <a:lnTo>
                    <a:pt x="293888" y="748426"/>
                  </a:lnTo>
                  <a:lnTo>
                    <a:pt x="306638" y="717826"/>
                  </a:lnTo>
                  <a:lnTo>
                    <a:pt x="356363" y="731214"/>
                  </a:lnTo>
                  <a:lnTo>
                    <a:pt x="368476" y="717189"/>
                  </a:lnTo>
                  <a:lnTo>
                    <a:pt x="358276" y="688501"/>
                  </a:lnTo>
                  <a:lnTo>
                    <a:pt x="398438" y="664914"/>
                  </a:lnTo>
                  <a:lnTo>
                    <a:pt x="386963" y="649614"/>
                  </a:lnTo>
                  <a:lnTo>
                    <a:pt x="397163" y="627939"/>
                  </a:lnTo>
                  <a:lnTo>
                    <a:pt x="397163" y="627939"/>
                  </a:lnTo>
                  <a:lnTo>
                    <a:pt x="394613" y="627301"/>
                  </a:lnTo>
                  <a:lnTo>
                    <a:pt x="395251" y="570564"/>
                  </a:lnTo>
                  <a:lnTo>
                    <a:pt x="409276" y="559726"/>
                  </a:lnTo>
                  <a:lnTo>
                    <a:pt x="433501" y="502988"/>
                  </a:lnTo>
                  <a:lnTo>
                    <a:pt x="428401" y="478126"/>
                  </a:lnTo>
                  <a:lnTo>
                    <a:pt x="412463" y="447526"/>
                  </a:lnTo>
                  <a:lnTo>
                    <a:pt x="422026" y="413738"/>
                  </a:lnTo>
                  <a:lnTo>
                    <a:pt x="376763" y="96900"/>
                  </a:lnTo>
                  <a:lnTo>
                    <a:pt x="370388" y="89888"/>
                  </a:lnTo>
                  <a:lnTo>
                    <a:pt x="353813" y="52275"/>
                  </a:lnTo>
                  <a:lnTo>
                    <a:pt x="340425" y="38250"/>
                  </a:lnTo>
                  <a:lnTo>
                    <a:pt x="334688" y="1275"/>
                  </a:lnTo>
                  <a:lnTo>
                    <a:pt x="334688" y="0"/>
                  </a:lnTo>
                  <a:lnTo>
                    <a:pt x="247988" y="12112"/>
                  </a:lnTo>
                  <a:lnTo>
                    <a:pt x="195713" y="18487"/>
                  </a:lnTo>
                  <a:lnTo>
                    <a:pt x="56100" y="34425"/>
                  </a:lnTo>
                  <a:lnTo>
                    <a:pt x="56100" y="34425"/>
                  </a:lnTo>
                  <a:lnTo>
                    <a:pt x="56100" y="34425"/>
                  </a:lnTo>
                  <a:close/>
                </a:path>
              </a:pathLst>
            </a:custGeom>
            <a:solidFill>
              <a:schemeClr val="bg2"/>
            </a:solidFill>
            <a:ln w="6350" cap="flat">
              <a:solidFill>
                <a:schemeClr val="bg1">
                  <a:lumMod val="95000"/>
                </a:schemeClr>
              </a:solidFill>
              <a:prstDash val="solid"/>
              <a:miter/>
            </a:ln>
          </p:spPr>
          <p:txBody>
            <a:bodyPr rtlCol="0" anchor="ctr"/>
            <a:lstStyle/>
            <a:p>
              <a:endParaRPr lang="en-KR" sz="1350"/>
            </a:p>
          </p:txBody>
        </p:sp>
        <p:sp>
          <p:nvSpPr>
            <p:cNvPr id="169" name="Freeform 48">
              <a:extLst>
                <a:ext uri="{FF2B5EF4-FFF2-40B4-BE49-F238E27FC236}">
                  <a16:creationId xmlns:a16="http://schemas.microsoft.com/office/drawing/2014/main" id="{C6DE5AE8-A763-2240-8673-C4371345CAF7}"/>
                </a:ext>
              </a:extLst>
            </p:cNvPr>
            <p:cNvSpPr/>
            <p:nvPr/>
          </p:nvSpPr>
          <p:spPr>
            <a:xfrm>
              <a:off x="5941067" y="3047875"/>
              <a:ext cx="589688" cy="604351"/>
            </a:xfrm>
            <a:custGeom>
              <a:avLst/>
              <a:gdLst>
                <a:gd name="connsiteX0" fmla="*/ 564189 w 589688"/>
                <a:gd name="connsiteY0" fmla="*/ 434138 h 604351"/>
                <a:gd name="connsiteX1" fmla="*/ 563551 w 589688"/>
                <a:gd name="connsiteY1" fmla="*/ 415013 h 604351"/>
                <a:gd name="connsiteX2" fmla="*/ 559089 w 589688"/>
                <a:gd name="connsiteY2" fmla="*/ 431588 h 604351"/>
                <a:gd name="connsiteX3" fmla="*/ 564189 w 589688"/>
                <a:gd name="connsiteY3" fmla="*/ 434138 h 604351"/>
                <a:gd name="connsiteX4" fmla="*/ 564189 w 589688"/>
                <a:gd name="connsiteY4" fmla="*/ 434138 h 604351"/>
                <a:gd name="connsiteX5" fmla="*/ 571201 w 589688"/>
                <a:gd name="connsiteY5" fmla="*/ 404813 h 604351"/>
                <a:gd name="connsiteX6" fmla="*/ 568651 w 589688"/>
                <a:gd name="connsiteY6" fmla="*/ 390150 h 604351"/>
                <a:gd name="connsiteX7" fmla="*/ 566739 w 589688"/>
                <a:gd name="connsiteY7" fmla="*/ 399713 h 604351"/>
                <a:gd name="connsiteX8" fmla="*/ 571201 w 589688"/>
                <a:gd name="connsiteY8" fmla="*/ 404813 h 604351"/>
                <a:gd name="connsiteX9" fmla="*/ 270301 w 589688"/>
                <a:gd name="connsiteY9" fmla="*/ 0 h 604351"/>
                <a:gd name="connsiteX10" fmla="*/ 262013 w 589688"/>
                <a:gd name="connsiteY10" fmla="*/ 1912 h 604351"/>
                <a:gd name="connsiteX11" fmla="*/ 237788 w 589688"/>
                <a:gd name="connsiteY11" fmla="*/ 7012 h 604351"/>
                <a:gd name="connsiteX12" fmla="*/ 147900 w 589688"/>
                <a:gd name="connsiteY12" fmla="*/ 25500 h 604351"/>
                <a:gd name="connsiteX13" fmla="*/ 139613 w 589688"/>
                <a:gd name="connsiteY13" fmla="*/ 27412 h 604351"/>
                <a:gd name="connsiteX14" fmla="*/ 130050 w 589688"/>
                <a:gd name="connsiteY14" fmla="*/ 28688 h 604351"/>
                <a:gd name="connsiteX15" fmla="*/ 79688 w 589688"/>
                <a:gd name="connsiteY15" fmla="*/ 38887 h 604351"/>
                <a:gd name="connsiteX16" fmla="*/ 66300 w 589688"/>
                <a:gd name="connsiteY16" fmla="*/ 41438 h 604351"/>
                <a:gd name="connsiteX17" fmla="*/ 11475 w 589688"/>
                <a:gd name="connsiteY17" fmla="*/ 52275 h 604351"/>
                <a:gd name="connsiteX18" fmla="*/ 0 w 589688"/>
                <a:gd name="connsiteY18" fmla="*/ 53550 h 604351"/>
                <a:gd name="connsiteX19" fmla="*/ 637 w 589688"/>
                <a:gd name="connsiteY19" fmla="*/ 54825 h 604351"/>
                <a:gd name="connsiteX20" fmla="*/ 86700 w 589688"/>
                <a:gd name="connsiteY20" fmla="*/ 316838 h 604351"/>
                <a:gd name="connsiteX21" fmla="*/ 135150 w 589688"/>
                <a:gd name="connsiteY21" fmla="*/ 400351 h 604351"/>
                <a:gd name="connsiteX22" fmla="*/ 123675 w 589688"/>
                <a:gd name="connsiteY22" fmla="*/ 413101 h 604351"/>
                <a:gd name="connsiteX23" fmla="*/ 116663 w 589688"/>
                <a:gd name="connsiteY23" fmla="*/ 463463 h 604351"/>
                <a:gd name="connsiteX24" fmla="*/ 130688 w 589688"/>
                <a:gd name="connsiteY24" fmla="*/ 488963 h 604351"/>
                <a:gd name="connsiteX25" fmla="*/ 131963 w 589688"/>
                <a:gd name="connsiteY25" fmla="*/ 536138 h 604351"/>
                <a:gd name="connsiteX26" fmla="*/ 149175 w 589688"/>
                <a:gd name="connsiteY26" fmla="*/ 569289 h 604351"/>
                <a:gd name="connsiteX27" fmla="*/ 149175 w 589688"/>
                <a:gd name="connsiteY27" fmla="*/ 569926 h 604351"/>
                <a:gd name="connsiteX28" fmla="*/ 148538 w 589688"/>
                <a:gd name="connsiteY28" fmla="*/ 570564 h 604351"/>
                <a:gd name="connsiteX29" fmla="*/ 170213 w 589688"/>
                <a:gd name="connsiteY29" fmla="*/ 604351 h 604351"/>
                <a:gd name="connsiteX30" fmla="*/ 473026 w 589688"/>
                <a:gd name="connsiteY30" fmla="*/ 566738 h 604351"/>
                <a:gd name="connsiteX31" fmla="*/ 482589 w 589688"/>
                <a:gd name="connsiteY31" fmla="*/ 589689 h 604351"/>
                <a:gd name="connsiteX32" fmla="*/ 492788 w 589688"/>
                <a:gd name="connsiteY32" fmla="*/ 539963 h 604351"/>
                <a:gd name="connsiteX33" fmla="*/ 510001 w 589688"/>
                <a:gd name="connsiteY33" fmla="*/ 526576 h 604351"/>
                <a:gd name="connsiteX34" fmla="*/ 554626 w 589688"/>
                <a:gd name="connsiteY34" fmla="*/ 529126 h 604351"/>
                <a:gd name="connsiteX35" fmla="*/ 554626 w 589688"/>
                <a:gd name="connsiteY35" fmla="*/ 529126 h 604351"/>
                <a:gd name="connsiteX36" fmla="*/ 550801 w 589688"/>
                <a:gd name="connsiteY36" fmla="*/ 459638 h 604351"/>
                <a:gd name="connsiteX37" fmla="*/ 559089 w 589688"/>
                <a:gd name="connsiteY37" fmla="*/ 444976 h 604351"/>
                <a:gd name="connsiteX38" fmla="*/ 554626 w 589688"/>
                <a:gd name="connsiteY38" fmla="*/ 416926 h 604351"/>
                <a:gd name="connsiteX39" fmla="*/ 564189 w 589688"/>
                <a:gd name="connsiteY39" fmla="*/ 390150 h 604351"/>
                <a:gd name="connsiteX40" fmla="*/ 577576 w 589688"/>
                <a:gd name="connsiteY40" fmla="*/ 375488 h 604351"/>
                <a:gd name="connsiteX41" fmla="*/ 567376 w 589688"/>
                <a:gd name="connsiteY41" fmla="*/ 365926 h 604351"/>
                <a:gd name="connsiteX42" fmla="*/ 589689 w 589688"/>
                <a:gd name="connsiteY42" fmla="*/ 337876 h 604351"/>
                <a:gd name="connsiteX43" fmla="*/ 589051 w 589688"/>
                <a:gd name="connsiteY43" fmla="*/ 337876 h 604351"/>
                <a:gd name="connsiteX44" fmla="*/ 550801 w 589688"/>
                <a:gd name="connsiteY44" fmla="*/ 302175 h 604351"/>
                <a:gd name="connsiteX45" fmla="*/ 497888 w 589688"/>
                <a:gd name="connsiteY45" fmla="*/ 226950 h 604351"/>
                <a:gd name="connsiteX46" fmla="*/ 468563 w 589688"/>
                <a:gd name="connsiteY46" fmla="*/ 213563 h 604351"/>
                <a:gd name="connsiteX47" fmla="*/ 344888 w 589688"/>
                <a:gd name="connsiteY47" fmla="*/ 109650 h 604351"/>
                <a:gd name="connsiteX48" fmla="*/ 314288 w 589688"/>
                <a:gd name="connsiteY48" fmla="*/ 71400 h 604351"/>
                <a:gd name="connsiteX49" fmla="*/ 256276 w 589688"/>
                <a:gd name="connsiteY49" fmla="*/ 47175 h 604351"/>
                <a:gd name="connsiteX50" fmla="*/ 253088 w 589688"/>
                <a:gd name="connsiteY50" fmla="*/ 34425 h 604351"/>
                <a:gd name="connsiteX51" fmla="*/ 270301 w 589688"/>
                <a:gd name="connsiteY51" fmla="*/ 0 h 604351"/>
                <a:gd name="connsiteX52" fmla="*/ 270301 w 589688"/>
                <a:gd name="connsiteY52" fmla="*/ 0 h 604351"/>
                <a:gd name="connsiteX53" fmla="*/ 270301 w 589688"/>
                <a:gd name="connsiteY53" fmla="*/ 0 h 60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89688" h="604351">
                  <a:moveTo>
                    <a:pt x="564189" y="434138"/>
                  </a:moveTo>
                  <a:lnTo>
                    <a:pt x="563551" y="415013"/>
                  </a:lnTo>
                  <a:lnTo>
                    <a:pt x="559089" y="431588"/>
                  </a:lnTo>
                  <a:lnTo>
                    <a:pt x="564189" y="434138"/>
                  </a:lnTo>
                  <a:lnTo>
                    <a:pt x="564189" y="434138"/>
                  </a:lnTo>
                  <a:close/>
                  <a:moveTo>
                    <a:pt x="571201" y="404813"/>
                  </a:moveTo>
                  <a:lnTo>
                    <a:pt x="568651" y="390150"/>
                  </a:lnTo>
                  <a:lnTo>
                    <a:pt x="566739" y="399713"/>
                  </a:lnTo>
                  <a:lnTo>
                    <a:pt x="571201" y="404813"/>
                  </a:lnTo>
                  <a:close/>
                  <a:moveTo>
                    <a:pt x="270301" y="0"/>
                  </a:moveTo>
                  <a:lnTo>
                    <a:pt x="262013" y="1912"/>
                  </a:lnTo>
                  <a:lnTo>
                    <a:pt x="237788" y="7012"/>
                  </a:lnTo>
                  <a:lnTo>
                    <a:pt x="147900" y="25500"/>
                  </a:lnTo>
                  <a:lnTo>
                    <a:pt x="139613" y="27412"/>
                  </a:lnTo>
                  <a:lnTo>
                    <a:pt x="130050" y="28688"/>
                  </a:lnTo>
                  <a:lnTo>
                    <a:pt x="79688" y="38887"/>
                  </a:lnTo>
                  <a:lnTo>
                    <a:pt x="66300" y="41438"/>
                  </a:lnTo>
                  <a:lnTo>
                    <a:pt x="11475" y="52275"/>
                  </a:lnTo>
                  <a:lnTo>
                    <a:pt x="0" y="53550"/>
                  </a:lnTo>
                  <a:lnTo>
                    <a:pt x="637" y="54825"/>
                  </a:lnTo>
                  <a:lnTo>
                    <a:pt x="86700" y="316838"/>
                  </a:lnTo>
                  <a:lnTo>
                    <a:pt x="135150" y="400351"/>
                  </a:lnTo>
                  <a:lnTo>
                    <a:pt x="123675" y="413101"/>
                  </a:lnTo>
                  <a:lnTo>
                    <a:pt x="116663" y="463463"/>
                  </a:lnTo>
                  <a:lnTo>
                    <a:pt x="130688" y="488963"/>
                  </a:lnTo>
                  <a:lnTo>
                    <a:pt x="131963" y="536138"/>
                  </a:lnTo>
                  <a:lnTo>
                    <a:pt x="149175" y="569289"/>
                  </a:lnTo>
                  <a:lnTo>
                    <a:pt x="149175" y="569926"/>
                  </a:lnTo>
                  <a:lnTo>
                    <a:pt x="148538" y="570564"/>
                  </a:lnTo>
                  <a:lnTo>
                    <a:pt x="170213" y="604351"/>
                  </a:lnTo>
                  <a:lnTo>
                    <a:pt x="473026" y="566738"/>
                  </a:lnTo>
                  <a:lnTo>
                    <a:pt x="482589" y="589689"/>
                  </a:lnTo>
                  <a:lnTo>
                    <a:pt x="492788" y="539963"/>
                  </a:lnTo>
                  <a:lnTo>
                    <a:pt x="510001" y="526576"/>
                  </a:lnTo>
                  <a:lnTo>
                    <a:pt x="554626" y="529126"/>
                  </a:lnTo>
                  <a:lnTo>
                    <a:pt x="554626" y="529126"/>
                  </a:lnTo>
                  <a:lnTo>
                    <a:pt x="550801" y="459638"/>
                  </a:lnTo>
                  <a:lnTo>
                    <a:pt x="559089" y="444976"/>
                  </a:lnTo>
                  <a:lnTo>
                    <a:pt x="554626" y="416926"/>
                  </a:lnTo>
                  <a:lnTo>
                    <a:pt x="564189" y="390150"/>
                  </a:lnTo>
                  <a:lnTo>
                    <a:pt x="577576" y="375488"/>
                  </a:lnTo>
                  <a:lnTo>
                    <a:pt x="567376" y="365926"/>
                  </a:lnTo>
                  <a:lnTo>
                    <a:pt x="589689" y="337876"/>
                  </a:lnTo>
                  <a:lnTo>
                    <a:pt x="589051" y="337876"/>
                  </a:lnTo>
                  <a:lnTo>
                    <a:pt x="550801" y="302175"/>
                  </a:lnTo>
                  <a:lnTo>
                    <a:pt x="497888" y="226950"/>
                  </a:lnTo>
                  <a:lnTo>
                    <a:pt x="468563" y="213563"/>
                  </a:lnTo>
                  <a:lnTo>
                    <a:pt x="344888" y="109650"/>
                  </a:lnTo>
                  <a:lnTo>
                    <a:pt x="314288" y="71400"/>
                  </a:lnTo>
                  <a:lnTo>
                    <a:pt x="256276" y="47175"/>
                  </a:lnTo>
                  <a:lnTo>
                    <a:pt x="253088" y="34425"/>
                  </a:lnTo>
                  <a:lnTo>
                    <a:pt x="270301" y="0"/>
                  </a:lnTo>
                  <a:lnTo>
                    <a:pt x="270301" y="0"/>
                  </a:lnTo>
                  <a:lnTo>
                    <a:pt x="270301" y="0"/>
                  </a:lnTo>
                  <a:close/>
                </a:path>
              </a:pathLst>
            </a:custGeom>
            <a:solidFill>
              <a:schemeClr val="bg2"/>
            </a:solidFill>
            <a:ln w="6350" cap="flat">
              <a:solidFill>
                <a:schemeClr val="bg1">
                  <a:lumMod val="95000"/>
                </a:schemeClr>
              </a:solidFill>
              <a:prstDash val="solid"/>
              <a:miter/>
            </a:ln>
          </p:spPr>
          <p:txBody>
            <a:bodyPr rtlCol="0" anchor="ctr"/>
            <a:lstStyle/>
            <a:p>
              <a:endParaRPr lang="en-KR" sz="1350"/>
            </a:p>
          </p:txBody>
        </p:sp>
        <p:sp>
          <p:nvSpPr>
            <p:cNvPr id="170" name="Freeform 26">
              <a:extLst>
                <a:ext uri="{FF2B5EF4-FFF2-40B4-BE49-F238E27FC236}">
                  <a16:creationId xmlns:a16="http://schemas.microsoft.com/office/drawing/2014/main" id="{6F4EABFB-DC86-A2E8-20D1-E8D78EDE0842}"/>
                </a:ext>
              </a:extLst>
            </p:cNvPr>
            <p:cNvSpPr/>
            <p:nvPr/>
          </p:nvSpPr>
          <p:spPr>
            <a:xfrm>
              <a:off x="1902496" y="1937348"/>
              <a:ext cx="890589" cy="1456690"/>
            </a:xfrm>
            <a:custGeom>
              <a:avLst/>
              <a:gdLst>
                <a:gd name="connsiteX0" fmla="*/ 368476 w 890589"/>
                <a:gd name="connsiteY0" fmla="*/ 1331103 h 1456690"/>
                <a:gd name="connsiteX1" fmla="*/ 371026 w 890589"/>
                <a:gd name="connsiteY1" fmla="*/ 1345128 h 1456690"/>
                <a:gd name="connsiteX2" fmla="*/ 371026 w 890589"/>
                <a:gd name="connsiteY2" fmla="*/ 1347678 h 1456690"/>
                <a:gd name="connsiteX3" fmla="*/ 368476 w 890589"/>
                <a:gd name="connsiteY3" fmla="*/ 1331103 h 1456690"/>
                <a:gd name="connsiteX4" fmla="*/ 368476 w 890589"/>
                <a:gd name="connsiteY4" fmla="*/ 1331103 h 1456690"/>
                <a:gd name="connsiteX5" fmla="*/ 273488 w 890589"/>
                <a:gd name="connsiteY5" fmla="*/ 1275640 h 1456690"/>
                <a:gd name="connsiteX6" fmla="*/ 277951 w 890589"/>
                <a:gd name="connsiteY6" fmla="*/ 1285840 h 1456690"/>
                <a:gd name="connsiteX7" fmla="*/ 280501 w 890589"/>
                <a:gd name="connsiteY7" fmla="*/ 1285202 h 1456690"/>
                <a:gd name="connsiteX8" fmla="*/ 273488 w 890589"/>
                <a:gd name="connsiteY8" fmla="*/ 1275640 h 1456690"/>
                <a:gd name="connsiteX9" fmla="*/ 273488 w 890589"/>
                <a:gd name="connsiteY9" fmla="*/ 1275640 h 1456690"/>
                <a:gd name="connsiteX10" fmla="*/ 386326 w 890589"/>
                <a:gd name="connsiteY10" fmla="*/ 1273728 h 1456690"/>
                <a:gd name="connsiteX11" fmla="*/ 388238 w 890589"/>
                <a:gd name="connsiteY11" fmla="*/ 1290302 h 1456690"/>
                <a:gd name="connsiteX12" fmla="*/ 399713 w 890589"/>
                <a:gd name="connsiteY12" fmla="*/ 1298590 h 1456690"/>
                <a:gd name="connsiteX13" fmla="*/ 386326 w 890589"/>
                <a:gd name="connsiteY13" fmla="*/ 1273728 h 1456690"/>
                <a:gd name="connsiteX14" fmla="*/ 308551 w 890589"/>
                <a:gd name="connsiteY14" fmla="*/ 1182565 h 1456690"/>
                <a:gd name="connsiteX15" fmla="*/ 301538 w 890589"/>
                <a:gd name="connsiteY15" fmla="*/ 1180652 h 1456690"/>
                <a:gd name="connsiteX16" fmla="*/ 307276 w 890589"/>
                <a:gd name="connsiteY16" fmla="*/ 1183202 h 1456690"/>
                <a:gd name="connsiteX17" fmla="*/ 308551 w 890589"/>
                <a:gd name="connsiteY17" fmla="*/ 1182565 h 1456690"/>
                <a:gd name="connsiteX18" fmla="*/ 308551 w 890589"/>
                <a:gd name="connsiteY18" fmla="*/ 1182565 h 1456690"/>
                <a:gd name="connsiteX19" fmla="*/ 237150 w 890589"/>
                <a:gd name="connsiteY19" fmla="*/ 1162802 h 1456690"/>
                <a:gd name="connsiteX20" fmla="*/ 219938 w 890589"/>
                <a:gd name="connsiteY20" fmla="*/ 1173640 h 1456690"/>
                <a:gd name="connsiteX21" fmla="*/ 224400 w 890589"/>
                <a:gd name="connsiteY21" fmla="*/ 1178102 h 1456690"/>
                <a:gd name="connsiteX22" fmla="*/ 237150 w 890589"/>
                <a:gd name="connsiteY22" fmla="*/ 1162802 h 1456690"/>
                <a:gd name="connsiteX23" fmla="*/ 204000 w 890589"/>
                <a:gd name="connsiteY23" fmla="*/ 1151327 h 1456690"/>
                <a:gd name="connsiteX24" fmla="*/ 202725 w 890589"/>
                <a:gd name="connsiteY24" fmla="*/ 1156427 h 1456690"/>
                <a:gd name="connsiteX25" fmla="*/ 208463 w 890589"/>
                <a:gd name="connsiteY25" fmla="*/ 1157702 h 1456690"/>
                <a:gd name="connsiteX26" fmla="*/ 204000 w 890589"/>
                <a:gd name="connsiteY26" fmla="*/ 1151327 h 1456690"/>
                <a:gd name="connsiteX27" fmla="*/ 204000 w 890589"/>
                <a:gd name="connsiteY27" fmla="*/ 1151327 h 1456690"/>
                <a:gd name="connsiteX28" fmla="*/ 260738 w 890589"/>
                <a:gd name="connsiteY28" fmla="*/ 1163440 h 1456690"/>
                <a:gd name="connsiteX29" fmla="*/ 289426 w 890589"/>
                <a:gd name="connsiteY29" fmla="*/ 1179377 h 1456690"/>
                <a:gd name="connsiteX30" fmla="*/ 294526 w 890589"/>
                <a:gd name="connsiteY30" fmla="*/ 1174915 h 1456690"/>
                <a:gd name="connsiteX31" fmla="*/ 260738 w 890589"/>
                <a:gd name="connsiteY31" fmla="*/ 1163440 h 1456690"/>
                <a:gd name="connsiteX32" fmla="*/ 41438 w 890589"/>
                <a:gd name="connsiteY32" fmla="*/ 597976 h 1456690"/>
                <a:gd name="connsiteX33" fmla="*/ 41438 w 890589"/>
                <a:gd name="connsiteY33" fmla="*/ 597976 h 1456690"/>
                <a:gd name="connsiteX34" fmla="*/ 41438 w 890589"/>
                <a:gd name="connsiteY34" fmla="*/ 597976 h 1456690"/>
                <a:gd name="connsiteX35" fmla="*/ 41438 w 890589"/>
                <a:gd name="connsiteY35" fmla="*/ 597976 h 1456690"/>
                <a:gd name="connsiteX36" fmla="*/ 110288 w 890589"/>
                <a:gd name="connsiteY36" fmla="*/ 601164 h 1456690"/>
                <a:gd name="connsiteX37" fmla="*/ 109650 w 890589"/>
                <a:gd name="connsiteY37" fmla="*/ 599251 h 1456690"/>
                <a:gd name="connsiteX38" fmla="*/ 110288 w 890589"/>
                <a:gd name="connsiteY38" fmla="*/ 601164 h 1456690"/>
                <a:gd name="connsiteX39" fmla="*/ 110288 w 890589"/>
                <a:gd name="connsiteY39" fmla="*/ 601164 h 1456690"/>
                <a:gd name="connsiteX40" fmla="*/ 110288 w 890589"/>
                <a:gd name="connsiteY40" fmla="*/ 601164 h 1456690"/>
                <a:gd name="connsiteX41" fmla="*/ 480676 w 890589"/>
                <a:gd name="connsiteY41" fmla="*/ 113475 h 1456690"/>
                <a:gd name="connsiteX42" fmla="*/ 455813 w 890589"/>
                <a:gd name="connsiteY42" fmla="*/ 107100 h 1456690"/>
                <a:gd name="connsiteX43" fmla="*/ 181050 w 890589"/>
                <a:gd name="connsiteY43" fmla="*/ 31238 h 1456690"/>
                <a:gd name="connsiteX44" fmla="*/ 79050 w 890589"/>
                <a:gd name="connsiteY44" fmla="*/ 0 h 1456690"/>
                <a:gd name="connsiteX45" fmla="*/ 79050 w 890589"/>
                <a:gd name="connsiteY45" fmla="*/ 2550 h 1456690"/>
                <a:gd name="connsiteX46" fmla="*/ 73313 w 890589"/>
                <a:gd name="connsiteY46" fmla="*/ 66300 h 1456690"/>
                <a:gd name="connsiteX47" fmla="*/ 45900 w 890589"/>
                <a:gd name="connsiteY47" fmla="*/ 141525 h 1456690"/>
                <a:gd name="connsiteX48" fmla="*/ 638 w 890589"/>
                <a:gd name="connsiteY48" fmla="*/ 196988 h 1456690"/>
                <a:gd name="connsiteX49" fmla="*/ 0 w 890589"/>
                <a:gd name="connsiteY49" fmla="*/ 225038 h 1456690"/>
                <a:gd name="connsiteX50" fmla="*/ 21675 w 890589"/>
                <a:gd name="connsiteY50" fmla="*/ 263926 h 1456690"/>
                <a:gd name="connsiteX51" fmla="*/ 33150 w 890589"/>
                <a:gd name="connsiteY51" fmla="*/ 315563 h 1456690"/>
                <a:gd name="connsiteX52" fmla="*/ 17850 w 890589"/>
                <a:gd name="connsiteY52" fmla="*/ 357001 h 1456690"/>
                <a:gd name="connsiteX53" fmla="*/ 20400 w 890589"/>
                <a:gd name="connsiteY53" fmla="*/ 398438 h 1456690"/>
                <a:gd name="connsiteX54" fmla="*/ 12750 w 890589"/>
                <a:gd name="connsiteY54" fmla="*/ 415651 h 1456690"/>
                <a:gd name="connsiteX55" fmla="*/ 39525 w 890589"/>
                <a:gd name="connsiteY55" fmla="*/ 472388 h 1456690"/>
                <a:gd name="connsiteX56" fmla="*/ 56100 w 890589"/>
                <a:gd name="connsiteY56" fmla="*/ 494064 h 1456690"/>
                <a:gd name="connsiteX57" fmla="*/ 54825 w 890589"/>
                <a:gd name="connsiteY57" fmla="*/ 556539 h 1456690"/>
                <a:gd name="connsiteX58" fmla="*/ 94350 w 890589"/>
                <a:gd name="connsiteY58" fmla="*/ 594151 h 1456690"/>
                <a:gd name="connsiteX59" fmla="*/ 117300 w 890589"/>
                <a:gd name="connsiteY59" fmla="*/ 555901 h 1456690"/>
                <a:gd name="connsiteX60" fmla="*/ 142163 w 890589"/>
                <a:gd name="connsiteY60" fmla="*/ 575664 h 1456690"/>
                <a:gd name="connsiteX61" fmla="*/ 152363 w 890589"/>
                <a:gd name="connsiteY61" fmla="*/ 566101 h 1456690"/>
                <a:gd name="connsiteX62" fmla="*/ 117938 w 890589"/>
                <a:gd name="connsiteY62" fmla="*/ 572476 h 1456690"/>
                <a:gd name="connsiteX63" fmla="*/ 117300 w 890589"/>
                <a:gd name="connsiteY63" fmla="*/ 605626 h 1456690"/>
                <a:gd name="connsiteX64" fmla="*/ 124313 w 890589"/>
                <a:gd name="connsiteY64" fmla="*/ 646426 h 1456690"/>
                <a:gd name="connsiteX65" fmla="*/ 103913 w 890589"/>
                <a:gd name="connsiteY65" fmla="*/ 629214 h 1456690"/>
                <a:gd name="connsiteX66" fmla="*/ 92438 w 890589"/>
                <a:gd name="connsiteY66" fmla="*/ 604351 h 1456690"/>
                <a:gd name="connsiteX67" fmla="*/ 89250 w 890589"/>
                <a:gd name="connsiteY67" fmla="*/ 638776 h 1456690"/>
                <a:gd name="connsiteX68" fmla="*/ 98813 w 890589"/>
                <a:gd name="connsiteY68" fmla="*/ 707626 h 1456690"/>
                <a:gd name="connsiteX69" fmla="*/ 134513 w 890589"/>
                <a:gd name="connsiteY69" fmla="*/ 752252 h 1456690"/>
                <a:gd name="connsiteX70" fmla="*/ 110925 w 890589"/>
                <a:gd name="connsiteY70" fmla="*/ 783489 h 1456690"/>
                <a:gd name="connsiteX71" fmla="*/ 114750 w 890589"/>
                <a:gd name="connsiteY71" fmla="*/ 822377 h 1456690"/>
                <a:gd name="connsiteX72" fmla="*/ 140250 w 890589"/>
                <a:gd name="connsiteY72" fmla="*/ 861902 h 1456690"/>
                <a:gd name="connsiteX73" fmla="*/ 185513 w 890589"/>
                <a:gd name="connsiteY73" fmla="*/ 984939 h 1456690"/>
                <a:gd name="connsiteX74" fmla="*/ 199538 w 890589"/>
                <a:gd name="connsiteY74" fmla="*/ 992590 h 1456690"/>
                <a:gd name="connsiteX75" fmla="*/ 195075 w 890589"/>
                <a:gd name="connsiteY75" fmla="*/ 1078015 h 1456690"/>
                <a:gd name="connsiteX76" fmla="*/ 202088 w 890589"/>
                <a:gd name="connsiteY76" fmla="*/ 1088852 h 1456690"/>
                <a:gd name="connsiteX77" fmla="*/ 298988 w 890589"/>
                <a:gd name="connsiteY77" fmla="*/ 1123277 h 1456690"/>
                <a:gd name="connsiteX78" fmla="*/ 328951 w 890589"/>
                <a:gd name="connsiteY78" fmla="*/ 1155152 h 1456690"/>
                <a:gd name="connsiteX79" fmla="*/ 339788 w 890589"/>
                <a:gd name="connsiteY79" fmla="*/ 1175552 h 1456690"/>
                <a:gd name="connsiteX80" fmla="*/ 368476 w 890589"/>
                <a:gd name="connsiteY80" fmla="*/ 1191490 h 1456690"/>
                <a:gd name="connsiteX81" fmla="*/ 399713 w 890589"/>
                <a:gd name="connsiteY81" fmla="*/ 1197227 h 1456690"/>
                <a:gd name="connsiteX82" fmla="*/ 412463 w 890589"/>
                <a:gd name="connsiteY82" fmla="*/ 1232290 h 1456690"/>
                <a:gd name="connsiteX83" fmla="*/ 437963 w 890589"/>
                <a:gd name="connsiteY83" fmla="*/ 1244403 h 1456690"/>
                <a:gd name="connsiteX84" fmla="*/ 476213 w 890589"/>
                <a:gd name="connsiteY84" fmla="*/ 1290302 h 1456690"/>
                <a:gd name="connsiteX85" fmla="*/ 511914 w 890589"/>
                <a:gd name="connsiteY85" fmla="*/ 1349590 h 1456690"/>
                <a:gd name="connsiteX86" fmla="*/ 509363 w 890589"/>
                <a:gd name="connsiteY86" fmla="*/ 1404415 h 1456690"/>
                <a:gd name="connsiteX87" fmla="*/ 529126 w 890589"/>
                <a:gd name="connsiteY87" fmla="*/ 1431190 h 1456690"/>
                <a:gd name="connsiteX88" fmla="*/ 791777 w 890589"/>
                <a:gd name="connsiteY88" fmla="*/ 1456690 h 1456690"/>
                <a:gd name="connsiteX89" fmla="*/ 791777 w 890589"/>
                <a:gd name="connsiteY89" fmla="*/ 1456690 h 1456690"/>
                <a:gd name="connsiteX90" fmla="*/ 814727 w 890589"/>
                <a:gd name="connsiteY90" fmla="*/ 1455415 h 1456690"/>
                <a:gd name="connsiteX91" fmla="*/ 825564 w 890589"/>
                <a:gd name="connsiteY91" fmla="*/ 1426728 h 1456690"/>
                <a:gd name="connsiteX92" fmla="*/ 805802 w 890589"/>
                <a:gd name="connsiteY92" fmla="*/ 1412065 h 1456690"/>
                <a:gd name="connsiteX93" fmla="*/ 806439 w 890589"/>
                <a:gd name="connsiteY93" fmla="*/ 1364890 h 1456690"/>
                <a:gd name="connsiteX94" fmla="*/ 817914 w 890589"/>
                <a:gd name="connsiteY94" fmla="*/ 1362340 h 1456690"/>
                <a:gd name="connsiteX95" fmla="*/ 840864 w 890589"/>
                <a:gd name="connsiteY95" fmla="*/ 1306240 h 1456690"/>
                <a:gd name="connsiteX96" fmla="*/ 854889 w 890589"/>
                <a:gd name="connsiteY96" fmla="*/ 1279465 h 1456690"/>
                <a:gd name="connsiteX97" fmla="*/ 890589 w 890589"/>
                <a:gd name="connsiteY97" fmla="*/ 1258427 h 1456690"/>
                <a:gd name="connsiteX98" fmla="*/ 870827 w 890589"/>
                <a:gd name="connsiteY98" fmla="*/ 1231015 h 1456690"/>
                <a:gd name="connsiteX99" fmla="*/ 848514 w 890589"/>
                <a:gd name="connsiteY99" fmla="*/ 1171090 h 1456690"/>
                <a:gd name="connsiteX100" fmla="*/ 849789 w 890589"/>
                <a:gd name="connsiteY100" fmla="*/ 1155152 h 1456690"/>
                <a:gd name="connsiteX101" fmla="*/ 849789 w 890589"/>
                <a:gd name="connsiteY101" fmla="*/ 1154515 h 1456690"/>
                <a:gd name="connsiteX102" fmla="*/ 833214 w 890589"/>
                <a:gd name="connsiteY102" fmla="*/ 1132202 h 1456690"/>
                <a:gd name="connsiteX103" fmla="*/ 781577 w 890589"/>
                <a:gd name="connsiteY103" fmla="*/ 1063352 h 1456690"/>
                <a:gd name="connsiteX104" fmla="*/ 682126 w 890589"/>
                <a:gd name="connsiteY104" fmla="*/ 923102 h 1456690"/>
                <a:gd name="connsiteX105" fmla="*/ 541876 w 890589"/>
                <a:gd name="connsiteY105" fmla="*/ 725476 h 1456690"/>
                <a:gd name="connsiteX106" fmla="*/ 464101 w 890589"/>
                <a:gd name="connsiteY106" fmla="*/ 617739 h 1456690"/>
                <a:gd name="connsiteX107" fmla="*/ 388238 w 890589"/>
                <a:gd name="connsiteY107" fmla="*/ 508726 h 1456690"/>
                <a:gd name="connsiteX108" fmla="*/ 475576 w 890589"/>
                <a:gd name="connsiteY108" fmla="*/ 138338 h 1456690"/>
                <a:gd name="connsiteX109" fmla="*/ 480676 w 890589"/>
                <a:gd name="connsiteY109" fmla="*/ 113475 h 1456690"/>
                <a:gd name="connsiteX110" fmla="*/ 480676 w 890589"/>
                <a:gd name="connsiteY110" fmla="*/ 113475 h 14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90589" h="1456690">
                  <a:moveTo>
                    <a:pt x="368476" y="1331103"/>
                  </a:moveTo>
                  <a:lnTo>
                    <a:pt x="371026" y="1345128"/>
                  </a:lnTo>
                  <a:lnTo>
                    <a:pt x="371026" y="1347678"/>
                  </a:lnTo>
                  <a:lnTo>
                    <a:pt x="368476" y="1331103"/>
                  </a:lnTo>
                  <a:lnTo>
                    <a:pt x="368476" y="1331103"/>
                  </a:lnTo>
                  <a:close/>
                  <a:moveTo>
                    <a:pt x="273488" y="1275640"/>
                  </a:moveTo>
                  <a:lnTo>
                    <a:pt x="277951" y="1285840"/>
                  </a:lnTo>
                  <a:lnTo>
                    <a:pt x="280501" y="1285202"/>
                  </a:lnTo>
                  <a:lnTo>
                    <a:pt x="273488" y="1275640"/>
                  </a:lnTo>
                  <a:lnTo>
                    <a:pt x="273488" y="1275640"/>
                  </a:lnTo>
                  <a:close/>
                  <a:moveTo>
                    <a:pt x="386326" y="1273728"/>
                  </a:moveTo>
                  <a:lnTo>
                    <a:pt x="388238" y="1290302"/>
                  </a:lnTo>
                  <a:lnTo>
                    <a:pt x="399713" y="1298590"/>
                  </a:lnTo>
                  <a:lnTo>
                    <a:pt x="386326" y="1273728"/>
                  </a:lnTo>
                  <a:close/>
                  <a:moveTo>
                    <a:pt x="308551" y="1182565"/>
                  </a:moveTo>
                  <a:lnTo>
                    <a:pt x="301538" y="1180652"/>
                  </a:lnTo>
                  <a:lnTo>
                    <a:pt x="307276" y="1183202"/>
                  </a:lnTo>
                  <a:lnTo>
                    <a:pt x="308551" y="1182565"/>
                  </a:lnTo>
                  <a:lnTo>
                    <a:pt x="308551" y="1182565"/>
                  </a:lnTo>
                  <a:close/>
                  <a:moveTo>
                    <a:pt x="237150" y="1162802"/>
                  </a:moveTo>
                  <a:lnTo>
                    <a:pt x="219938" y="1173640"/>
                  </a:lnTo>
                  <a:lnTo>
                    <a:pt x="224400" y="1178102"/>
                  </a:lnTo>
                  <a:lnTo>
                    <a:pt x="237150" y="1162802"/>
                  </a:lnTo>
                  <a:close/>
                  <a:moveTo>
                    <a:pt x="204000" y="1151327"/>
                  </a:moveTo>
                  <a:lnTo>
                    <a:pt x="202725" y="1156427"/>
                  </a:lnTo>
                  <a:lnTo>
                    <a:pt x="208463" y="1157702"/>
                  </a:lnTo>
                  <a:lnTo>
                    <a:pt x="204000" y="1151327"/>
                  </a:lnTo>
                  <a:lnTo>
                    <a:pt x="204000" y="1151327"/>
                  </a:lnTo>
                  <a:close/>
                  <a:moveTo>
                    <a:pt x="260738" y="1163440"/>
                  </a:moveTo>
                  <a:lnTo>
                    <a:pt x="289426" y="1179377"/>
                  </a:lnTo>
                  <a:lnTo>
                    <a:pt x="294526" y="1174915"/>
                  </a:lnTo>
                  <a:lnTo>
                    <a:pt x="260738" y="1163440"/>
                  </a:lnTo>
                  <a:close/>
                  <a:moveTo>
                    <a:pt x="41438" y="597976"/>
                  </a:moveTo>
                  <a:lnTo>
                    <a:pt x="41438" y="597976"/>
                  </a:lnTo>
                  <a:lnTo>
                    <a:pt x="41438" y="597976"/>
                  </a:lnTo>
                  <a:lnTo>
                    <a:pt x="41438" y="597976"/>
                  </a:lnTo>
                  <a:close/>
                  <a:moveTo>
                    <a:pt x="110288" y="601164"/>
                  </a:moveTo>
                  <a:lnTo>
                    <a:pt x="109650" y="599251"/>
                  </a:lnTo>
                  <a:lnTo>
                    <a:pt x="110288" y="601164"/>
                  </a:lnTo>
                  <a:lnTo>
                    <a:pt x="110288" y="601164"/>
                  </a:lnTo>
                  <a:lnTo>
                    <a:pt x="110288" y="601164"/>
                  </a:lnTo>
                  <a:close/>
                  <a:moveTo>
                    <a:pt x="480676" y="113475"/>
                  </a:moveTo>
                  <a:lnTo>
                    <a:pt x="455813" y="107100"/>
                  </a:lnTo>
                  <a:lnTo>
                    <a:pt x="181050" y="31238"/>
                  </a:lnTo>
                  <a:lnTo>
                    <a:pt x="79050" y="0"/>
                  </a:lnTo>
                  <a:lnTo>
                    <a:pt x="79050" y="2550"/>
                  </a:lnTo>
                  <a:lnTo>
                    <a:pt x="73313" y="66300"/>
                  </a:lnTo>
                  <a:lnTo>
                    <a:pt x="45900" y="141525"/>
                  </a:lnTo>
                  <a:lnTo>
                    <a:pt x="638" y="196988"/>
                  </a:lnTo>
                  <a:lnTo>
                    <a:pt x="0" y="225038"/>
                  </a:lnTo>
                  <a:lnTo>
                    <a:pt x="21675" y="263926"/>
                  </a:lnTo>
                  <a:lnTo>
                    <a:pt x="33150" y="315563"/>
                  </a:lnTo>
                  <a:lnTo>
                    <a:pt x="17850" y="357001"/>
                  </a:lnTo>
                  <a:lnTo>
                    <a:pt x="20400" y="398438"/>
                  </a:lnTo>
                  <a:lnTo>
                    <a:pt x="12750" y="415651"/>
                  </a:lnTo>
                  <a:lnTo>
                    <a:pt x="39525" y="472388"/>
                  </a:lnTo>
                  <a:lnTo>
                    <a:pt x="56100" y="494064"/>
                  </a:lnTo>
                  <a:lnTo>
                    <a:pt x="54825" y="556539"/>
                  </a:lnTo>
                  <a:lnTo>
                    <a:pt x="94350" y="594151"/>
                  </a:lnTo>
                  <a:lnTo>
                    <a:pt x="117300" y="555901"/>
                  </a:lnTo>
                  <a:lnTo>
                    <a:pt x="142163" y="575664"/>
                  </a:lnTo>
                  <a:lnTo>
                    <a:pt x="152363" y="566101"/>
                  </a:lnTo>
                  <a:lnTo>
                    <a:pt x="117938" y="572476"/>
                  </a:lnTo>
                  <a:lnTo>
                    <a:pt x="117300" y="605626"/>
                  </a:lnTo>
                  <a:lnTo>
                    <a:pt x="124313" y="646426"/>
                  </a:lnTo>
                  <a:lnTo>
                    <a:pt x="103913" y="629214"/>
                  </a:lnTo>
                  <a:lnTo>
                    <a:pt x="92438" y="604351"/>
                  </a:lnTo>
                  <a:lnTo>
                    <a:pt x="89250" y="638776"/>
                  </a:lnTo>
                  <a:lnTo>
                    <a:pt x="98813" y="707626"/>
                  </a:lnTo>
                  <a:lnTo>
                    <a:pt x="134513" y="752252"/>
                  </a:lnTo>
                  <a:lnTo>
                    <a:pt x="110925" y="783489"/>
                  </a:lnTo>
                  <a:lnTo>
                    <a:pt x="114750" y="822377"/>
                  </a:lnTo>
                  <a:lnTo>
                    <a:pt x="140250" y="861902"/>
                  </a:lnTo>
                  <a:lnTo>
                    <a:pt x="185513" y="984939"/>
                  </a:lnTo>
                  <a:lnTo>
                    <a:pt x="199538" y="992590"/>
                  </a:lnTo>
                  <a:lnTo>
                    <a:pt x="195075" y="1078015"/>
                  </a:lnTo>
                  <a:lnTo>
                    <a:pt x="202088" y="1088852"/>
                  </a:lnTo>
                  <a:lnTo>
                    <a:pt x="298988" y="1123277"/>
                  </a:lnTo>
                  <a:lnTo>
                    <a:pt x="328951" y="1155152"/>
                  </a:lnTo>
                  <a:lnTo>
                    <a:pt x="339788" y="1175552"/>
                  </a:lnTo>
                  <a:lnTo>
                    <a:pt x="368476" y="1191490"/>
                  </a:lnTo>
                  <a:lnTo>
                    <a:pt x="399713" y="1197227"/>
                  </a:lnTo>
                  <a:lnTo>
                    <a:pt x="412463" y="1232290"/>
                  </a:lnTo>
                  <a:lnTo>
                    <a:pt x="437963" y="1244403"/>
                  </a:lnTo>
                  <a:lnTo>
                    <a:pt x="476213" y="1290302"/>
                  </a:lnTo>
                  <a:lnTo>
                    <a:pt x="511914" y="1349590"/>
                  </a:lnTo>
                  <a:lnTo>
                    <a:pt x="509363" y="1404415"/>
                  </a:lnTo>
                  <a:lnTo>
                    <a:pt x="529126" y="1431190"/>
                  </a:lnTo>
                  <a:lnTo>
                    <a:pt x="791777" y="1456690"/>
                  </a:lnTo>
                  <a:lnTo>
                    <a:pt x="791777" y="1456690"/>
                  </a:lnTo>
                  <a:lnTo>
                    <a:pt x="814727" y="1455415"/>
                  </a:lnTo>
                  <a:lnTo>
                    <a:pt x="825564" y="1426728"/>
                  </a:lnTo>
                  <a:lnTo>
                    <a:pt x="805802" y="1412065"/>
                  </a:lnTo>
                  <a:lnTo>
                    <a:pt x="806439" y="1364890"/>
                  </a:lnTo>
                  <a:lnTo>
                    <a:pt x="817914" y="1362340"/>
                  </a:lnTo>
                  <a:lnTo>
                    <a:pt x="840864" y="1306240"/>
                  </a:lnTo>
                  <a:lnTo>
                    <a:pt x="854889" y="1279465"/>
                  </a:lnTo>
                  <a:lnTo>
                    <a:pt x="890589" y="1258427"/>
                  </a:lnTo>
                  <a:lnTo>
                    <a:pt x="870827" y="1231015"/>
                  </a:lnTo>
                  <a:lnTo>
                    <a:pt x="848514" y="1171090"/>
                  </a:lnTo>
                  <a:lnTo>
                    <a:pt x="849789" y="1155152"/>
                  </a:lnTo>
                  <a:lnTo>
                    <a:pt x="849789" y="1154515"/>
                  </a:lnTo>
                  <a:lnTo>
                    <a:pt x="833214" y="1132202"/>
                  </a:lnTo>
                  <a:lnTo>
                    <a:pt x="781577" y="1063352"/>
                  </a:lnTo>
                  <a:lnTo>
                    <a:pt x="682126" y="923102"/>
                  </a:lnTo>
                  <a:lnTo>
                    <a:pt x="541876" y="725476"/>
                  </a:lnTo>
                  <a:lnTo>
                    <a:pt x="464101" y="617739"/>
                  </a:lnTo>
                  <a:lnTo>
                    <a:pt x="388238" y="508726"/>
                  </a:lnTo>
                  <a:lnTo>
                    <a:pt x="475576" y="138338"/>
                  </a:lnTo>
                  <a:lnTo>
                    <a:pt x="480676" y="113475"/>
                  </a:lnTo>
                  <a:lnTo>
                    <a:pt x="480676" y="113475"/>
                  </a:lnTo>
                  <a:close/>
                </a:path>
              </a:pathLst>
            </a:custGeom>
            <a:solidFill>
              <a:schemeClr val="bg2"/>
            </a:solidFill>
            <a:ln w="28575" cap="flat">
              <a:solidFill>
                <a:schemeClr val="accent5"/>
              </a:solidFill>
              <a:prstDash val="solid"/>
              <a:miter/>
            </a:ln>
          </p:spPr>
          <p:txBody>
            <a:bodyPr rtlCol="0" anchor="ctr"/>
            <a:lstStyle/>
            <a:p>
              <a:endParaRPr lang="en-KR" sz="1350"/>
            </a:p>
          </p:txBody>
        </p:sp>
      </p:grpSp>
      <p:pic>
        <p:nvPicPr>
          <p:cNvPr id="172" name="Picture 171" descr="A bottle and a glass of water&#10;&#10;Description automatically generated">
            <a:extLst>
              <a:ext uri="{FF2B5EF4-FFF2-40B4-BE49-F238E27FC236}">
                <a16:creationId xmlns:a16="http://schemas.microsoft.com/office/drawing/2014/main" id="{2C92E313-36A2-4255-A348-3D285CF65DDC}"/>
              </a:ext>
            </a:extLst>
          </p:cNvPr>
          <p:cNvPicPr>
            <a:picLocks noChangeAspect="1"/>
          </p:cNvPicPr>
          <p:nvPr/>
        </p:nvPicPr>
        <p:blipFill>
          <a:blip r:embed="rId6"/>
          <a:stretch>
            <a:fillRect/>
          </a:stretch>
        </p:blipFill>
        <p:spPr>
          <a:xfrm>
            <a:off x="4639535" y="3557181"/>
            <a:ext cx="261969" cy="261969"/>
          </a:xfrm>
          <a:prstGeom prst="rect">
            <a:avLst/>
          </a:prstGeom>
        </p:spPr>
      </p:pic>
    </p:spTree>
    <p:extLst>
      <p:ext uri="{BB962C8B-B14F-4D97-AF65-F5344CB8AC3E}">
        <p14:creationId xmlns:p14="http://schemas.microsoft.com/office/powerpoint/2010/main" val="106355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Elbow Connector 133">
            <a:extLst>
              <a:ext uri="{FF2B5EF4-FFF2-40B4-BE49-F238E27FC236}">
                <a16:creationId xmlns:a16="http://schemas.microsoft.com/office/drawing/2014/main" id="{125CFF52-FE2A-BFF0-0117-F4AD5791DF13}"/>
              </a:ext>
            </a:extLst>
          </p:cNvPr>
          <p:cNvCxnSpPr>
            <a:cxnSpLocks/>
          </p:cNvCxnSpPr>
          <p:nvPr/>
        </p:nvCxnSpPr>
        <p:spPr>
          <a:xfrm rot="16200000" flipH="1">
            <a:off x="4356313" y="3964537"/>
            <a:ext cx="463250" cy="1559"/>
          </a:xfrm>
          <a:prstGeom prst="bentConnector3">
            <a:avLst>
              <a:gd name="adj1" fmla="val 50000"/>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48EF35C2-8624-75F6-6842-A741B0A5BA55}"/>
              </a:ext>
            </a:extLst>
          </p:cNvPr>
          <p:cNvSpPr>
            <a:spLocks noGrp="1"/>
          </p:cNvSpPr>
          <p:nvPr>
            <p:ph type="body" sz="quarter" idx="11"/>
          </p:nvPr>
        </p:nvSpPr>
        <p:spPr>
          <a:xfrm>
            <a:off x="5787738" y="656507"/>
            <a:ext cx="2664506" cy="281908"/>
          </a:xfrm>
        </p:spPr>
        <p:txBody>
          <a:bodyPr vert="horz" lIns="0" tIns="45720" rIns="0" bIns="45720" rtlCol="0" anchor="t">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800"/>
              <a:t>For more information about Beverage Alcohol State Line Coverage, please reach out to your </a:t>
            </a:r>
            <a:r>
              <a:rPr lang="en-US" sz="800" err="1"/>
              <a:t>NIQ</a:t>
            </a:r>
            <a:r>
              <a:rPr lang="en-US" sz="800"/>
              <a:t> representative.</a:t>
            </a:r>
            <a:endParaRPr lang="en-US" sz="800">
              <a:cs typeface="Arial"/>
            </a:endParaRPr>
          </a:p>
          <a:p>
            <a:endParaRPr lang="en-US"/>
          </a:p>
        </p:txBody>
      </p:sp>
      <p:sp>
        <p:nvSpPr>
          <p:cNvPr id="604" name="Text Placeholder 603">
            <a:extLst>
              <a:ext uri="{FF2B5EF4-FFF2-40B4-BE49-F238E27FC236}">
                <a16:creationId xmlns:a16="http://schemas.microsoft.com/office/drawing/2014/main" id="{2C2AB0EF-1853-D0D0-BEAD-64454801975F}"/>
              </a:ext>
            </a:extLst>
          </p:cNvPr>
          <p:cNvSpPr>
            <a:spLocks noGrp="1"/>
          </p:cNvSpPr>
          <p:nvPr>
            <p:ph type="body" sz="quarter" idx="13"/>
          </p:nvPr>
        </p:nvSpPr>
        <p:spPr>
          <a:xfrm>
            <a:off x="1067989" y="451448"/>
            <a:ext cx="2832067" cy="410766"/>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b="1"/>
              <a:t>NIQ Beverage Alcohol State Line Coverage</a:t>
            </a:r>
          </a:p>
        </p:txBody>
      </p:sp>
      <p:sp>
        <p:nvSpPr>
          <p:cNvPr id="663" name="Rectangle 662">
            <a:extLst>
              <a:ext uri="{FF2B5EF4-FFF2-40B4-BE49-F238E27FC236}">
                <a16:creationId xmlns:a16="http://schemas.microsoft.com/office/drawing/2014/main" id="{6FC6E991-A6F0-49A0-8C79-583221058DE4}"/>
              </a:ext>
            </a:extLst>
          </p:cNvPr>
          <p:cNvSpPr/>
          <p:nvPr/>
        </p:nvSpPr>
        <p:spPr>
          <a:xfrm>
            <a:off x="838201" y="1634837"/>
            <a:ext cx="7349837" cy="2008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spcAft>
                <a:spcPts val="450"/>
              </a:spcAft>
            </a:pPr>
            <a:endParaRPr lang="en-US" sz="1200"/>
          </a:p>
        </p:txBody>
      </p:sp>
      <p:grpSp>
        <p:nvGrpSpPr>
          <p:cNvPr id="8" name="Group 7">
            <a:extLst>
              <a:ext uri="{FF2B5EF4-FFF2-40B4-BE49-F238E27FC236}">
                <a16:creationId xmlns:a16="http://schemas.microsoft.com/office/drawing/2014/main" id="{56CF5310-E4B8-6BB4-2323-5BB12C0093BB}"/>
              </a:ext>
            </a:extLst>
          </p:cNvPr>
          <p:cNvGrpSpPr/>
          <p:nvPr/>
        </p:nvGrpSpPr>
        <p:grpSpPr>
          <a:xfrm>
            <a:off x="1202690" y="1848311"/>
            <a:ext cx="6840279" cy="3074351"/>
            <a:chOff x="682954" y="970351"/>
            <a:chExt cx="11270648" cy="5065574"/>
          </a:xfrm>
        </p:grpSpPr>
        <p:cxnSp>
          <p:nvCxnSpPr>
            <p:cNvPr id="610" name="Elbow Connector 100">
              <a:extLst>
                <a:ext uri="{FF2B5EF4-FFF2-40B4-BE49-F238E27FC236}">
                  <a16:creationId xmlns:a16="http://schemas.microsoft.com/office/drawing/2014/main" id="{C45CEF5B-CC29-11A0-369E-9051417694BB}"/>
                </a:ext>
              </a:extLst>
            </p:cNvPr>
            <p:cNvCxnSpPr>
              <a:cxnSpLocks/>
            </p:cNvCxnSpPr>
            <p:nvPr/>
          </p:nvCxnSpPr>
          <p:spPr>
            <a:xfrm flipH="1" flipV="1">
              <a:off x="6252446" y="2298148"/>
              <a:ext cx="9625" cy="814480"/>
            </a:xfrm>
            <a:prstGeom prst="straightConnector1">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11" name="Elbow Connector 133">
              <a:extLst>
                <a:ext uri="{FF2B5EF4-FFF2-40B4-BE49-F238E27FC236}">
                  <a16:creationId xmlns:a16="http://schemas.microsoft.com/office/drawing/2014/main" id="{2AB59C1F-B94B-54C1-358A-10C1BE5219DB}"/>
                </a:ext>
              </a:extLst>
            </p:cNvPr>
            <p:cNvCxnSpPr>
              <a:cxnSpLocks/>
            </p:cNvCxnSpPr>
            <p:nvPr/>
          </p:nvCxnSpPr>
          <p:spPr>
            <a:xfrm flipV="1">
              <a:off x="6664662" y="2412384"/>
              <a:ext cx="1596092" cy="609632"/>
            </a:xfrm>
            <a:prstGeom prst="bentConnector3">
              <a:avLst>
                <a:gd name="adj1" fmla="val 50000"/>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13" name="Elbow Connector 100">
              <a:extLst>
                <a:ext uri="{FF2B5EF4-FFF2-40B4-BE49-F238E27FC236}">
                  <a16:creationId xmlns:a16="http://schemas.microsoft.com/office/drawing/2014/main" id="{D397FDB2-1BAA-091D-B92E-AA76872CDED0}"/>
                </a:ext>
              </a:extLst>
            </p:cNvPr>
            <p:cNvCxnSpPr>
              <a:cxnSpLocks/>
            </p:cNvCxnSpPr>
            <p:nvPr/>
          </p:nvCxnSpPr>
          <p:spPr>
            <a:xfrm>
              <a:off x="6541186" y="3210436"/>
              <a:ext cx="2529091" cy="35422"/>
            </a:xfrm>
            <a:prstGeom prst="straightConnector1">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12" name="Elbow Connector 133">
              <a:extLst>
                <a:ext uri="{FF2B5EF4-FFF2-40B4-BE49-F238E27FC236}">
                  <a16:creationId xmlns:a16="http://schemas.microsoft.com/office/drawing/2014/main" id="{04584CEE-8EE7-F236-9A54-51C4FCBD3587}"/>
                </a:ext>
              </a:extLst>
            </p:cNvPr>
            <p:cNvCxnSpPr>
              <a:cxnSpLocks/>
            </p:cNvCxnSpPr>
            <p:nvPr/>
          </p:nvCxnSpPr>
          <p:spPr>
            <a:xfrm>
              <a:off x="6511250" y="3326062"/>
              <a:ext cx="2571518" cy="1154878"/>
            </a:xfrm>
            <a:prstGeom prst="bentConnector3">
              <a:avLst>
                <a:gd name="adj1" fmla="val 50000"/>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08" name="Elbow Connector 100">
              <a:extLst>
                <a:ext uri="{FF2B5EF4-FFF2-40B4-BE49-F238E27FC236}">
                  <a16:creationId xmlns:a16="http://schemas.microsoft.com/office/drawing/2014/main" id="{9DF6DFEE-CD38-5D87-59DF-3852B97D5658}"/>
                </a:ext>
              </a:extLst>
            </p:cNvPr>
            <p:cNvCxnSpPr>
              <a:cxnSpLocks/>
            </p:cNvCxnSpPr>
            <p:nvPr/>
          </p:nvCxnSpPr>
          <p:spPr>
            <a:xfrm rot="10800000">
              <a:off x="2343983" y="3115337"/>
              <a:ext cx="1970997" cy="380669"/>
            </a:xfrm>
            <a:prstGeom prst="bentConnector3">
              <a:avLst>
                <a:gd name="adj1" fmla="val 42834"/>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46" name="Group 245">
              <a:extLst>
                <a:ext uri="{FF2B5EF4-FFF2-40B4-BE49-F238E27FC236}">
                  <a16:creationId xmlns:a16="http://schemas.microsoft.com/office/drawing/2014/main" id="{5AA209FF-3400-58B1-1D4C-458C19ACC959}"/>
                </a:ext>
              </a:extLst>
            </p:cNvPr>
            <p:cNvGrpSpPr/>
            <p:nvPr/>
          </p:nvGrpSpPr>
          <p:grpSpPr>
            <a:xfrm>
              <a:off x="4246168" y="2713239"/>
              <a:ext cx="2444463" cy="1668708"/>
              <a:chOff x="1902496" y="1004683"/>
              <a:chExt cx="5501636" cy="3438682"/>
            </a:xfrm>
          </p:grpSpPr>
          <p:sp>
            <p:nvSpPr>
              <p:cNvPr id="614" name="Freeform 48">
                <a:extLst>
                  <a:ext uri="{FF2B5EF4-FFF2-40B4-BE49-F238E27FC236}">
                    <a16:creationId xmlns:a16="http://schemas.microsoft.com/office/drawing/2014/main" id="{6365B6FE-4520-B573-E202-FDD2C25FC249}"/>
                  </a:ext>
                </a:extLst>
              </p:cNvPr>
              <p:cNvSpPr/>
              <p:nvPr/>
            </p:nvSpPr>
            <p:spPr>
              <a:xfrm>
                <a:off x="5941067" y="3047875"/>
                <a:ext cx="589688" cy="604351"/>
              </a:xfrm>
              <a:custGeom>
                <a:avLst/>
                <a:gdLst>
                  <a:gd name="connsiteX0" fmla="*/ 564189 w 589688"/>
                  <a:gd name="connsiteY0" fmla="*/ 434138 h 604351"/>
                  <a:gd name="connsiteX1" fmla="*/ 563551 w 589688"/>
                  <a:gd name="connsiteY1" fmla="*/ 415013 h 604351"/>
                  <a:gd name="connsiteX2" fmla="*/ 559089 w 589688"/>
                  <a:gd name="connsiteY2" fmla="*/ 431588 h 604351"/>
                  <a:gd name="connsiteX3" fmla="*/ 564189 w 589688"/>
                  <a:gd name="connsiteY3" fmla="*/ 434138 h 604351"/>
                  <a:gd name="connsiteX4" fmla="*/ 564189 w 589688"/>
                  <a:gd name="connsiteY4" fmla="*/ 434138 h 604351"/>
                  <a:gd name="connsiteX5" fmla="*/ 571201 w 589688"/>
                  <a:gd name="connsiteY5" fmla="*/ 404813 h 604351"/>
                  <a:gd name="connsiteX6" fmla="*/ 568651 w 589688"/>
                  <a:gd name="connsiteY6" fmla="*/ 390150 h 604351"/>
                  <a:gd name="connsiteX7" fmla="*/ 566739 w 589688"/>
                  <a:gd name="connsiteY7" fmla="*/ 399713 h 604351"/>
                  <a:gd name="connsiteX8" fmla="*/ 571201 w 589688"/>
                  <a:gd name="connsiteY8" fmla="*/ 404813 h 604351"/>
                  <a:gd name="connsiteX9" fmla="*/ 270301 w 589688"/>
                  <a:gd name="connsiteY9" fmla="*/ 0 h 604351"/>
                  <a:gd name="connsiteX10" fmla="*/ 262013 w 589688"/>
                  <a:gd name="connsiteY10" fmla="*/ 1912 h 604351"/>
                  <a:gd name="connsiteX11" fmla="*/ 237788 w 589688"/>
                  <a:gd name="connsiteY11" fmla="*/ 7012 h 604351"/>
                  <a:gd name="connsiteX12" fmla="*/ 147900 w 589688"/>
                  <a:gd name="connsiteY12" fmla="*/ 25500 h 604351"/>
                  <a:gd name="connsiteX13" fmla="*/ 139613 w 589688"/>
                  <a:gd name="connsiteY13" fmla="*/ 27412 h 604351"/>
                  <a:gd name="connsiteX14" fmla="*/ 130050 w 589688"/>
                  <a:gd name="connsiteY14" fmla="*/ 28688 h 604351"/>
                  <a:gd name="connsiteX15" fmla="*/ 79688 w 589688"/>
                  <a:gd name="connsiteY15" fmla="*/ 38887 h 604351"/>
                  <a:gd name="connsiteX16" fmla="*/ 66300 w 589688"/>
                  <a:gd name="connsiteY16" fmla="*/ 41438 h 604351"/>
                  <a:gd name="connsiteX17" fmla="*/ 11475 w 589688"/>
                  <a:gd name="connsiteY17" fmla="*/ 52275 h 604351"/>
                  <a:gd name="connsiteX18" fmla="*/ 0 w 589688"/>
                  <a:gd name="connsiteY18" fmla="*/ 53550 h 604351"/>
                  <a:gd name="connsiteX19" fmla="*/ 637 w 589688"/>
                  <a:gd name="connsiteY19" fmla="*/ 54825 h 604351"/>
                  <a:gd name="connsiteX20" fmla="*/ 86700 w 589688"/>
                  <a:gd name="connsiteY20" fmla="*/ 316838 h 604351"/>
                  <a:gd name="connsiteX21" fmla="*/ 135150 w 589688"/>
                  <a:gd name="connsiteY21" fmla="*/ 400351 h 604351"/>
                  <a:gd name="connsiteX22" fmla="*/ 123675 w 589688"/>
                  <a:gd name="connsiteY22" fmla="*/ 413101 h 604351"/>
                  <a:gd name="connsiteX23" fmla="*/ 116663 w 589688"/>
                  <a:gd name="connsiteY23" fmla="*/ 463463 h 604351"/>
                  <a:gd name="connsiteX24" fmla="*/ 130688 w 589688"/>
                  <a:gd name="connsiteY24" fmla="*/ 488963 h 604351"/>
                  <a:gd name="connsiteX25" fmla="*/ 131963 w 589688"/>
                  <a:gd name="connsiteY25" fmla="*/ 536138 h 604351"/>
                  <a:gd name="connsiteX26" fmla="*/ 149175 w 589688"/>
                  <a:gd name="connsiteY26" fmla="*/ 569289 h 604351"/>
                  <a:gd name="connsiteX27" fmla="*/ 149175 w 589688"/>
                  <a:gd name="connsiteY27" fmla="*/ 569926 h 604351"/>
                  <a:gd name="connsiteX28" fmla="*/ 148538 w 589688"/>
                  <a:gd name="connsiteY28" fmla="*/ 570564 h 604351"/>
                  <a:gd name="connsiteX29" fmla="*/ 170213 w 589688"/>
                  <a:gd name="connsiteY29" fmla="*/ 604351 h 604351"/>
                  <a:gd name="connsiteX30" fmla="*/ 473026 w 589688"/>
                  <a:gd name="connsiteY30" fmla="*/ 566738 h 604351"/>
                  <a:gd name="connsiteX31" fmla="*/ 482589 w 589688"/>
                  <a:gd name="connsiteY31" fmla="*/ 589689 h 604351"/>
                  <a:gd name="connsiteX32" fmla="*/ 492788 w 589688"/>
                  <a:gd name="connsiteY32" fmla="*/ 539963 h 604351"/>
                  <a:gd name="connsiteX33" fmla="*/ 510001 w 589688"/>
                  <a:gd name="connsiteY33" fmla="*/ 526576 h 604351"/>
                  <a:gd name="connsiteX34" fmla="*/ 554626 w 589688"/>
                  <a:gd name="connsiteY34" fmla="*/ 529126 h 604351"/>
                  <a:gd name="connsiteX35" fmla="*/ 554626 w 589688"/>
                  <a:gd name="connsiteY35" fmla="*/ 529126 h 604351"/>
                  <a:gd name="connsiteX36" fmla="*/ 550801 w 589688"/>
                  <a:gd name="connsiteY36" fmla="*/ 459638 h 604351"/>
                  <a:gd name="connsiteX37" fmla="*/ 559089 w 589688"/>
                  <a:gd name="connsiteY37" fmla="*/ 444976 h 604351"/>
                  <a:gd name="connsiteX38" fmla="*/ 554626 w 589688"/>
                  <a:gd name="connsiteY38" fmla="*/ 416926 h 604351"/>
                  <a:gd name="connsiteX39" fmla="*/ 564189 w 589688"/>
                  <a:gd name="connsiteY39" fmla="*/ 390150 h 604351"/>
                  <a:gd name="connsiteX40" fmla="*/ 577576 w 589688"/>
                  <a:gd name="connsiteY40" fmla="*/ 375488 h 604351"/>
                  <a:gd name="connsiteX41" fmla="*/ 567376 w 589688"/>
                  <a:gd name="connsiteY41" fmla="*/ 365926 h 604351"/>
                  <a:gd name="connsiteX42" fmla="*/ 589689 w 589688"/>
                  <a:gd name="connsiteY42" fmla="*/ 337876 h 604351"/>
                  <a:gd name="connsiteX43" fmla="*/ 589051 w 589688"/>
                  <a:gd name="connsiteY43" fmla="*/ 337876 h 604351"/>
                  <a:gd name="connsiteX44" fmla="*/ 550801 w 589688"/>
                  <a:gd name="connsiteY44" fmla="*/ 302175 h 604351"/>
                  <a:gd name="connsiteX45" fmla="*/ 497888 w 589688"/>
                  <a:gd name="connsiteY45" fmla="*/ 226950 h 604351"/>
                  <a:gd name="connsiteX46" fmla="*/ 468563 w 589688"/>
                  <a:gd name="connsiteY46" fmla="*/ 213563 h 604351"/>
                  <a:gd name="connsiteX47" fmla="*/ 344888 w 589688"/>
                  <a:gd name="connsiteY47" fmla="*/ 109650 h 604351"/>
                  <a:gd name="connsiteX48" fmla="*/ 314288 w 589688"/>
                  <a:gd name="connsiteY48" fmla="*/ 71400 h 604351"/>
                  <a:gd name="connsiteX49" fmla="*/ 256276 w 589688"/>
                  <a:gd name="connsiteY49" fmla="*/ 47175 h 604351"/>
                  <a:gd name="connsiteX50" fmla="*/ 253088 w 589688"/>
                  <a:gd name="connsiteY50" fmla="*/ 34425 h 604351"/>
                  <a:gd name="connsiteX51" fmla="*/ 270301 w 589688"/>
                  <a:gd name="connsiteY51" fmla="*/ 0 h 604351"/>
                  <a:gd name="connsiteX52" fmla="*/ 270301 w 589688"/>
                  <a:gd name="connsiteY52" fmla="*/ 0 h 604351"/>
                  <a:gd name="connsiteX53" fmla="*/ 270301 w 589688"/>
                  <a:gd name="connsiteY53" fmla="*/ 0 h 60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89688" h="604351">
                    <a:moveTo>
                      <a:pt x="564189" y="434138"/>
                    </a:moveTo>
                    <a:lnTo>
                      <a:pt x="563551" y="415013"/>
                    </a:lnTo>
                    <a:lnTo>
                      <a:pt x="559089" y="431588"/>
                    </a:lnTo>
                    <a:lnTo>
                      <a:pt x="564189" y="434138"/>
                    </a:lnTo>
                    <a:lnTo>
                      <a:pt x="564189" y="434138"/>
                    </a:lnTo>
                    <a:close/>
                    <a:moveTo>
                      <a:pt x="571201" y="404813"/>
                    </a:moveTo>
                    <a:lnTo>
                      <a:pt x="568651" y="390150"/>
                    </a:lnTo>
                    <a:lnTo>
                      <a:pt x="566739" y="399713"/>
                    </a:lnTo>
                    <a:lnTo>
                      <a:pt x="571201" y="404813"/>
                    </a:lnTo>
                    <a:close/>
                    <a:moveTo>
                      <a:pt x="270301" y="0"/>
                    </a:moveTo>
                    <a:lnTo>
                      <a:pt x="262013" y="1912"/>
                    </a:lnTo>
                    <a:lnTo>
                      <a:pt x="237788" y="7012"/>
                    </a:lnTo>
                    <a:lnTo>
                      <a:pt x="147900" y="25500"/>
                    </a:lnTo>
                    <a:lnTo>
                      <a:pt x="139613" y="27412"/>
                    </a:lnTo>
                    <a:lnTo>
                      <a:pt x="130050" y="28688"/>
                    </a:lnTo>
                    <a:lnTo>
                      <a:pt x="79688" y="38887"/>
                    </a:lnTo>
                    <a:lnTo>
                      <a:pt x="66300" y="41438"/>
                    </a:lnTo>
                    <a:lnTo>
                      <a:pt x="11475" y="52275"/>
                    </a:lnTo>
                    <a:lnTo>
                      <a:pt x="0" y="53550"/>
                    </a:lnTo>
                    <a:lnTo>
                      <a:pt x="637" y="54825"/>
                    </a:lnTo>
                    <a:lnTo>
                      <a:pt x="86700" y="316838"/>
                    </a:lnTo>
                    <a:lnTo>
                      <a:pt x="135150" y="400351"/>
                    </a:lnTo>
                    <a:lnTo>
                      <a:pt x="123675" y="413101"/>
                    </a:lnTo>
                    <a:lnTo>
                      <a:pt x="116663" y="463463"/>
                    </a:lnTo>
                    <a:lnTo>
                      <a:pt x="130688" y="488963"/>
                    </a:lnTo>
                    <a:lnTo>
                      <a:pt x="131963" y="536138"/>
                    </a:lnTo>
                    <a:lnTo>
                      <a:pt x="149175" y="569289"/>
                    </a:lnTo>
                    <a:lnTo>
                      <a:pt x="149175" y="569926"/>
                    </a:lnTo>
                    <a:lnTo>
                      <a:pt x="148538" y="570564"/>
                    </a:lnTo>
                    <a:lnTo>
                      <a:pt x="170213" y="604351"/>
                    </a:lnTo>
                    <a:lnTo>
                      <a:pt x="473026" y="566738"/>
                    </a:lnTo>
                    <a:lnTo>
                      <a:pt x="482589" y="589689"/>
                    </a:lnTo>
                    <a:lnTo>
                      <a:pt x="492788" y="539963"/>
                    </a:lnTo>
                    <a:lnTo>
                      <a:pt x="510001" y="526576"/>
                    </a:lnTo>
                    <a:lnTo>
                      <a:pt x="554626" y="529126"/>
                    </a:lnTo>
                    <a:lnTo>
                      <a:pt x="554626" y="529126"/>
                    </a:lnTo>
                    <a:lnTo>
                      <a:pt x="550801" y="459638"/>
                    </a:lnTo>
                    <a:lnTo>
                      <a:pt x="559089" y="444976"/>
                    </a:lnTo>
                    <a:lnTo>
                      <a:pt x="554626" y="416926"/>
                    </a:lnTo>
                    <a:lnTo>
                      <a:pt x="564189" y="390150"/>
                    </a:lnTo>
                    <a:lnTo>
                      <a:pt x="577576" y="375488"/>
                    </a:lnTo>
                    <a:lnTo>
                      <a:pt x="567376" y="365926"/>
                    </a:lnTo>
                    <a:lnTo>
                      <a:pt x="589689" y="337876"/>
                    </a:lnTo>
                    <a:lnTo>
                      <a:pt x="589051" y="337876"/>
                    </a:lnTo>
                    <a:lnTo>
                      <a:pt x="550801" y="302175"/>
                    </a:lnTo>
                    <a:lnTo>
                      <a:pt x="497888" y="226950"/>
                    </a:lnTo>
                    <a:lnTo>
                      <a:pt x="468563" y="213563"/>
                    </a:lnTo>
                    <a:lnTo>
                      <a:pt x="344888" y="109650"/>
                    </a:lnTo>
                    <a:lnTo>
                      <a:pt x="314288" y="71400"/>
                    </a:lnTo>
                    <a:lnTo>
                      <a:pt x="256276" y="47175"/>
                    </a:lnTo>
                    <a:lnTo>
                      <a:pt x="253088" y="34425"/>
                    </a:lnTo>
                    <a:lnTo>
                      <a:pt x="270301" y="0"/>
                    </a:lnTo>
                    <a:lnTo>
                      <a:pt x="270301" y="0"/>
                    </a:lnTo>
                    <a:lnTo>
                      <a:pt x="270301" y="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15" name="Freeform 28">
                <a:extLst>
                  <a:ext uri="{FF2B5EF4-FFF2-40B4-BE49-F238E27FC236}">
                    <a16:creationId xmlns:a16="http://schemas.microsoft.com/office/drawing/2014/main" id="{2606C9E6-FF99-4634-D02C-3292927B93C4}"/>
                  </a:ext>
                </a:extLst>
              </p:cNvPr>
              <p:cNvSpPr/>
              <p:nvPr/>
            </p:nvSpPr>
            <p:spPr>
              <a:xfrm>
                <a:off x="2290735" y="2052098"/>
                <a:ext cx="672563" cy="1042314"/>
              </a:xfrm>
              <a:custGeom>
                <a:avLst/>
                <a:gdLst>
                  <a:gd name="connsiteX0" fmla="*/ 568014 w 672563"/>
                  <a:gd name="connsiteY0" fmla="*/ 766276 h 1042314"/>
                  <a:gd name="connsiteX1" fmla="*/ 634951 w 672563"/>
                  <a:gd name="connsiteY1" fmla="*/ 350626 h 1042314"/>
                  <a:gd name="connsiteX2" fmla="*/ 668739 w 672563"/>
                  <a:gd name="connsiteY2" fmla="*/ 142800 h 1042314"/>
                  <a:gd name="connsiteX3" fmla="*/ 672564 w 672563"/>
                  <a:gd name="connsiteY3" fmla="*/ 122400 h 1042314"/>
                  <a:gd name="connsiteX4" fmla="*/ 654076 w 672563"/>
                  <a:gd name="connsiteY4" fmla="*/ 119213 h 1042314"/>
                  <a:gd name="connsiteX5" fmla="*/ 581401 w 672563"/>
                  <a:gd name="connsiteY5" fmla="*/ 105825 h 1042314"/>
                  <a:gd name="connsiteX6" fmla="*/ 399713 w 672563"/>
                  <a:gd name="connsiteY6" fmla="*/ 70125 h 1042314"/>
                  <a:gd name="connsiteX7" fmla="*/ 381863 w 672563"/>
                  <a:gd name="connsiteY7" fmla="*/ 66300 h 1042314"/>
                  <a:gd name="connsiteX8" fmla="*/ 364013 w 672563"/>
                  <a:gd name="connsiteY8" fmla="*/ 62475 h 1042314"/>
                  <a:gd name="connsiteX9" fmla="*/ 273488 w 672563"/>
                  <a:gd name="connsiteY9" fmla="*/ 42712 h 1042314"/>
                  <a:gd name="connsiteX10" fmla="*/ 110925 w 672563"/>
                  <a:gd name="connsiteY10" fmla="*/ 4462 h 1042314"/>
                  <a:gd name="connsiteX11" fmla="*/ 93075 w 672563"/>
                  <a:gd name="connsiteY11" fmla="*/ 0 h 1042314"/>
                  <a:gd name="connsiteX12" fmla="*/ 87338 w 672563"/>
                  <a:gd name="connsiteY12" fmla="*/ 24225 h 1042314"/>
                  <a:gd name="connsiteX13" fmla="*/ 0 w 672563"/>
                  <a:gd name="connsiteY13" fmla="*/ 394613 h 1042314"/>
                  <a:gd name="connsiteX14" fmla="*/ 75863 w 672563"/>
                  <a:gd name="connsiteY14" fmla="*/ 503626 h 1042314"/>
                  <a:gd name="connsiteX15" fmla="*/ 153638 w 672563"/>
                  <a:gd name="connsiteY15" fmla="*/ 612001 h 1042314"/>
                  <a:gd name="connsiteX16" fmla="*/ 292613 w 672563"/>
                  <a:gd name="connsiteY16" fmla="*/ 810902 h 1042314"/>
                  <a:gd name="connsiteX17" fmla="*/ 392063 w 672563"/>
                  <a:gd name="connsiteY17" fmla="*/ 951152 h 1042314"/>
                  <a:gd name="connsiteX18" fmla="*/ 443701 w 672563"/>
                  <a:gd name="connsiteY18" fmla="*/ 1020002 h 1042314"/>
                  <a:gd name="connsiteX19" fmla="*/ 460276 w 672563"/>
                  <a:gd name="connsiteY19" fmla="*/ 1042315 h 1042314"/>
                  <a:gd name="connsiteX20" fmla="*/ 460276 w 672563"/>
                  <a:gd name="connsiteY20" fmla="*/ 1041040 h 1042314"/>
                  <a:gd name="connsiteX21" fmla="*/ 471113 w 672563"/>
                  <a:gd name="connsiteY21" fmla="*/ 1019364 h 1042314"/>
                  <a:gd name="connsiteX22" fmla="*/ 471751 w 672563"/>
                  <a:gd name="connsiteY22" fmla="*/ 917364 h 1042314"/>
                  <a:gd name="connsiteX23" fmla="*/ 500439 w 672563"/>
                  <a:gd name="connsiteY23" fmla="*/ 893777 h 1042314"/>
                  <a:gd name="connsiteX24" fmla="*/ 522751 w 672563"/>
                  <a:gd name="connsiteY24" fmla="*/ 913539 h 1042314"/>
                  <a:gd name="connsiteX25" fmla="*/ 537414 w 672563"/>
                  <a:gd name="connsiteY25" fmla="*/ 914177 h 1042314"/>
                  <a:gd name="connsiteX26" fmla="*/ 566101 w 672563"/>
                  <a:gd name="connsiteY26" fmla="*/ 789864 h 1042314"/>
                  <a:gd name="connsiteX27" fmla="*/ 566101 w 672563"/>
                  <a:gd name="connsiteY27" fmla="*/ 788589 h 1042314"/>
                  <a:gd name="connsiteX28" fmla="*/ 568014 w 672563"/>
                  <a:gd name="connsiteY28" fmla="*/ 766276 h 1042314"/>
                  <a:gd name="connsiteX29" fmla="*/ 568014 w 672563"/>
                  <a:gd name="connsiteY29" fmla="*/ 766276 h 104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2563" h="1042314">
                    <a:moveTo>
                      <a:pt x="568014" y="766276"/>
                    </a:moveTo>
                    <a:lnTo>
                      <a:pt x="634951" y="350626"/>
                    </a:lnTo>
                    <a:lnTo>
                      <a:pt x="668739" y="142800"/>
                    </a:lnTo>
                    <a:lnTo>
                      <a:pt x="672564" y="122400"/>
                    </a:lnTo>
                    <a:lnTo>
                      <a:pt x="654076" y="119213"/>
                    </a:lnTo>
                    <a:lnTo>
                      <a:pt x="581401" y="105825"/>
                    </a:lnTo>
                    <a:lnTo>
                      <a:pt x="399713" y="70125"/>
                    </a:lnTo>
                    <a:lnTo>
                      <a:pt x="381863" y="66300"/>
                    </a:lnTo>
                    <a:lnTo>
                      <a:pt x="364013" y="62475"/>
                    </a:lnTo>
                    <a:lnTo>
                      <a:pt x="273488" y="42712"/>
                    </a:lnTo>
                    <a:lnTo>
                      <a:pt x="110925" y="4462"/>
                    </a:lnTo>
                    <a:lnTo>
                      <a:pt x="93075" y="0"/>
                    </a:lnTo>
                    <a:lnTo>
                      <a:pt x="87338" y="24225"/>
                    </a:lnTo>
                    <a:lnTo>
                      <a:pt x="0" y="394613"/>
                    </a:lnTo>
                    <a:lnTo>
                      <a:pt x="75863" y="503626"/>
                    </a:lnTo>
                    <a:lnTo>
                      <a:pt x="153638" y="612001"/>
                    </a:lnTo>
                    <a:lnTo>
                      <a:pt x="292613" y="810902"/>
                    </a:lnTo>
                    <a:lnTo>
                      <a:pt x="392063" y="951152"/>
                    </a:lnTo>
                    <a:lnTo>
                      <a:pt x="443701" y="1020002"/>
                    </a:lnTo>
                    <a:lnTo>
                      <a:pt x="460276" y="1042315"/>
                    </a:lnTo>
                    <a:lnTo>
                      <a:pt x="460276" y="1041040"/>
                    </a:lnTo>
                    <a:lnTo>
                      <a:pt x="471113" y="1019364"/>
                    </a:lnTo>
                    <a:lnTo>
                      <a:pt x="471751" y="917364"/>
                    </a:lnTo>
                    <a:lnTo>
                      <a:pt x="500439" y="893777"/>
                    </a:lnTo>
                    <a:lnTo>
                      <a:pt x="522751" y="913539"/>
                    </a:lnTo>
                    <a:lnTo>
                      <a:pt x="537414" y="914177"/>
                    </a:lnTo>
                    <a:lnTo>
                      <a:pt x="566101" y="789864"/>
                    </a:lnTo>
                    <a:lnTo>
                      <a:pt x="566101" y="788589"/>
                    </a:lnTo>
                    <a:lnTo>
                      <a:pt x="568014" y="766276"/>
                    </a:lnTo>
                    <a:lnTo>
                      <a:pt x="568014" y="766276"/>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16" name="Freeform 18">
                <a:extLst>
                  <a:ext uri="{FF2B5EF4-FFF2-40B4-BE49-F238E27FC236}">
                    <a16:creationId xmlns:a16="http://schemas.microsoft.com/office/drawing/2014/main" id="{210CCAED-8D09-FFFD-B4FE-9AA4B350AB06}"/>
                  </a:ext>
                </a:extLst>
              </p:cNvPr>
              <p:cNvSpPr/>
              <p:nvPr/>
            </p:nvSpPr>
            <p:spPr>
              <a:xfrm>
                <a:off x="6942581" y="1666410"/>
                <a:ext cx="355088" cy="208462"/>
              </a:xfrm>
              <a:custGeom>
                <a:avLst/>
                <a:gdLst>
                  <a:gd name="connsiteX0" fmla="*/ 293251 w 355088"/>
                  <a:gd name="connsiteY0" fmla="*/ 207825 h 208462"/>
                  <a:gd name="connsiteX1" fmla="*/ 291338 w 355088"/>
                  <a:gd name="connsiteY1" fmla="*/ 206550 h 208462"/>
                  <a:gd name="connsiteX2" fmla="*/ 291338 w 355088"/>
                  <a:gd name="connsiteY2" fmla="*/ 208463 h 208462"/>
                  <a:gd name="connsiteX3" fmla="*/ 293251 w 355088"/>
                  <a:gd name="connsiteY3" fmla="*/ 207825 h 208462"/>
                  <a:gd name="connsiteX4" fmla="*/ 293251 w 355088"/>
                  <a:gd name="connsiteY4" fmla="*/ 207825 h 208462"/>
                  <a:gd name="connsiteX5" fmla="*/ 274126 w 355088"/>
                  <a:gd name="connsiteY5" fmla="*/ 189975 h 208462"/>
                  <a:gd name="connsiteX6" fmla="*/ 278588 w 355088"/>
                  <a:gd name="connsiteY6" fmla="*/ 188063 h 208462"/>
                  <a:gd name="connsiteX7" fmla="*/ 278588 w 355088"/>
                  <a:gd name="connsiteY7" fmla="*/ 185513 h 208462"/>
                  <a:gd name="connsiteX8" fmla="*/ 274126 w 355088"/>
                  <a:gd name="connsiteY8" fmla="*/ 189975 h 208462"/>
                  <a:gd name="connsiteX9" fmla="*/ 274126 w 355088"/>
                  <a:gd name="connsiteY9" fmla="*/ 189975 h 208462"/>
                  <a:gd name="connsiteX10" fmla="*/ 353813 w 355088"/>
                  <a:gd name="connsiteY10" fmla="*/ 140250 h 208462"/>
                  <a:gd name="connsiteX11" fmla="*/ 353176 w 355088"/>
                  <a:gd name="connsiteY11" fmla="*/ 130688 h 208462"/>
                  <a:gd name="connsiteX12" fmla="*/ 351901 w 355088"/>
                  <a:gd name="connsiteY12" fmla="*/ 125588 h 208462"/>
                  <a:gd name="connsiteX13" fmla="*/ 353813 w 355088"/>
                  <a:gd name="connsiteY13" fmla="*/ 140250 h 208462"/>
                  <a:gd name="connsiteX14" fmla="*/ 73313 w 355088"/>
                  <a:gd name="connsiteY14" fmla="*/ 73950 h 208462"/>
                  <a:gd name="connsiteX15" fmla="*/ 68850 w 355088"/>
                  <a:gd name="connsiteY15" fmla="*/ 75863 h 208462"/>
                  <a:gd name="connsiteX16" fmla="*/ 32513 w 355088"/>
                  <a:gd name="connsiteY16" fmla="*/ 87338 h 208462"/>
                  <a:gd name="connsiteX17" fmla="*/ 19763 w 355088"/>
                  <a:gd name="connsiteY17" fmla="*/ 91800 h 208462"/>
                  <a:gd name="connsiteX18" fmla="*/ 5100 w 355088"/>
                  <a:gd name="connsiteY18" fmla="*/ 96263 h 208462"/>
                  <a:gd name="connsiteX19" fmla="*/ 0 w 355088"/>
                  <a:gd name="connsiteY19" fmla="*/ 98175 h 208462"/>
                  <a:gd name="connsiteX20" fmla="*/ 0 w 355088"/>
                  <a:gd name="connsiteY20" fmla="*/ 100088 h 208462"/>
                  <a:gd name="connsiteX21" fmla="*/ 1913 w 355088"/>
                  <a:gd name="connsiteY21" fmla="*/ 133238 h 208462"/>
                  <a:gd name="connsiteX22" fmla="*/ 3825 w 355088"/>
                  <a:gd name="connsiteY22" fmla="*/ 164475 h 208462"/>
                  <a:gd name="connsiteX23" fmla="*/ 5738 w 355088"/>
                  <a:gd name="connsiteY23" fmla="*/ 193163 h 208462"/>
                  <a:gd name="connsiteX24" fmla="*/ 8925 w 355088"/>
                  <a:gd name="connsiteY24" fmla="*/ 195075 h 208462"/>
                  <a:gd name="connsiteX25" fmla="*/ 20400 w 355088"/>
                  <a:gd name="connsiteY25" fmla="*/ 191888 h 208462"/>
                  <a:gd name="connsiteX26" fmla="*/ 72675 w 355088"/>
                  <a:gd name="connsiteY26" fmla="*/ 176588 h 208462"/>
                  <a:gd name="connsiteX27" fmla="*/ 73950 w 355088"/>
                  <a:gd name="connsiteY27" fmla="*/ 179775 h 208462"/>
                  <a:gd name="connsiteX28" fmla="*/ 166388 w 355088"/>
                  <a:gd name="connsiteY28" fmla="*/ 144713 h 208462"/>
                  <a:gd name="connsiteX29" fmla="*/ 167025 w 355088"/>
                  <a:gd name="connsiteY29" fmla="*/ 145988 h 208462"/>
                  <a:gd name="connsiteX30" fmla="*/ 175313 w 355088"/>
                  <a:gd name="connsiteY30" fmla="*/ 142800 h 208462"/>
                  <a:gd name="connsiteX31" fmla="*/ 205275 w 355088"/>
                  <a:gd name="connsiteY31" fmla="*/ 131325 h 208462"/>
                  <a:gd name="connsiteX32" fmla="*/ 233963 w 355088"/>
                  <a:gd name="connsiteY32" fmla="*/ 165113 h 208462"/>
                  <a:gd name="connsiteX33" fmla="*/ 233963 w 355088"/>
                  <a:gd name="connsiteY33" fmla="*/ 165113 h 208462"/>
                  <a:gd name="connsiteX34" fmla="*/ 237788 w 355088"/>
                  <a:gd name="connsiteY34" fmla="*/ 161925 h 208462"/>
                  <a:gd name="connsiteX35" fmla="*/ 239701 w 355088"/>
                  <a:gd name="connsiteY35" fmla="*/ 151725 h 208462"/>
                  <a:gd name="connsiteX36" fmla="*/ 239063 w 355088"/>
                  <a:gd name="connsiteY36" fmla="*/ 167025 h 208462"/>
                  <a:gd name="connsiteX37" fmla="*/ 239063 w 355088"/>
                  <a:gd name="connsiteY37" fmla="*/ 167025 h 208462"/>
                  <a:gd name="connsiteX38" fmla="*/ 245438 w 355088"/>
                  <a:gd name="connsiteY38" fmla="*/ 167025 h 208462"/>
                  <a:gd name="connsiteX39" fmla="*/ 247351 w 355088"/>
                  <a:gd name="connsiteY39" fmla="*/ 174675 h 208462"/>
                  <a:gd name="connsiteX40" fmla="*/ 253088 w 355088"/>
                  <a:gd name="connsiteY40" fmla="*/ 186150 h 208462"/>
                  <a:gd name="connsiteX41" fmla="*/ 253088 w 355088"/>
                  <a:gd name="connsiteY41" fmla="*/ 186150 h 208462"/>
                  <a:gd name="connsiteX42" fmla="*/ 283688 w 355088"/>
                  <a:gd name="connsiteY42" fmla="*/ 149813 h 208462"/>
                  <a:gd name="connsiteX43" fmla="*/ 308551 w 355088"/>
                  <a:gd name="connsiteY43" fmla="*/ 158100 h 208462"/>
                  <a:gd name="connsiteX44" fmla="*/ 314288 w 355088"/>
                  <a:gd name="connsiteY44" fmla="*/ 145350 h 208462"/>
                  <a:gd name="connsiteX45" fmla="*/ 355088 w 355088"/>
                  <a:gd name="connsiteY45" fmla="*/ 123675 h 208462"/>
                  <a:gd name="connsiteX46" fmla="*/ 337876 w 355088"/>
                  <a:gd name="connsiteY46" fmla="*/ 89888 h 208462"/>
                  <a:gd name="connsiteX47" fmla="*/ 342338 w 355088"/>
                  <a:gd name="connsiteY47" fmla="*/ 111563 h 208462"/>
                  <a:gd name="connsiteX48" fmla="*/ 321301 w 355088"/>
                  <a:gd name="connsiteY48" fmla="*/ 127500 h 208462"/>
                  <a:gd name="connsiteX49" fmla="*/ 297713 w 355088"/>
                  <a:gd name="connsiteY49" fmla="*/ 129413 h 208462"/>
                  <a:gd name="connsiteX50" fmla="*/ 249901 w 355088"/>
                  <a:gd name="connsiteY50" fmla="*/ 78413 h 208462"/>
                  <a:gd name="connsiteX51" fmla="*/ 228863 w 355088"/>
                  <a:gd name="connsiteY51" fmla="*/ 45900 h 208462"/>
                  <a:gd name="connsiteX52" fmla="*/ 249901 w 355088"/>
                  <a:gd name="connsiteY52" fmla="*/ 23587 h 208462"/>
                  <a:gd name="connsiteX53" fmla="*/ 228226 w 355088"/>
                  <a:gd name="connsiteY53" fmla="*/ 22313 h 208462"/>
                  <a:gd name="connsiteX54" fmla="*/ 218663 w 355088"/>
                  <a:gd name="connsiteY54" fmla="*/ 1275 h 208462"/>
                  <a:gd name="connsiteX55" fmla="*/ 218026 w 355088"/>
                  <a:gd name="connsiteY55" fmla="*/ 0 h 208462"/>
                  <a:gd name="connsiteX56" fmla="*/ 181688 w 355088"/>
                  <a:gd name="connsiteY56" fmla="*/ 39525 h 208462"/>
                  <a:gd name="connsiteX57" fmla="*/ 100726 w 355088"/>
                  <a:gd name="connsiteY57" fmla="*/ 66938 h 208462"/>
                  <a:gd name="connsiteX58" fmla="*/ 73313 w 355088"/>
                  <a:gd name="connsiteY58" fmla="*/ 73950 h 208462"/>
                  <a:gd name="connsiteX59" fmla="*/ 73313 w 355088"/>
                  <a:gd name="connsiteY59" fmla="*/ 73950 h 2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5088" h="208462">
                    <a:moveTo>
                      <a:pt x="293251" y="207825"/>
                    </a:moveTo>
                    <a:lnTo>
                      <a:pt x="291338" y="206550"/>
                    </a:lnTo>
                    <a:lnTo>
                      <a:pt x="291338" y="208463"/>
                    </a:lnTo>
                    <a:lnTo>
                      <a:pt x="293251" y="207825"/>
                    </a:lnTo>
                    <a:lnTo>
                      <a:pt x="293251" y="207825"/>
                    </a:lnTo>
                    <a:close/>
                    <a:moveTo>
                      <a:pt x="274126" y="189975"/>
                    </a:moveTo>
                    <a:lnTo>
                      <a:pt x="278588" y="188063"/>
                    </a:lnTo>
                    <a:lnTo>
                      <a:pt x="278588" y="185513"/>
                    </a:lnTo>
                    <a:lnTo>
                      <a:pt x="274126" y="189975"/>
                    </a:lnTo>
                    <a:lnTo>
                      <a:pt x="274126" y="189975"/>
                    </a:lnTo>
                    <a:close/>
                    <a:moveTo>
                      <a:pt x="353813" y="140250"/>
                    </a:moveTo>
                    <a:lnTo>
                      <a:pt x="353176" y="130688"/>
                    </a:lnTo>
                    <a:lnTo>
                      <a:pt x="351901" y="125588"/>
                    </a:lnTo>
                    <a:lnTo>
                      <a:pt x="353813" y="140250"/>
                    </a:lnTo>
                    <a:close/>
                    <a:moveTo>
                      <a:pt x="73313" y="73950"/>
                    </a:moveTo>
                    <a:lnTo>
                      <a:pt x="68850" y="75863"/>
                    </a:lnTo>
                    <a:lnTo>
                      <a:pt x="32513" y="87338"/>
                    </a:lnTo>
                    <a:lnTo>
                      <a:pt x="19763" y="91800"/>
                    </a:lnTo>
                    <a:lnTo>
                      <a:pt x="5100" y="96263"/>
                    </a:lnTo>
                    <a:lnTo>
                      <a:pt x="0" y="98175"/>
                    </a:lnTo>
                    <a:lnTo>
                      <a:pt x="0" y="100088"/>
                    </a:lnTo>
                    <a:lnTo>
                      <a:pt x="1913" y="133238"/>
                    </a:lnTo>
                    <a:lnTo>
                      <a:pt x="3825" y="164475"/>
                    </a:lnTo>
                    <a:lnTo>
                      <a:pt x="5738" y="193163"/>
                    </a:lnTo>
                    <a:lnTo>
                      <a:pt x="8925" y="195075"/>
                    </a:lnTo>
                    <a:lnTo>
                      <a:pt x="20400" y="191888"/>
                    </a:lnTo>
                    <a:lnTo>
                      <a:pt x="72675" y="176588"/>
                    </a:lnTo>
                    <a:lnTo>
                      <a:pt x="73950" y="179775"/>
                    </a:lnTo>
                    <a:lnTo>
                      <a:pt x="166388" y="144713"/>
                    </a:lnTo>
                    <a:lnTo>
                      <a:pt x="167025" y="145988"/>
                    </a:lnTo>
                    <a:lnTo>
                      <a:pt x="175313" y="142800"/>
                    </a:lnTo>
                    <a:lnTo>
                      <a:pt x="205275" y="131325"/>
                    </a:lnTo>
                    <a:lnTo>
                      <a:pt x="233963" y="165113"/>
                    </a:lnTo>
                    <a:lnTo>
                      <a:pt x="233963" y="165113"/>
                    </a:lnTo>
                    <a:lnTo>
                      <a:pt x="237788" y="161925"/>
                    </a:lnTo>
                    <a:lnTo>
                      <a:pt x="239701" y="151725"/>
                    </a:lnTo>
                    <a:lnTo>
                      <a:pt x="239063" y="167025"/>
                    </a:lnTo>
                    <a:lnTo>
                      <a:pt x="239063" y="167025"/>
                    </a:lnTo>
                    <a:lnTo>
                      <a:pt x="245438" y="167025"/>
                    </a:lnTo>
                    <a:lnTo>
                      <a:pt x="247351" y="174675"/>
                    </a:lnTo>
                    <a:lnTo>
                      <a:pt x="253088" y="186150"/>
                    </a:lnTo>
                    <a:lnTo>
                      <a:pt x="253088" y="186150"/>
                    </a:lnTo>
                    <a:lnTo>
                      <a:pt x="283688" y="149813"/>
                    </a:lnTo>
                    <a:lnTo>
                      <a:pt x="308551" y="158100"/>
                    </a:lnTo>
                    <a:lnTo>
                      <a:pt x="314288" y="145350"/>
                    </a:lnTo>
                    <a:lnTo>
                      <a:pt x="355088" y="123675"/>
                    </a:lnTo>
                    <a:lnTo>
                      <a:pt x="337876" y="89888"/>
                    </a:lnTo>
                    <a:lnTo>
                      <a:pt x="342338" y="111563"/>
                    </a:lnTo>
                    <a:lnTo>
                      <a:pt x="321301" y="127500"/>
                    </a:lnTo>
                    <a:lnTo>
                      <a:pt x="297713" y="129413"/>
                    </a:lnTo>
                    <a:lnTo>
                      <a:pt x="249901" y="78413"/>
                    </a:lnTo>
                    <a:lnTo>
                      <a:pt x="228863" y="45900"/>
                    </a:lnTo>
                    <a:lnTo>
                      <a:pt x="249901" y="23587"/>
                    </a:lnTo>
                    <a:lnTo>
                      <a:pt x="228226" y="22313"/>
                    </a:lnTo>
                    <a:lnTo>
                      <a:pt x="218663" y="1275"/>
                    </a:lnTo>
                    <a:lnTo>
                      <a:pt x="218026" y="0"/>
                    </a:lnTo>
                    <a:lnTo>
                      <a:pt x="181688" y="39525"/>
                    </a:lnTo>
                    <a:lnTo>
                      <a:pt x="100726" y="66938"/>
                    </a:lnTo>
                    <a:lnTo>
                      <a:pt x="73313" y="73950"/>
                    </a:lnTo>
                    <a:lnTo>
                      <a:pt x="73313" y="73950"/>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17" name="Freeform 19">
                <a:extLst>
                  <a:ext uri="{FF2B5EF4-FFF2-40B4-BE49-F238E27FC236}">
                    <a16:creationId xmlns:a16="http://schemas.microsoft.com/office/drawing/2014/main" id="{EEC26AD1-D9C9-E82D-43A8-C1657B1A148B}"/>
                  </a:ext>
                </a:extLst>
              </p:cNvPr>
              <p:cNvSpPr/>
              <p:nvPr/>
            </p:nvSpPr>
            <p:spPr>
              <a:xfrm>
                <a:off x="4603589" y="1289009"/>
                <a:ext cx="687863" cy="796876"/>
              </a:xfrm>
              <a:custGeom>
                <a:avLst/>
                <a:gdLst>
                  <a:gd name="connsiteX0" fmla="*/ 0 w 687863"/>
                  <a:gd name="connsiteY0" fmla="*/ 60563 h 796876"/>
                  <a:gd name="connsiteX1" fmla="*/ 12750 w 687863"/>
                  <a:gd name="connsiteY1" fmla="*/ 106463 h 796876"/>
                  <a:gd name="connsiteX2" fmla="*/ 40163 w 687863"/>
                  <a:gd name="connsiteY2" fmla="*/ 270301 h 796876"/>
                  <a:gd name="connsiteX3" fmla="*/ 52913 w 687863"/>
                  <a:gd name="connsiteY3" fmla="*/ 335963 h 796876"/>
                  <a:gd name="connsiteX4" fmla="*/ 56737 w 687863"/>
                  <a:gd name="connsiteY4" fmla="*/ 393338 h 796876"/>
                  <a:gd name="connsiteX5" fmla="*/ 71400 w 687863"/>
                  <a:gd name="connsiteY5" fmla="*/ 427763 h 796876"/>
                  <a:gd name="connsiteX6" fmla="*/ 74588 w 687863"/>
                  <a:gd name="connsiteY6" fmla="*/ 457726 h 796876"/>
                  <a:gd name="connsiteX7" fmla="*/ 77138 w 687863"/>
                  <a:gd name="connsiteY7" fmla="*/ 467926 h 796876"/>
                  <a:gd name="connsiteX8" fmla="*/ 76500 w 687863"/>
                  <a:gd name="connsiteY8" fmla="*/ 469839 h 796876"/>
                  <a:gd name="connsiteX9" fmla="*/ 51000 w 687863"/>
                  <a:gd name="connsiteY9" fmla="*/ 511913 h 796876"/>
                  <a:gd name="connsiteX10" fmla="*/ 67575 w 687863"/>
                  <a:gd name="connsiteY10" fmla="*/ 540601 h 796876"/>
                  <a:gd name="connsiteX11" fmla="*/ 100088 w 687863"/>
                  <a:gd name="connsiteY11" fmla="*/ 766914 h 796876"/>
                  <a:gd name="connsiteX12" fmla="*/ 101362 w 687863"/>
                  <a:gd name="connsiteY12" fmla="*/ 796877 h 796876"/>
                  <a:gd name="connsiteX13" fmla="*/ 133875 w 687863"/>
                  <a:gd name="connsiteY13" fmla="*/ 794964 h 796876"/>
                  <a:gd name="connsiteX14" fmla="*/ 260100 w 687863"/>
                  <a:gd name="connsiteY14" fmla="*/ 787952 h 796876"/>
                  <a:gd name="connsiteX15" fmla="*/ 576301 w 687863"/>
                  <a:gd name="connsiteY15" fmla="*/ 761177 h 796876"/>
                  <a:gd name="connsiteX16" fmla="*/ 608176 w 687863"/>
                  <a:gd name="connsiteY16" fmla="*/ 757989 h 796876"/>
                  <a:gd name="connsiteX17" fmla="*/ 608176 w 687863"/>
                  <a:gd name="connsiteY17" fmla="*/ 754801 h 796876"/>
                  <a:gd name="connsiteX18" fmla="*/ 598613 w 687863"/>
                  <a:gd name="connsiteY18" fmla="*/ 705076 h 796876"/>
                  <a:gd name="connsiteX19" fmla="*/ 559726 w 687863"/>
                  <a:gd name="connsiteY19" fmla="*/ 685314 h 796876"/>
                  <a:gd name="connsiteX20" fmla="*/ 528488 w 687863"/>
                  <a:gd name="connsiteY20" fmla="*/ 652801 h 796876"/>
                  <a:gd name="connsiteX21" fmla="*/ 479401 w 687863"/>
                  <a:gd name="connsiteY21" fmla="*/ 622839 h 796876"/>
                  <a:gd name="connsiteX22" fmla="*/ 464101 w 687863"/>
                  <a:gd name="connsiteY22" fmla="*/ 621564 h 796876"/>
                  <a:gd name="connsiteX23" fmla="*/ 440513 w 687863"/>
                  <a:gd name="connsiteY23" fmla="*/ 604989 h 796876"/>
                  <a:gd name="connsiteX24" fmla="*/ 446888 w 687863"/>
                  <a:gd name="connsiteY24" fmla="*/ 516376 h 796876"/>
                  <a:gd name="connsiteX25" fmla="*/ 424576 w 687863"/>
                  <a:gd name="connsiteY25" fmla="*/ 495976 h 796876"/>
                  <a:gd name="connsiteX26" fmla="*/ 432226 w 687863"/>
                  <a:gd name="connsiteY26" fmla="*/ 460276 h 796876"/>
                  <a:gd name="connsiteX27" fmla="*/ 473026 w 687863"/>
                  <a:gd name="connsiteY27" fmla="*/ 423301 h 796876"/>
                  <a:gd name="connsiteX28" fmla="*/ 466013 w 687863"/>
                  <a:gd name="connsiteY28" fmla="*/ 346801 h 796876"/>
                  <a:gd name="connsiteX29" fmla="*/ 480676 w 687863"/>
                  <a:gd name="connsiteY29" fmla="*/ 330226 h 796876"/>
                  <a:gd name="connsiteX30" fmla="*/ 480676 w 687863"/>
                  <a:gd name="connsiteY30" fmla="*/ 330226 h 796876"/>
                  <a:gd name="connsiteX31" fmla="*/ 531039 w 687863"/>
                  <a:gd name="connsiteY31" fmla="*/ 277313 h 796876"/>
                  <a:gd name="connsiteX32" fmla="*/ 587776 w 687863"/>
                  <a:gd name="connsiteY32" fmla="*/ 204000 h 796876"/>
                  <a:gd name="connsiteX33" fmla="*/ 609451 w 687863"/>
                  <a:gd name="connsiteY33" fmla="*/ 188700 h 796876"/>
                  <a:gd name="connsiteX34" fmla="*/ 647701 w 687863"/>
                  <a:gd name="connsiteY34" fmla="*/ 170213 h 796876"/>
                  <a:gd name="connsiteX35" fmla="*/ 687864 w 687863"/>
                  <a:gd name="connsiteY35" fmla="*/ 139613 h 796876"/>
                  <a:gd name="connsiteX36" fmla="*/ 660451 w 687863"/>
                  <a:gd name="connsiteY36" fmla="*/ 144713 h 796876"/>
                  <a:gd name="connsiteX37" fmla="*/ 644514 w 687863"/>
                  <a:gd name="connsiteY37" fmla="*/ 132600 h 796876"/>
                  <a:gd name="connsiteX38" fmla="*/ 582676 w 687863"/>
                  <a:gd name="connsiteY38" fmla="*/ 140888 h 796876"/>
                  <a:gd name="connsiteX39" fmla="*/ 572476 w 687863"/>
                  <a:gd name="connsiteY39" fmla="*/ 129413 h 796876"/>
                  <a:gd name="connsiteX40" fmla="*/ 517651 w 687863"/>
                  <a:gd name="connsiteY40" fmla="*/ 151725 h 796876"/>
                  <a:gd name="connsiteX41" fmla="*/ 473026 w 687863"/>
                  <a:gd name="connsiteY41" fmla="*/ 133238 h 796876"/>
                  <a:gd name="connsiteX42" fmla="*/ 460913 w 687863"/>
                  <a:gd name="connsiteY42" fmla="*/ 118575 h 796876"/>
                  <a:gd name="connsiteX43" fmla="*/ 425851 w 687863"/>
                  <a:gd name="connsiteY43" fmla="*/ 121125 h 796876"/>
                  <a:gd name="connsiteX44" fmla="*/ 402263 w 687863"/>
                  <a:gd name="connsiteY44" fmla="*/ 109013 h 796876"/>
                  <a:gd name="connsiteX45" fmla="*/ 409913 w 687863"/>
                  <a:gd name="connsiteY45" fmla="*/ 99450 h 796876"/>
                  <a:gd name="connsiteX46" fmla="*/ 379313 w 687863"/>
                  <a:gd name="connsiteY46" fmla="*/ 89250 h 796876"/>
                  <a:gd name="connsiteX47" fmla="*/ 351901 w 687863"/>
                  <a:gd name="connsiteY47" fmla="*/ 89250 h 796876"/>
                  <a:gd name="connsiteX48" fmla="*/ 309188 w 687863"/>
                  <a:gd name="connsiteY48" fmla="*/ 107738 h 796876"/>
                  <a:gd name="connsiteX49" fmla="*/ 300901 w 687863"/>
                  <a:gd name="connsiteY49" fmla="*/ 94988 h 796876"/>
                  <a:gd name="connsiteX50" fmla="*/ 233325 w 687863"/>
                  <a:gd name="connsiteY50" fmla="*/ 82875 h 796876"/>
                  <a:gd name="connsiteX51" fmla="*/ 210375 w 687863"/>
                  <a:gd name="connsiteY51" fmla="*/ 25500 h 796876"/>
                  <a:gd name="connsiteX52" fmla="*/ 207825 w 687863"/>
                  <a:gd name="connsiteY52" fmla="*/ 8287 h 796876"/>
                  <a:gd name="connsiteX53" fmla="*/ 177863 w 687863"/>
                  <a:gd name="connsiteY53" fmla="*/ 0 h 796876"/>
                  <a:gd name="connsiteX54" fmla="*/ 180413 w 687863"/>
                  <a:gd name="connsiteY54" fmla="*/ 49725 h 796876"/>
                  <a:gd name="connsiteX55" fmla="*/ 102638 w 687863"/>
                  <a:gd name="connsiteY55" fmla="*/ 55463 h 796876"/>
                  <a:gd name="connsiteX56" fmla="*/ 5100 w 687863"/>
                  <a:gd name="connsiteY56" fmla="*/ 59288 h 796876"/>
                  <a:gd name="connsiteX57" fmla="*/ 0 w 687863"/>
                  <a:gd name="connsiteY57" fmla="*/ 59288 h 796876"/>
                  <a:gd name="connsiteX58" fmla="*/ 0 w 687863"/>
                  <a:gd name="connsiteY58" fmla="*/ 60563 h 79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87863" h="796876">
                    <a:moveTo>
                      <a:pt x="0" y="60563"/>
                    </a:moveTo>
                    <a:lnTo>
                      <a:pt x="12750" y="106463"/>
                    </a:lnTo>
                    <a:lnTo>
                      <a:pt x="40163" y="270301"/>
                    </a:lnTo>
                    <a:lnTo>
                      <a:pt x="52913" y="335963"/>
                    </a:lnTo>
                    <a:lnTo>
                      <a:pt x="56737" y="393338"/>
                    </a:lnTo>
                    <a:lnTo>
                      <a:pt x="71400" y="427763"/>
                    </a:lnTo>
                    <a:lnTo>
                      <a:pt x="74588" y="457726"/>
                    </a:lnTo>
                    <a:lnTo>
                      <a:pt x="77138" y="467926"/>
                    </a:lnTo>
                    <a:lnTo>
                      <a:pt x="76500" y="469839"/>
                    </a:lnTo>
                    <a:lnTo>
                      <a:pt x="51000" y="511913"/>
                    </a:lnTo>
                    <a:lnTo>
                      <a:pt x="67575" y="540601"/>
                    </a:lnTo>
                    <a:lnTo>
                      <a:pt x="100088" y="766914"/>
                    </a:lnTo>
                    <a:lnTo>
                      <a:pt x="101362" y="796877"/>
                    </a:lnTo>
                    <a:lnTo>
                      <a:pt x="133875" y="794964"/>
                    </a:lnTo>
                    <a:lnTo>
                      <a:pt x="260100" y="787952"/>
                    </a:lnTo>
                    <a:lnTo>
                      <a:pt x="576301" y="761177"/>
                    </a:lnTo>
                    <a:lnTo>
                      <a:pt x="608176" y="757989"/>
                    </a:lnTo>
                    <a:lnTo>
                      <a:pt x="608176" y="754801"/>
                    </a:lnTo>
                    <a:lnTo>
                      <a:pt x="598613" y="705076"/>
                    </a:lnTo>
                    <a:lnTo>
                      <a:pt x="559726" y="685314"/>
                    </a:lnTo>
                    <a:lnTo>
                      <a:pt x="528488" y="652801"/>
                    </a:lnTo>
                    <a:lnTo>
                      <a:pt x="479401" y="622839"/>
                    </a:lnTo>
                    <a:lnTo>
                      <a:pt x="464101" y="621564"/>
                    </a:lnTo>
                    <a:lnTo>
                      <a:pt x="440513" y="604989"/>
                    </a:lnTo>
                    <a:lnTo>
                      <a:pt x="446888" y="516376"/>
                    </a:lnTo>
                    <a:lnTo>
                      <a:pt x="424576" y="495976"/>
                    </a:lnTo>
                    <a:lnTo>
                      <a:pt x="432226" y="460276"/>
                    </a:lnTo>
                    <a:lnTo>
                      <a:pt x="473026" y="423301"/>
                    </a:lnTo>
                    <a:lnTo>
                      <a:pt x="466013" y="346801"/>
                    </a:lnTo>
                    <a:lnTo>
                      <a:pt x="480676" y="330226"/>
                    </a:lnTo>
                    <a:lnTo>
                      <a:pt x="480676" y="330226"/>
                    </a:lnTo>
                    <a:lnTo>
                      <a:pt x="531039" y="277313"/>
                    </a:lnTo>
                    <a:lnTo>
                      <a:pt x="587776" y="204000"/>
                    </a:lnTo>
                    <a:lnTo>
                      <a:pt x="609451" y="188700"/>
                    </a:lnTo>
                    <a:lnTo>
                      <a:pt x="647701" y="170213"/>
                    </a:lnTo>
                    <a:lnTo>
                      <a:pt x="687864" y="139613"/>
                    </a:lnTo>
                    <a:lnTo>
                      <a:pt x="660451" y="144713"/>
                    </a:lnTo>
                    <a:lnTo>
                      <a:pt x="644514" y="132600"/>
                    </a:lnTo>
                    <a:lnTo>
                      <a:pt x="582676" y="140888"/>
                    </a:lnTo>
                    <a:lnTo>
                      <a:pt x="572476" y="129413"/>
                    </a:lnTo>
                    <a:lnTo>
                      <a:pt x="517651" y="151725"/>
                    </a:lnTo>
                    <a:lnTo>
                      <a:pt x="473026" y="133238"/>
                    </a:lnTo>
                    <a:lnTo>
                      <a:pt x="460913" y="118575"/>
                    </a:lnTo>
                    <a:lnTo>
                      <a:pt x="425851" y="121125"/>
                    </a:lnTo>
                    <a:lnTo>
                      <a:pt x="402263" y="109013"/>
                    </a:lnTo>
                    <a:lnTo>
                      <a:pt x="409913" y="99450"/>
                    </a:lnTo>
                    <a:lnTo>
                      <a:pt x="379313" y="89250"/>
                    </a:lnTo>
                    <a:lnTo>
                      <a:pt x="351901" y="89250"/>
                    </a:lnTo>
                    <a:lnTo>
                      <a:pt x="309188" y="107738"/>
                    </a:lnTo>
                    <a:lnTo>
                      <a:pt x="300901" y="94988"/>
                    </a:lnTo>
                    <a:lnTo>
                      <a:pt x="233325" y="82875"/>
                    </a:lnTo>
                    <a:lnTo>
                      <a:pt x="210375" y="25500"/>
                    </a:lnTo>
                    <a:lnTo>
                      <a:pt x="207825" y="8287"/>
                    </a:lnTo>
                    <a:lnTo>
                      <a:pt x="177863" y="0"/>
                    </a:lnTo>
                    <a:lnTo>
                      <a:pt x="180413" y="49725"/>
                    </a:lnTo>
                    <a:lnTo>
                      <a:pt x="102638" y="55463"/>
                    </a:lnTo>
                    <a:lnTo>
                      <a:pt x="5100" y="59288"/>
                    </a:lnTo>
                    <a:lnTo>
                      <a:pt x="0" y="59288"/>
                    </a:lnTo>
                    <a:lnTo>
                      <a:pt x="0" y="60563"/>
                    </a:lnTo>
                    <a:close/>
                  </a:path>
                </a:pathLst>
              </a:custGeom>
              <a:solidFill>
                <a:schemeClr val="bg1">
                  <a:lumMod val="85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18" name="Freeform 20">
                <a:extLst>
                  <a:ext uri="{FF2B5EF4-FFF2-40B4-BE49-F238E27FC236}">
                    <a16:creationId xmlns:a16="http://schemas.microsoft.com/office/drawing/2014/main" id="{1FA3BB5B-BE1E-5C5A-F7D8-00805DFA4BFF}"/>
                  </a:ext>
                </a:extLst>
              </p:cNvPr>
              <p:cNvSpPr/>
              <p:nvPr/>
            </p:nvSpPr>
            <p:spPr>
              <a:xfrm>
                <a:off x="2925686" y="1211234"/>
                <a:ext cx="1075464" cy="673201"/>
              </a:xfrm>
              <a:custGeom>
                <a:avLst/>
                <a:gdLst>
                  <a:gd name="connsiteX0" fmla="*/ 1063990 w 1075464"/>
                  <a:gd name="connsiteY0" fmla="*/ 132600 h 673201"/>
                  <a:gd name="connsiteX1" fmla="*/ 851702 w 1075464"/>
                  <a:gd name="connsiteY1" fmla="*/ 118575 h 673201"/>
                  <a:gd name="connsiteX2" fmla="*/ 696789 w 1075464"/>
                  <a:gd name="connsiteY2" fmla="*/ 103913 h 673201"/>
                  <a:gd name="connsiteX3" fmla="*/ 542514 w 1075464"/>
                  <a:gd name="connsiteY3" fmla="*/ 86063 h 673201"/>
                  <a:gd name="connsiteX4" fmla="*/ 446251 w 1075464"/>
                  <a:gd name="connsiteY4" fmla="*/ 73313 h 673201"/>
                  <a:gd name="connsiteX5" fmla="*/ 293251 w 1075464"/>
                  <a:gd name="connsiteY5" fmla="*/ 49725 h 673201"/>
                  <a:gd name="connsiteX6" fmla="*/ 216750 w 1075464"/>
                  <a:gd name="connsiteY6" fmla="*/ 36975 h 673201"/>
                  <a:gd name="connsiteX7" fmla="*/ 45900 w 1075464"/>
                  <a:gd name="connsiteY7" fmla="*/ 3825 h 673201"/>
                  <a:gd name="connsiteX8" fmla="*/ 28050 w 1075464"/>
                  <a:gd name="connsiteY8" fmla="*/ 0 h 673201"/>
                  <a:gd name="connsiteX9" fmla="*/ 0 w 1075464"/>
                  <a:gd name="connsiteY9" fmla="*/ 130050 h 673201"/>
                  <a:gd name="connsiteX10" fmla="*/ 12112 w 1075464"/>
                  <a:gd name="connsiteY10" fmla="*/ 153638 h 673201"/>
                  <a:gd name="connsiteX11" fmla="*/ 22313 w 1075464"/>
                  <a:gd name="connsiteY11" fmla="*/ 189975 h 673201"/>
                  <a:gd name="connsiteX12" fmla="*/ 16575 w 1075464"/>
                  <a:gd name="connsiteY12" fmla="*/ 195075 h 673201"/>
                  <a:gd name="connsiteX13" fmla="*/ 28688 w 1075464"/>
                  <a:gd name="connsiteY13" fmla="*/ 228225 h 673201"/>
                  <a:gd name="connsiteX14" fmla="*/ 45263 w 1075464"/>
                  <a:gd name="connsiteY14" fmla="*/ 242250 h 673201"/>
                  <a:gd name="connsiteX15" fmla="*/ 93075 w 1075464"/>
                  <a:gd name="connsiteY15" fmla="*/ 321938 h 673201"/>
                  <a:gd name="connsiteX16" fmla="*/ 97538 w 1075464"/>
                  <a:gd name="connsiteY16" fmla="*/ 335326 h 673201"/>
                  <a:gd name="connsiteX17" fmla="*/ 116663 w 1075464"/>
                  <a:gd name="connsiteY17" fmla="*/ 334051 h 673201"/>
                  <a:gd name="connsiteX18" fmla="*/ 94350 w 1075464"/>
                  <a:gd name="connsiteY18" fmla="*/ 439238 h 673201"/>
                  <a:gd name="connsiteX19" fmla="*/ 84788 w 1075464"/>
                  <a:gd name="connsiteY19" fmla="*/ 441788 h 673201"/>
                  <a:gd name="connsiteX20" fmla="*/ 72675 w 1075464"/>
                  <a:gd name="connsiteY20" fmla="*/ 476851 h 673201"/>
                  <a:gd name="connsiteX21" fmla="*/ 136425 w 1075464"/>
                  <a:gd name="connsiteY21" fmla="*/ 481313 h 673201"/>
                  <a:gd name="connsiteX22" fmla="*/ 141525 w 1075464"/>
                  <a:gd name="connsiteY22" fmla="*/ 511276 h 673201"/>
                  <a:gd name="connsiteX23" fmla="*/ 177225 w 1075464"/>
                  <a:gd name="connsiteY23" fmla="*/ 599251 h 673201"/>
                  <a:gd name="connsiteX24" fmla="*/ 183600 w 1075464"/>
                  <a:gd name="connsiteY24" fmla="*/ 604351 h 673201"/>
                  <a:gd name="connsiteX25" fmla="*/ 208463 w 1075464"/>
                  <a:gd name="connsiteY25" fmla="*/ 655989 h 673201"/>
                  <a:gd name="connsiteX26" fmla="*/ 214838 w 1075464"/>
                  <a:gd name="connsiteY26" fmla="*/ 650889 h 673201"/>
                  <a:gd name="connsiteX27" fmla="*/ 268388 w 1075464"/>
                  <a:gd name="connsiteY27" fmla="*/ 650251 h 673201"/>
                  <a:gd name="connsiteX28" fmla="*/ 335963 w 1075464"/>
                  <a:gd name="connsiteY28" fmla="*/ 657264 h 673201"/>
                  <a:gd name="connsiteX29" fmla="*/ 352538 w 1075464"/>
                  <a:gd name="connsiteY29" fmla="*/ 635589 h 673201"/>
                  <a:gd name="connsiteX30" fmla="*/ 372301 w 1075464"/>
                  <a:gd name="connsiteY30" fmla="*/ 671289 h 673201"/>
                  <a:gd name="connsiteX31" fmla="*/ 376126 w 1075464"/>
                  <a:gd name="connsiteY31" fmla="*/ 673201 h 673201"/>
                  <a:gd name="connsiteX32" fmla="*/ 376763 w 1075464"/>
                  <a:gd name="connsiteY32" fmla="*/ 669376 h 673201"/>
                  <a:gd name="connsiteX33" fmla="*/ 386326 w 1075464"/>
                  <a:gd name="connsiteY33" fmla="*/ 606264 h 673201"/>
                  <a:gd name="connsiteX34" fmla="*/ 606264 w 1075464"/>
                  <a:gd name="connsiteY34" fmla="*/ 633676 h 673201"/>
                  <a:gd name="connsiteX35" fmla="*/ 781577 w 1075464"/>
                  <a:gd name="connsiteY35" fmla="*/ 650251 h 673201"/>
                  <a:gd name="connsiteX36" fmla="*/ 874014 w 1075464"/>
                  <a:gd name="connsiteY36" fmla="*/ 657901 h 673201"/>
                  <a:gd name="connsiteX37" fmla="*/ 1038490 w 1075464"/>
                  <a:gd name="connsiteY37" fmla="*/ 668101 h 673201"/>
                  <a:gd name="connsiteX38" fmla="*/ 1046777 w 1075464"/>
                  <a:gd name="connsiteY38" fmla="*/ 668739 h 673201"/>
                  <a:gd name="connsiteX39" fmla="*/ 1048690 w 1075464"/>
                  <a:gd name="connsiteY39" fmla="*/ 668739 h 673201"/>
                  <a:gd name="connsiteX40" fmla="*/ 1049327 w 1075464"/>
                  <a:gd name="connsiteY40" fmla="*/ 659176 h 673201"/>
                  <a:gd name="connsiteX41" fmla="*/ 1051240 w 1075464"/>
                  <a:gd name="connsiteY41" fmla="*/ 614551 h 673201"/>
                  <a:gd name="connsiteX42" fmla="*/ 1053790 w 1075464"/>
                  <a:gd name="connsiteY42" fmla="*/ 556539 h 673201"/>
                  <a:gd name="connsiteX43" fmla="*/ 1054427 w 1075464"/>
                  <a:gd name="connsiteY43" fmla="*/ 541876 h 673201"/>
                  <a:gd name="connsiteX44" fmla="*/ 1055702 w 1075464"/>
                  <a:gd name="connsiteY44" fmla="*/ 516376 h 673201"/>
                  <a:gd name="connsiteX45" fmla="*/ 1066540 w 1075464"/>
                  <a:gd name="connsiteY45" fmla="*/ 314288 h 673201"/>
                  <a:gd name="connsiteX46" fmla="*/ 1074827 w 1075464"/>
                  <a:gd name="connsiteY46" fmla="*/ 157463 h 673201"/>
                  <a:gd name="connsiteX47" fmla="*/ 1075465 w 1075464"/>
                  <a:gd name="connsiteY47" fmla="*/ 131963 h 673201"/>
                  <a:gd name="connsiteX48" fmla="*/ 1063990 w 1075464"/>
                  <a:gd name="connsiteY48" fmla="*/ 132600 h 673201"/>
                  <a:gd name="connsiteX49" fmla="*/ 1063990 w 1075464"/>
                  <a:gd name="connsiteY49" fmla="*/ 132600 h 67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75464" h="673201">
                    <a:moveTo>
                      <a:pt x="1063990" y="132600"/>
                    </a:moveTo>
                    <a:lnTo>
                      <a:pt x="851702" y="118575"/>
                    </a:lnTo>
                    <a:lnTo>
                      <a:pt x="696789" y="103913"/>
                    </a:lnTo>
                    <a:lnTo>
                      <a:pt x="542514" y="86063"/>
                    </a:lnTo>
                    <a:lnTo>
                      <a:pt x="446251" y="73313"/>
                    </a:lnTo>
                    <a:lnTo>
                      <a:pt x="293251" y="49725"/>
                    </a:lnTo>
                    <a:lnTo>
                      <a:pt x="216750" y="36975"/>
                    </a:lnTo>
                    <a:lnTo>
                      <a:pt x="45900" y="3825"/>
                    </a:lnTo>
                    <a:lnTo>
                      <a:pt x="28050" y="0"/>
                    </a:lnTo>
                    <a:lnTo>
                      <a:pt x="0" y="130050"/>
                    </a:lnTo>
                    <a:lnTo>
                      <a:pt x="12112" y="153638"/>
                    </a:lnTo>
                    <a:lnTo>
                      <a:pt x="22313" y="189975"/>
                    </a:lnTo>
                    <a:lnTo>
                      <a:pt x="16575" y="195075"/>
                    </a:lnTo>
                    <a:lnTo>
                      <a:pt x="28688" y="228225"/>
                    </a:lnTo>
                    <a:lnTo>
                      <a:pt x="45263" y="242250"/>
                    </a:lnTo>
                    <a:lnTo>
                      <a:pt x="93075" y="321938"/>
                    </a:lnTo>
                    <a:lnTo>
                      <a:pt x="97538" y="335326"/>
                    </a:lnTo>
                    <a:lnTo>
                      <a:pt x="116663" y="334051"/>
                    </a:lnTo>
                    <a:lnTo>
                      <a:pt x="94350" y="439238"/>
                    </a:lnTo>
                    <a:lnTo>
                      <a:pt x="84788" y="441788"/>
                    </a:lnTo>
                    <a:lnTo>
                      <a:pt x="72675" y="476851"/>
                    </a:lnTo>
                    <a:lnTo>
                      <a:pt x="136425" y="481313"/>
                    </a:lnTo>
                    <a:lnTo>
                      <a:pt x="141525" y="511276"/>
                    </a:lnTo>
                    <a:lnTo>
                      <a:pt x="177225" y="599251"/>
                    </a:lnTo>
                    <a:lnTo>
                      <a:pt x="183600" y="604351"/>
                    </a:lnTo>
                    <a:lnTo>
                      <a:pt x="208463" y="655989"/>
                    </a:lnTo>
                    <a:lnTo>
                      <a:pt x="214838" y="650889"/>
                    </a:lnTo>
                    <a:lnTo>
                      <a:pt x="268388" y="650251"/>
                    </a:lnTo>
                    <a:lnTo>
                      <a:pt x="335963" y="657264"/>
                    </a:lnTo>
                    <a:lnTo>
                      <a:pt x="352538" y="635589"/>
                    </a:lnTo>
                    <a:lnTo>
                      <a:pt x="372301" y="671289"/>
                    </a:lnTo>
                    <a:lnTo>
                      <a:pt x="376126" y="673201"/>
                    </a:lnTo>
                    <a:lnTo>
                      <a:pt x="376763" y="669376"/>
                    </a:lnTo>
                    <a:lnTo>
                      <a:pt x="386326" y="606264"/>
                    </a:lnTo>
                    <a:lnTo>
                      <a:pt x="606264" y="633676"/>
                    </a:lnTo>
                    <a:lnTo>
                      <a:pt x="781577" y="650251"/>
                    </a:lnTo>
                    <a:lnTo>
                      <a:pt x="874014" y="657901"/>
                    </a:lnTo>
                    <a:lnTo>
                      <a:pt x="1038490" y="668101"/>
                    </a:lnTo>
                    <a:lnTo>
                      <a:pt x="1046777" y="668739"/>
                    </a:lnTo>
                    <a:lnTo>
                      <a:pt x="1048690" y="668739"/>
                    </a:lnTo>
                    <a:lnTo>
                      <a:pt x="1049327" y="659176"/>
                    </a:lnTo>
                    <a:lnTo>
                      <a:pt x="1051240" y="614551"/>
                    </a:lnTo>
                    <a:lnTo>
                      <a:pt x="1053790" y="556539"/>
                    </a:lnTo>
                    <a:lnTo>
                      <a:pt x="1054427" y="541876"/>
                    </a:lnTo>
                    <a:lnTo>
                      <a:pt x="1055702" y="516376"/>
                    </a:lnTo>
                    <a:lnTo>
                      <a:pt x="1066540" y="314288"/>
                    </a:lnTo>
                    <a:lnTo>
                      <a:pt x="1074827" y="157463"/>
                    </a:lnTo>
                    <a:lnTo>
                      <a:pt x="1075465" y="131963"/>
                    </a:lnTo>
                    <a:lnTo>
                      <a:pt x="1063990" y="132600"/>
                    </a:lnTo>
                    <a:lnTo>
                      <a:pt x="1063990" y="132600"/>
                    </a:lnTo>
                    <a:close/>
                  </a:path>
                </a:pathLst>
              </a:custGeom>
              <a:solidFill>
                <a:schemeClr val="bg1">
                  <a:lumMod val="85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19" name="Freeform 21">
                <a:extLst>
                  <a:ext uri="{FF2B5EF4-FFF2-40B4-BE49-F238E27FC236}">
                    <a16:creationId xmlns:a16="http://schemas.microsoft.com/office/drawing/2014/main" id="{48A92A24-84A2-10C7-23C0-70D0DA31518B}"/>
                  </a:ext>
                </a:extLst>
              </p:cNvPr>
              <p:cNvSpPr/>
              <p:nvPr/>
            </p:nvSpPr>
            <p:spPr>
              <a:xfrm>
                <a:off x="3979475" y="1344472"/>
                <a:ext cx="699338" cy="418838"/>
              </a:xfrm>
              <a:custGeom>
                <a:avLst/>
                <a:gdLst>
                  <a:gd name="connsiteX0" fmla="*/ 610726 w 699338"/>
                  <a:gd name="connsiteY0" fmla="*/ 5100 h 418838"/>
                  <a:gd name="connsiteX1" fmla="*/ 416926 w 699338"/>
                  <a:gd name="connsiteY1" fmla="*/ 8925 h 418838"/>
                  <a:gd name="connsiteX2" fmla="*/ 281138 w 699338"/>
                  <a:gd name="connsiteY2" fmla="*/ 8287 h 418838"/>
                  <a:gd name="connsiteX3" fmla="*/ 164475 w 699338"/>
                  <a:gd name="connsiteY3" fmla="*/ 5737 h 418838"/>
                  <a:gd name="connsiteX4" fmla="*/ 28050 w 699338"/>
                  <a:gd name="connsiteY4" fmla="*/ 637 h 418838"/>
                  <a:gd name="connsiteX5" fmla="*/ 21038 w 699338"/>
                  <a:gd name="connsiteY5" fmla="*/ 0 h 418838"/>
                  <a:gd name="connsiteX6" fmla="*/ 20400 w 699338"/>
                  <a:gd name="connsiteY6" fmla="*/ 25500 h 418838"/>
                  <a:gd name="connsiteX7" fmla="*/ 12113 w 699338"/>
                  <a:gd name="connsiteY7" fmla="*/ 182325 h 418838"/>
                  <a:gd name="connsiteX8" fmla="*/ 1275 w 699338"/>
                  <a:gd name="connsiteY8" fmla="*/ 384413 h 418838"/>
                  <a:gd name="connsiteX9" fmla="*/ 0 w 699338"/>
                  <a:gd name="connsiteY9" fmla="*/ 409913 h 418838"/>
                  <a:gd name="connsiteX10" fmla="*/ 24863 w 699338"/>
                  <a:gd name="connsiteY10" fmla="*/ 411188 h 418838"/>
                  <a:gd name="connsiteX11" fmla="*/ 307913 w 699338"/>
                  <a:gd name="connsiteY11" fmla="*/ 418838 h 418838"/>
                  <a:gd name="connsiteX12" fmla="*/ 569289 w 699338"/>
                  <a:gd name="connsiteY12" fmla="*/ 416926 h 418838"/>
                  <a:gd name="connsiteX13" fmla="*/ 677664 w 699338"/>
                  <a:gd name="connsiteY13" fmla="*/ 413738 h 418838"/>
                  <a:gd name="connsiteX14" fmla="*/ 699339 w 699338"/>
                  <a:gd name="connsiteY14" fmla="*/ 412463 h 418838"/>
                  <a:gd name="connsiteX15" fmla="*/ 696789 w 699338"/>
                  <a:gd name="connsiteY15" fmla="*/ 402263 h 418838"/>
                  <a:gd name="connsiteX16" fmla="*/ 693601 w 699338"/>
                  <a:gd name="connsiteY16" fmla="*/ 372301 h 418838"/>
                  <a:gd name="connsiteX17" fmla="*/ 678939 w 699338"/>
                  <a:gd name="connsiteY17" fmla="*/ 337876 h 418838"/>
                  <a:gd name="connsiteX18" fmla="*/ 675114 w 699338"/>
                  <a:gd name="connsiteY18" fmla="*/ 280501 h 418838"/>
                  <a:gd name="connsiteX19" fmla="*/ 662364 w 699338"/>
                  <a:gd name="connsiteY19" fmla="*/ 214838 h 418838"/>
                  <a:gd name="connsiteX20" fmla="*/ 634952 w 699338"/>
                  <a:gd name="connsiteY20" fmla="*/ 51000 h 418838"/>
                  <a:gd name="connsiteX21" fmla="*/ 622202 w 699338"/>
                  <a:gd name="connsiteY21" fmla="*/ 5100 h 418838"/>
                  <a:gd name="connsiteX22" fmla="*/ 610726 w 699338"/>
                  <a:gd name="connsiteY22" fmla="*/ 5100 h 418838"/>
                  <a:gd name="connsiteX23" fmla="*/ 610726 w 699338"/>
                  <a:gd name="connsiteY23" fmla="*/ 5100 h 41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9338" h="418838">
                    <a:moveTo>
                      <a:pt x="610726" y="5100"/>
                    </a:moveTo>
                    <a:lnTo>
                      <a:pt x="416926" y="8925"/>
                    </a:lnTo>
                    <a:lnTo>
                      <a:pt x="281138" y="8287"/>
                    </a:lnTo>
                    <a:lnTo>
                      <a:pt x="164475" y="5737"/>
                    </a:lnTo>
                    <a:lnTo>
                      <a:pt x="28050" y="637"/>
                    </a:lnTo>
                    <a:lnTo>
                      <a:pt x="21038" y="0"/>
                    </a:lnTo>
                    <a:lnTo>
                      <a:pt x="20400" y="25500"/>
                    </a:lnTo>
                    <a:lnTo>
                      <a:pt x="12113" y="182325"/>
                    </a:lnTo>
                    <a:lnTo>
                      <a:pt x="1275" y="384413"/>
                    </a:lnTo>
                    <a:lnTo>
                      <a:pt x="0" y="409913"/>
                    </a:lnTo>
                    <a:lnTo>
                      <a:pt x="24863" y="411188"/>
                    </a:lnTo>
                    <a:lnTo>
                      <a:pt x="307913" y="418838"/>
                    </a:lnTo>
                    <a:lnTo>
                      <a:pt x="569289" y="416926"/>
                    </a:lnTo>
                    <a:lnTo>
                      <a:pt x="677664" y="413738"/>
                    </a:lnTo>
                    <a:lnTo>
                      <a:pt x="699339" y="412463"/>
                    </a:lnTo>
                    <a:lnTo>
                      <a:pt x="696789" y="402263"/>
                    </a:lnTo>
                    <a:lnTo>
                      <a:pt x="693601" y="372301"/>
                    </a:lnTo>
                    <a:lnTo>
                      <a:pt x="678939" y="337876"/>
                    </a:lnTo>
                    <a:lnTo>
                      <a:pt x="675114" y="280501"/>
                    </a:lnTo>
                    <a:lnTo>
                      <a:pt x="662364" y="214838"/>
                    </a:lnTo>
                    <a:lnTo>
                      <a:pt x="634952" y="51000"/>
                    </a:lnTo>
                    <a:lnTo>
                      <a:pt x="622202" y="5100"/>
                    </a:lnTo>
                    <a:lnTo>
                      <a:pt x="610726" y="5100"/>
                    </a:lnTo>
                    <a:lnTo>
                      <a:pt x="610726" y="510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0" name="Freeform 23">
                <a:extLst>
                  <a:ext uri="{FF2B5EF4-FFF2-40B4-BE49-F238E27FC236}">
                    <a16:creationId xmlns:a16="http://schemas.microsoft.com/office/drawing/2014/main" id="{C7E12FE2-F05B-B688-E947-5EDAACB4FFE0}"/>
                  </a:ext>
                </a:extLst>
              </p:cNvPr>
              <p:cNvSpPr/>
              <p:nvPr/>
            </p:nvSpPr>
            <p:spPr>
              <a:xfrm>
                <a:off x="2673235" y="1193384"/>
                <a:ext cx="629213" cy="1025739"/>
              </a:xfrm>
              <a:custGeom>
                <a:avLst/>
                <a:gdLst>
                  <a:gd name="connsiteX0" fmla="*/ 279863 w 629213"/>
                  <a:gd name="connsiteY0" fmla="*/ 17850 h 1025739"/>
                  <a:gd name="connsiteX1" fmla="*/ 223125 w 629213"/>
                  <a:gd name="connsiteY1" fmla="*/ 6375 h 1025739"/>
                  <a:gd name="connsiteX2" fmla="*/ 204638 w 629213"/>
                  <a:gd name="connsiteY2" fmla="*/ 1913 h 1025739"/>
                  <a:gd name="connsiteX3" fmla="*/ 196351 w 629213"/>
                  <a:gd name="connsiteY3" fmla="*/ 0 h 1025739"/>
                  <a:gd name="connsiteX4" fmla="*/ 121763 w 629213"/>
                  <a:gd name="connsiteY4" fmla="*/ 335326 h 1025739"/>
                  <a:gd name="connsiteX5" fmla="*/ 124950 w 629213"/>
                  <a:gd name="connsiteY5" fmla="*/ 363376 h 1025739"/>
                  <a:gd name="connsiteX6" fmla="*/ 122400 w 629213"/>
                  <a:gd name="connsiteY6" fmla="*/ 392701 h 1025739"/>
                  <a:gd name="connsiteX7" fmla="*/ 123675 w 629213"/>
                  <a:gd name="connsiteY7" fmla="*/ 399076 h 1025739"/>
                  <a:gd name="connsiteX8" fmla="*/ 123675 w 629213"/>
                  <a:gd name="connsiteY8" fmla="*/ 399713 h 1025739"/>
                  <a:gd name="connsiteX9" fmla="*/ 124313 w 629213"/>
                  <a:gd name="connsiteY9" fmla="*/ 411826 h 1025739"/>
                  <a:gd name="connsiteX10" fmla="*/ 145988 w 629213"/>
                  <a:gd name="connsiteY10" fmla="*/ 435413 h 1025739"/>
                  <a:gd name="connsiteX11" fmla="*/ 114113 w 629213"/>
                  <a:gd name="connsiteY11" fmla="*/ 514464 h 1025739"/>
                  <a:gd name="connsiteX12" fmla="*/ 47813 w 629213"/>
                  <a:gd name="connsiteY12" fmla="*/ 601164 h 1025739"/>
                  <a:gd name="connsiteX13" fmla="*/ 45900 w 629213"/>
                  <a:gd name="connsiteY13" fmla="*/ 617101 h 1025739"/>
                  <a:gd name="connsiteX14" fmla="*/ 63113 w 629213"/>
                  <a:gd name="connsiteY14" fmla="*/ 657901 h 1025739"/>
                  <a:gd name="connsiteX15" fmla="*/ 2550 w 629213"/>
                  <a:gd name="connsiteY15" fmla="*/ 910989 h 1025739"/>
                  <a:gd name="connsiteX16" fmla="*/ 0 w 629213"/>
                  <a:gd name="connsiteY16" fmla="*/ 924377 h 1025739"/>
                  <a:gd name="connsiteX17" fmla="*/ 17850 w 629213"/>
                  <a:gd name="connsiteY17" fmla="*/ 928202 h 1025739"/>
                  <a:gd name="connsiteX18" fmla="*/ 199538 w 629213"/>
                  <a:gd name="connsiteY18" fmla="*/ 963902 h 1025739"/>
                  <a:gd name="connsiteX19" fmla="*/ 272213 w 629213"/>
                  <a:gd name="connsiteY19" fmla="*/ 977289 h 1025739"/>
                  <a:gd name="connsiteX20" fmla="*/ 290701 w 629213"/>
                  <a:gd name="connsiteY20" fmla="*/ 980477 h 1025739"/>
                  <a:gd name="connsiteX21" fmla="*/ 308551 w 629213"/>
                  <a:gd name="connsiteY21" fmla="*/ 983664 h 1025739"/>
                  <a:gd name="connsiteX22" fmla="*/ 400988 w 629213"/>
                  <a:gd name="connsiteY22" fmla="*/ 998327 h 1025739"/>
                  <a:gd name="connsiteX23" fmla="*/ 566739 w 629213"/>
                  <a:gd name="connsiteY23" fmla="*/ 1023190 h 1025739"/>
                  <a:gd name="connsiteX24" fmla="*/ 585226 w 629213"/>
                  <a:gd name="connsiteY24" fmla="*/ 1025740 h 1025739"/>
                  <a:gd name="connsiteX25" fmla="*/ 587776 w 629213"/>
                  <a:gd name="connsiteY25" fmla="*/ 1004702 h 1025739"/>
                  <a:gd name="connsiteX26" fmla="*/ 593514 w 629213"/>
                  <a:gd name="connsiteY26" fmla="*/ 963264 h 1025739"/>
                  <a:gd name="connsiteX27" fmla="*/ 615189 w 629213"/>
                  <a:gd name="connsiteY27" fmla="*/ 796239 h 1025739"/>
                  <a:gd name="connsiteX28" fmla="*/ 626664 w 629213"/>
                  <a:gd name="connsiteY28" fmla="*/ 713364 h 1025739"/>
                  <a:gd name="connsiteX29" fmla="*/ 629214 w 629213"/>
                  <a:gd name="connsiteY29" fmla="*/ 692326 h 1025739"/>
                  <a:gd name="connsiteX30" fmla="*/ 625389 w 629213"/>
                  <a:gd name="connsiteY30" fmla="*/ 690414 h 1025739"/>
                  <a:gd name="connsiteX31" fmla="*/ 605626 w 629213"/>
                  <a:gd name="connsiteY31" fmla="*/ 654714 h 1025739"/>
                  <a:gd name="connsiteX32" fmla="*/ 589051 w 629213"/>
                  <a:gd name="connsiteY32" fmla="*/ 676389 h 1025739"/>
                  <a:gd name="connsiteX33" fmla="*/ 521476 w 629213"/>
                  <a:gd name="connsiteY33" fmla="*/ 669376 h 1025739"/>
                  <a:gd name="connsiteX34" fmla="*/ 467926 w 629213"/>
                  <a:gd name="connsiteY34" fmla="*/ 670014 h 1025739"/>
                  <a:gd name="connsiteX35" fmla="*/ 461551 w 629213"/>
                  <a:gd name="connsiteY35" fmla="*/ 675114 h 1025739"/>
                  <a:gd name="connsiteX36" fmla="*/ 436688 w 629213"/>
                  <a:gd name="connsiteY36" fmla="*/ 623476 h 1025739"/>
                  <a:gd name="connsiteX37" fmla="*/ 430313 w 629213"/>
                  <a:gd name="connsiteY37" fmla="*/ 618376 h 1025739"/>
                  <a:gd name="connsiteX38" fmla="*/ 394613 w 629213"/>
                  <a:gd name="connsiteY38" fmla="*/ 530401 h 1025739"/>
                  <a:gd name="connsiteX39" fmla="*/ 389513 w 629213"/>
                  <a:gd name="connsiteY39" fmla="*/ 500439 h 1025739"/>
                  <a:gd name="connsiteX40" fmla="*/ 325763 w 629213"/>
                  <a:gd name="connsiteY40" fmla="*/ 495976 h 1025739"/>
                  <a:gd name="connsiteX41" fmla="*/ 337876 w 629213"/>
                  <a:gd name="connsiteY41" fmla="*/ 460913 h 1025739"/>
                  <a:gd name="connsiteX42" fmla="*/ 347438 w 629213"/>
                  <a:gd name="connsiteY42" fmla="*/ 458363 h 1025739"/>
                  <a:gd name="connsiteX43" fmla="*/ 369751 w 629213"/>
                  <a:gd name="connsiteY43" fmla="*/ 353176 h 1025739"/>
                  <a:gd name="connsiteX44" fmla="*/ 350626 w 629213"/>
                  <a:gd name="connsiteY44" fmla="*/ 354451 h 1025739"/>
                  <a:gd name="connsiteX45" fmla="*/ 346163 w 629213"/>
                  <a:gd name="connsiteY45" fmla="*/ 341063 h 1025739"/>
                  <a:gd name="connsiteX46" fmla="*/ 298351 w 629213"/>
                  <a:gd name="connsiteY46" fmla="*/ 261376 h 1025739"/>
                  <a:gd name="connsiteX47" fmla="*/ 281776 w 629213"/>
                  <a:gd name="connsiteY47" fmla="*/ 247350 h 1025739"/>
                  <a:gd name="connsiteX48" fmla="*/ 269663 w 629213"/>
                  <a:gd name="connsiteY48" fmla="*/ 214200 h 1025739"/>
                  <a:gd name="connsiteX49" fmla="*/ 275401 w 629213"/>
                  <a:gd name="connsiteY49" fmla="*/ 209100 h 1025739"/>
                  <a:gd name="connsiteX50" fmla="*/ 265201 w 629213"/>
                  <a:gd name="connsiteY50" fmla="*/ 172763 h 1025739"/>
                  <a:gd name="connsiteX51" fmla="*/ 253088 w 629213"/>
                  <a:gd name="connsiteY51" fmla="*/ 149175 h 1025739"/>
                  <a:gd name="connsiteX52" fmla="*/ 279863 w 629213"/>
                  <a:gd name="connsiteY52" fmla="*/ 17850 h 1025739"/>
                  <a:gd name="connsiteX53" fmla="*/ 279863 w 629213"/>
                  <a:gd name="connsiteY53" fmla="*/ 17850 h 1025739"/>
                  <a:gd name="connsiteX54" fmla="*/ 279863 w 629213"/>
                  <a:gd name="connsiteY54" fmla="*/ 17850 h 10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29213" h="1025739">
                    <a:moveTo>
                      <a:pt x="279863" y="17850"/>
                    </a:moveTo>
                    <a:lnTo>
                      <a:pt x="223125" y="6375"/>
                    </a:lnTo>
                    <a:lnTo>
                      <a:pt x="204638" y="1913"/>
                    </a:lnTo>
                    <a:lnTo>
                      <a:pt x="196351" y="0"/>
                    </a:lnTo>
                    <a:lnTo>
                      <a:pt x="121763" y="335326"/>
                    </a:lnTo>
                    <a:lnTo>
                      <a:pt x="124950" y="363376"/>
                    </a:lnTo>
                    <a:lnTo>
                      <a:pt x="122400" y="392701"/>
                    </a:lnTo>
                    <a:lnTo>
                      <a:pt x="123675" y="399076"/>
                    </a:lnTo>
                    <a:lnTo>
                      <a:pt x="123675" y="399713"/>
                    </a:lnTo>
                    <a:lnTo>
                      <a:pt x="124313" y="411826"/>
                    </a:lnTo>
                    <a:lnTo>
                      <a:pt x="145988" y="435413"/>
                    </a:lnTo>
                    <a:lnTo>
                      <a:pt x="114113" y="514464"/>
                    </a:lnTo>
                    <a:lnTo>
                      <a:pt x="47813" y="601164"/>
                    </a:lnTo>
                    <a:lnTo>
                      <a:pt x="45900" y="617101"/>
                    </a:lnTo>
                    <a:lnTo>
                      <a:pt x="63113" y="657901"/>
                    </a:lnTo>
                    <a:lnTo>
                      <a:pt x="2550" y="910989"/>
                    </a:lnTo>
                    <a:lnTo>
                      <a:pt x="0" y="924377"/>
                    </a:lnTo>
                    <a:lnTo>
                      <a:pt x="17850" y="928202"/>
                    </a:lnTo>
                    <a:lnTo>
                      <a:pt x="199538" y="963902"/>
                    </a:lnTo>
                    <a:lnTo>
                      <a:pt x="272213" y="977289"/>
                    </a:lnTo>
                    <a:lnTo>
                      <a:pt x="290701" y="980477"/>
                    </a:lnTo>
                    <a:lnTo>
                      <a:pt x="308551" y="983664"/>
                    </a:lnTo>
                    <a:lnTo>
                      <a:pt x="400988" y="998327"/>
                    </a:lnTo>
                    <a:lnTo>
                      <a:pt x="566739" y="1023190"/>
                    </a:lnTo>
                    <a:lnTo>
                      <a:pt x="585226" y="1025740"/>
                    </a:lnTo>
                    <a:lnTo>
                      <a:pt x="587776" y="1004702"/>
                    </a:lnTo>
                    <a:lnTo>
                      <a:pt x="593514" y="963264"/>
                    </a:lnTo>
                    <a:lnTo>
                      <a:pt x="615189" y="796239"/>
                    </a:lnTo>
                    <a:lnTo>
                      <a:pt x="626664" y="713364"/>
                    </a:lnTo>
                    <a:lnTo>
                      <a:pt x="629214" y="692326"/>
                    </a:lnTo>
                    <a:lnTo>
                      <a:pt x="625389" y="690414"/>
                    </a:lnTo>
                    <a:lnTo>
                      <a:pt x="605626" y="654714"/>
                    </a:lnTo>
                    <a:lnTo>
                      <a:pt x="589051" y="676389"/>
                    </a:lnTo>
                    <a:lnTo>
                      <a:pt x="521476" y="669376"/>
                    </a:lnTo>
                    <a:lnTo>
                      <a:pt x="467926" y="670014"/>
                    </a:lnTo>
                    <a:lnTo>
                      <a:pt x="461551" y="675114"/>
                    </a:lnTo>
                    <a:lnTo>
                      <a:pt x="436688" y="623476"/>
                    </a:lnTo>
                    <a:lnTo>
                      <a:pt x="430313" y="618376"/>
                    </a:lnTo>
                    <a:lnTo>
                      <a:pt x="394613" y="530401"/>
                    </a:lnTo>
                    <a:lnTo>
                      <a:pt x="389513" y="500439"/>
                    </a:lnTo>
                    <a:lnTo>
                      <a:pt x="325763" y="495976"/>
                    </a:lnTo>
                    <a:lnTo>
                      <a:pt x="337876" y="460913"/>
                    </a:lnTo>
                    <a:lnTo>
                      <a:pt x="347438" y="458363"/>
                    </a:lnTo>
                    <a:lnTo>
                      <a:pt x="369751" y="353176"/>
                    </a:lnTo>
                    <a:lnTo>
                      <a:pt x="350626" y="354451"/>
                    </a:lnTo>
                    <a:lnTo>
                      <a:pt x="346163" y="341063"/>
                    </a:lnTo>
                    <a:lnTo>
                      <a:pt x="298351" y="261376"/>
                    </a:lnTo>
                    <a:lnTo>
                      <a:pt x="281776" y="247350"/>
                    </a:lnTo>
                    <a:lnTo>
                      <a:pt x="269663" y="214200"/>
                    </a:lnTo>
                    <a:lnTo>
                      <a:pt x="275401" y="209100"/>
                    </a:lnTo>
                    <a:lnTo>
                      <a:pt x="265201" y="172763"/>
                    </a:lnTo>
                    <a:lnTo>
                      <a:pt x="253088" y="149175"/>
                    </a:lnTo>
                    <a:lnTo>
                      <a:pt x="279863" y="17850"/>
                    </a:lnTo>
                    <a:lnTo>
                      <a:pt x="279863" y="17850"/>
                    </a:lnTo>
                    <a:lnTo>
                      <a:pt x="279863" y="178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1" name="Freeform 24">
                <a:extLst>
                  <a:ext uri="{FF2B5EF4-FFF2-40B4-BE49-F238E27FC236}">
                    <a16:creationId xmlns:a16="http://schemas.microsoft.com/office/drawing/2014/main" id="{B9757815-BE65-15B7-6C74-8721F7404346}"/>
                  </a:ext>
                </a:extLst>
              </p:cNvPr>
              <p:cNvSpPr/>
              <p:nvPr/>
            </p:nvSpPr>
            <p:spPr>
              <a:xfrm>
                <a:off x="2166422" y="1069709"/>
                <a:ext cx="703801" cy="521475"/>
              </a:xfrm>
              <a:custGeom>
                <a:avLst/>
                <a:gdLst>
                  <a:gd name="connsiteX0" fmla="*/ 12750 w 703801"/>
                  <a:gd name="connsiteY0" fmla="*/ 301538 h 521475"/>
                  <a:gd name="connsiteX1" fmla="*/ 13388 w 703801"/>
                  <a:gd name="connsiteY1" fmla="*/ 290063 h 521475"/>
                  <a:gd name="connsiteX2" fmla="*/ 12113 w 703801"/>
                  <a:gd name="connsiteY2" fmla="*/ 290701 h 521475"/>
                  <a:gd name="connsiteX3" fmla="*/ 12750 w 703801"/>
                  <a:gd name="connsiteY3" fmla="*/ 301538 h 521475"/>
                  <a:gd name="connsiteX4" fmla="*/ 12750 w 703801"/>
                  <a:gd name="connsiteY4" fmla="*/ 301538 h 521475"/>
                  <a:gd name="connsiteX5" fmla="*/ 149175 w 703801"/>
                  <a:gd name="connsiteY5" fmla="*/ 242888 h 521475"/>
                  <a:gd name="connsiteX6" fmla="*/ 153000 w 703801"/>
                  <a:gd name="connsiteY6" fmla="*/ 236513 h 521475"/>
                  <a:gd name="connsiteX7" fmla="*/ 148538 w 703801"/>
                  <a:gd name="connsiteY7" fmla="*/ 235875 h 521475"/>
                  <a:gd name="connsiteX8" fmla="*/ 149175 w 703801"/>
                  <a:gd name="connsiteY8" fmla="*/ 242888 h 521475"/>
                  <a:gd name="connsiteX9" fmla="*/ 149175 w 703801"/>
                  <a:gd name="connsiteY9" fmla="*/ 242888 h 521475"/>
                  <a:gd name="connsiteX10" fmla="*/ 137700 w 703801"/>
                  <a:gd name="connsiteY10" fmla="*/ 231413 h 521475"/>
                  <a:gd name="connsiteX11" fmla="*/ 141525 w 703801"/>
                  <a:gd name="connsiteY11" fmla="*/ 218663 h 521475"/>
                  <a:gd name="connsiteX12" fmla="*/ 137700 w 703801"/>
                  <a:gd name="connsiteY12" fmla="*/ 217388 h 521475"/>
                  <a:gd name="connsiteX13" fmla="*/ 137700 w 703801"/>
                  <a:gd name="connsiteY13" fmla="*/ 231413 h 521475"/>
                  <a:gd name="connsiteX14" fmla="*/ 183600 w 703801"/>
                  <a:gd name="connsiteY14" fmla="*/ 212925 h 521475"/>
                  <a:gd name="connsiteX15" fmla="*/ 182963 w 703801"/>
                  <a:gd name="connsiteY15" fmla="*/ 200175 h 521475"/>
                  <a:gd name="connsiteX16" fmla="*/ 171488 w 703801"/>
                  <a:gd name="connsiteY16" fmla="*/ 216750 h 521475"/>
                  <a:gd name="connsiteX17" fmla="*/ 183600 w 703801"/>
                  <a:gd name="connsiteY17" fmla="*/ 212925 h 521475"/>
                  <a:gd name="connsiteX18" fmla="*/ 183600 w 703801"/>
                  <a:gd name="connsiteY18" fmla="*/ 212925 h 521475"/>
                  <a:gd name="connsiteX19" fmla="*/ 185513 w 703801"/>
                  <a:gd name="connsiteY19" fmla="*/ 185513 h 521475"/>
                  <a:gd name="connsiteX20" fmla="*/ 187425 w 703801"/>
                  <a:gd name="connsiteY20" fmla="*/ 172763 h 521475"/>
                  <a:gd name="connsiteX21" fmla="*/ 186150 w 703801"/>
                  <a:gd name="connsiteY21" fmla="*/ 169575 h 521475"/>
                  <a:gd name="connsiteX22" fmla="*/ 185513 w 703801"/>
                  <a:gd name="connsiteY22" fmla="*/ 185513 h 521475"/>
                  <a:gd name="connsiteX23" fmla="*/ 185513 w 703801"/>
                  <a:gd name="connsiteY23" fmla="*/ 185513 h 521475"/>
                  <a:gd name="connsiteX24" fmla="*/ 187425 w 703801"/>
                  <a:gd name="connsiteY24" fmla="*/ 123038 h 521475"/>
                  <a:gd name="connsiteX25" fmla="*/ 186788 w 703801"/>
                  <a:gd name="connsiteY25" fmla="*/ 116025 h 521475"/>
                  <a:gd name="connsiteX26" fmla="*/ 184238 w 703801"/>
                  <a:gd name="connsiteY26" fmla="*/ 115388 h 521475"/>
                  <a:gd name="connsiteX27" fmla="*/ 187425 w 703801"/>
                  <a:gd name="connsiteY27" fmla="*/ 123038 h 521475"/>
                  <a:gd name="connsiteX28" fmla="*/ 187425 w 703801"/>
                  <a:gd name="connsiteY28" fmla="*/ 123038 h 521475"/>
                  <a:gd name="connsiteX29" fmla="*/ 207825 w 703801"/>
                  <a:gd name="connsiteY29" fmla="*/ 80325 h 521475"/>
                  <a:gd name="connsiteX30" fmla="*/ 202088 w 703801"/>
                  <a:gd name="connsiteY30" fmla="*/ 79688 h 521475"/>
                  <a:gd name="connsiteX31" fmla="*/ 190613 w 703801"/>
                  <a:gd name="connsiteY31" fmla="*/ 97538 h 521475"/>
                  <a:gd name="connsiteX32" fmla="*/ 207825 w 703801"/>
                  <a:gd name="connsiteY32" fmla="*/ 80325 h 521475"/>
                  <a:gd name="connsiteX33" fmla="*/ 191888 w 703801"/>
                  <a:gd name="connsiteY33" fmla="*/ 62475 h 521475"/>
                  <a:gd name="connsiteX34" fmla="*/ 195075 w 703801"/>
                  <a:gd name="connsiteY34" fmla="*/ 59925 h 521475"/>
                  <a:gd name="connsiteX35" fmla="*/ 195713 w 703801"/>
                  <a:gd name="connsiteY35" fmla="*/ 58013 h 521475"/>
                  <a:gd name="connsiteX36" fmla="*/ 191888 w 703801"/>
                  <a:gd name="connsiteY36" fmla="*/ 62475 h 521475"/>
                  <a:gd name="connsiteX37" fmla="*/ 191888 w 703801"/>
                  <a:gd name="connsiteY37" fmla="*/ 62475 h 521475"/>
                  <a:gd name="connsiteX38" fmla="*/ 188700 w 703801"/>
                  <a:gd name="connsiteY38" fmla="*/ 64388 h 521475"/>
                  <a:gd name="connsiteX39" fmla="*/ 186788 w 703801"/>
                  <a:gd name="connsiteY39" fmla="*/ 51638 h 521475"/>
                  <a:gd name="connsiteX40" fmla="*/ 181050 w 703801"/>
                  <a:gd name="connsiteY40" fmla="*/ 63113 h 521475"/>
                  <a:gd name="connsiteX41" fmla="*/ 188700 w 703801"/>
                  <a:gd name="connsiteY41" fmla="*/ 64388 h 521475"/>
                  <a:gd name="connsiteX42" fmla="*/ 188700 w 703801"/>
                  <a:gd name="connsiteY42" fmla="*/ 64388 h 521475"/>
                  <a:gd name="connsiteX43" fmla="*/ 185513 w 703801"/>
                  <a:gd name="connsiteY43" fmla="*/ 46538 h 521475"/>
                  <a:gd name="connsiteX44" fmla="*/ 179775 w 703801"/>
                  <a:gd name="connsiteY44" fmla="*/ 43988 h 521475"/>
                  <a:gd name="connsiteX45" fmla="*/ 184238 w 703801"/>
                  <a:gd name="connsiteY45" fmla="*/ 50363 h 521475"/>
                  <a:gd name="connsiteX46" fmla="*/ 185513 w 703801"/>
                  <a:gd name="connsiteY46" fmla="*/ 46538 h 521475"/>
                  <a:gd name="connsiteX47" fmla="*/ 185513 w 703801"/>
                  <a:gd name="connsiteY47" fmla="*/ 46538 h 521475"/>
                  <a:gd name="connsiteX48" fmla="*/ 205275 w 703801"/>
                  <a:gd name="connsiteY48" fmla="*/ 58013 h 521475"/>
                  <a:gd name="connsiteX49" fmla="*/ 205275 w 703801"/>
                  <a:gd name="connsiteY49" fmla="*/ 49725 h 521475"/>
                  <a:gd name="connsiteX50" fmla="*/ 203363 w 703801"/>
                  <a:gd name="connsiteY50" fmla="*/ 52913 h 521475"/>
                  <a:gd name="connsiteX51" fmla="*/ 205275 w 703801"/>
                  <a:gd name="connsiteY51" fmla="*/ 58013 h 521475"/>
                  <a:gd name="connsiteX52" fmla="*/ 210375 w 703801"/>
                  <a:gd name="connsiteY52" fmla="*/ 49088 h 521475"/>
                  <a:gd name="connsiteX53" fmla="*/ 207825 w 703801"/>
                  <a:gd name="connsiteY53" fmla="*/ 47175 h 521475"/>
                  <a:gd name="connsiteX54" fmla="*/ 207188 w 703801"/>
                  <a:gd name="connsiteY54" fmla="*/ 47175 h 521475"/>
                  <a:gd name="connsiteX55" fmla="*/ 210375 w 703801"/>
                  <a:gd name="connsiteY55" fmla="*/ 49088 h 521475"/>
                  <a:gd name="connsiteX56" fmla="*/ 210375 w 703801"/>
                  <a:gd name="connsiteY56" fmla="*/ 49088 h 521475"/>
                  <a:gd name="connsiteX57" fmla="*/ 174038 w 703801"/>
                  <a:gd name="connsiteY57" fmla="*/ 35700 h 521475"/>
                  <a:gd name="connsiteX58" fmla="*/ 170850 w 703801"/>
                  <a:gd name="connsiteY58" fmla="*/ 33150 h 521475"/>
                  <a:gd name="connsiteX59" fmla="*/ 169575 w 703801"/>
                  <a:gd name="connsiteY59" fmla="*/ 32513 h 521475"/>
                  <a:gd name="connsiteX60" fmla="*/ 174038 w 703801"/>
                  <a:gd name="connsiteY60" fmla="*/ 35700 h 521475"/>
                  <a:gd name="connsiteX61" fmla="*/ 197625 w 703801"/>
                  <a:gd name="connsiteY61" fmla="*/ 32513 h 521475"/>
                  <a:gd name="connsiteX62" fmla="*/ 180413 w 703801"/>
                  <a:gd name="connsiteY62" fmla="*/ 36975 h 521475"/>
                  <a:gd name="connsiteX63" fmla="*/ 184875 w 703801"/>
                  <a:gd name="connsiteY63" fmla="*/ 38250 h 521475"/>
                  <a:gd name="connsiteX64" fmla="*/ 197625 w 703801"/>
                  <a:gd name="connsiteY64" fmla="*/ 32513 h 521475"/>
                  <a:gd name="connsiteX65" fmla="*/ 183600 w 703801"/>
                  <a:gd name="connsiteY65" fmla="*/ 31238 h 521475"/>
                  <a:gd name="connsiteX66" fmla="*/ 180413 w 703801"/>
                  <a:gd name="connsiteY66" fmla="*/ 27412 h 521475"/>
                  <a:gd name="connsiteX67" fmla="*/ 179775 w 703801"/>
                  <a:gd name="connsiteY67" fmla="*/ 28050 h 521475"/>
                  <a:gd name="connsiteX68" fmla="*/ 183600 w 703801"/>
                  <a:gd name="connsiteY68" fmla="*/ 31238 h 521475"/>
                  <a:gd name="connsiteX69" fmla="*/ 183600 w 703801"/>
                  <a:gd name="connsiteY69" fmla="*/ 31238 h 521475"/>
                  <a:gd name="connsiteX70" fmla="*/ 196988 w 703801"/>
                  <a:gd name="connsiteY70" fmla="*/ 23588 h 521475"/>
                  <a:gd name="connsiteX71" fmla="*/ 194438 w 703801"/>
                  <a:gd name="connsiteY71" fmla="*/ 23588 h 521475"/>
                  <a:gd name="connsiteX72" fmla="*/ 197625 w 703801"/>
                  <a:gd name="connsiteY72" fmla="*/ 24863 h 521475"/>
                  <a:gd name="connsiteX73" fmla="*/ 196988 w 703801"/>
                  <a:gd name="connsiteY73" fmla="*/ 23588 h 521475"/>
                  <a:gd name="connsiteX74" fmla="*/ 196988 w 703801"/>
                  <a:gd name="connsiteY74" fmla="*/ 23588 h 521475"/>
                  <a:gd name="connsiteX75" fmla="*/ 71400 w 703801"/>
                  <a:gd name="connsiteY75" fmla="*/ 353176 h 521475"/>
                  <a:gd name="connsiteX76" fmla="*/ 94350 w 703801"/>
                  <a:gd name="connsiteY76" fmla="*/ 378038 h 521475"/>
                  <a:gd name="connsiteX77" fmla="*/ 90525 w 703801"/>
                  <a:gd name="connsiteY77" fmla="*/ 426488 h 521475"/>
                  <a:gd name="connsiteX78" fmla="*/ 94988 w 703801"/>
                  <a:gd name="connsiteY78" fmla="*/ 438601 h 521475"/>
                  <a:gd name="connsiteX79" fmla="*/ 129413 w 703801"/>
                  <a:gd name="connsiteY79" fmla="*/ 457088 h 521475"/>
                  <a:gd name="connsiteX80" fmla="*/ 227588 w 703801"/>
                  <a:gd name="connsiteY80" fmla="*/ 466651 h 521475"/>
                  <a:gd name="connsiteX81" fmla="*/ 231413 w 703801"/>
                  <a:gd name="connsiteY81" fmla="*/ 478126 h 521475"/>
                  <a:gd name="connsiteX82" fmla="*/ 277951 w 703801"/>
                  <a:gd name="connsiteY82" fmla="*/ 478764 h 521475"/>
                  <a:gd name="connsiteX83" fmla="*/ 321938 w 703801"/>
                  <a:gd name="connsiteY83" fmla="*/ 484501 h 521475"/>
                  <a:gd name="connsiteX84" fmla="*/ 393338 w 703801"/>
                  <a:gd name="connsiteY84" fmla="*/ 476851 h 521475"/>
                  <a:gd name="connsiteX85" fmla="*/ 428401 w 703801"/>
                  <a:gd name="connsiteY85" fmla="*/ 482588 h 521475"/>
                  <a:gd name="connsiteX86" fmla="*/ 438601 w 703801"/>
                  <a:gd name="connsiteY86" fmla="*/ 478126 h 521475"/>
                  <a:gd name="connsiteX87" fmla="*/ 619014 w 703801"/>
                  <a:gd name="connsiteY87" fmla="*/ 518926 h 521475"/>
                  <a:gd name="connsiteX88" fmla="*/ 631126 w 703801"/>
                  <a:gd name="connsiteY88" fmla="*/ 521476 h 521475"/>
                  <a:gd name="connsiteX89" fmla="*/ 629851 w 703801"/>
                  <a:gd name="connsiteY89" fmla="*/ 515101 h 521475"/>
                  <a:gd name="connsiteX90" fmla="*/ 632401 w 703801"/>
                  <a:gd name="connsiteY90" fmla="*/ 485776 h 521475"/>
                  <a:gd name="connsiteX91" fmla="*/ 629214 w 703801"/>
                  <a:gd name="connsiteY91" fmla="*/ 457726 h 521475"/>
                  <a:gd name="connsiteX92" fmla="*/ 703801 w 703801"/>
                  <a:gd name="connsiteY92" fmla="*/ 122400 h 521475"/>
                  <a:gd name="connsiteX93" fmla="*/ 692964 w 703801"/>
                  <a:gd name="connsiteY93" fmla="*/ 120488 h 521475"/>
                  <a:gd name="connsiteX94" fmla="*/ 542514 w 703801"/>
                  <a:gd name="connsiteY94" fmla="*/ 85425 h 521475"/>
                  <a:gd name="connsiteX95" fmla="*/ 411188 w 703801"/>
                  <a:gd name="connsiteY95" fmla="*/ 52275 h 521475"/>
                  <a:gd name="connsiteX96" fmla="*/ 262651 w 703801"/>
                  <a:gd name="connsiteY96" fmla="*/ 11475 h 521475"/>
                  <a:gd name="connsiteX97" fmla="*/ 218026 w 703801"/>
                  <a:gd name="connsiteY97" fmla="*/ 0 h 521475"/>
                  <a:gd name="connsiteX98" fmla="*/ 228863 w 703801"/>
                  <a:gd name="connsiteY98" fmla="*/ 55463 h 521475"/>
                  <a:gd name="connsiteX99" fmla="*/ 218663 w 703801"/>
                  <a:gd name="connsiteY99" fmla="*/ 73313 h 521475"/>
                  <a:gd name="connsiteX100" fmla="*/ 201450 w 703801"/>
                  <a:gd name="connsiteY100" fmla="*/ 63750 h 521475"/>
                  <a:gd name="connsiteX101" fmla="*/ 218026 w 703801"/>
                  <a:gd name="connsiteY101" fmla="*/ 140888 h 521475"/>
                  <a:gd name="connsiteX102" fmla="*/ 200175 w 703801"/>
                  <a:gd name="connsiteY102" fmla="*/ 166388 h 521475"/>
                  <a:gd name="connsiteX103" fmla="*/ 191888 w 703801"/>
                  <a:gd name="connsiteY103" fmla="*/ 189975 h 521475"/>
                  <a:gd name="connsiteX104" fmla="*/ 191888 w 703801"/>
                  <a:gd name="connsiteY104" fmla="*/ 214200 h 521475"/>
                  <a:gd name="connsiteX105" fmla="*/ 154275 w 703801"/>
                  <a:gd name="connsiteY105" fmla="*/ 240975 h 521475"/>
                  <a:gd name="connsiteX106" fmla="*/ 138338 w 703801"/>
                  <a:gd name="connsiteY106" fmla="*/ 230138 h 521475"/>
                  <a:gd name="connsiteX107" fmla="*/ 123038 w 703801"/>
                  <a:gd name="connsiteY107" fmla="*/ 237788 h 521475"/>
                  <a:gd name="connsiteX108" fmla="*/ 151725 w 703801"/>
                  <a:gd name="connsiteY108" fmla="*/ 201450 h 521475"/>
                  <a:gd name="connsiteX109" fmla="*/ 144713 w 703801"/>
                  <a:gd name="connsiteY109" fmla="*/ 226313 h 521475"/>
                  <a:gd name="connsiteX110" fmla="*/ 160650 w 703801"/>
                  <a:gd name="connsiteY110" fmla="*/ 209100 h 521475"/>
                  <a:gd name="connsiteX111" fmla="*/ 173400 w 703801"/>
                  <a:gd name="connsiteY111" fmla="*/ 211650 h 521475"/>
                  <a:gd name="connsiteX112" fmla="*/ 169575 w 703801"/>
                  <a:gd name="connsiteY112" fmla="*/ 181050 h 521475"/>
                  <a:gd name="connsiteX113" fmla="*/ 177863 w 703801"/>
                  <a:gd name="connsiteY113" fmla="*/ 182325 h 521475"/>
                  <a:gd name="connsiteX114" fmla="*/ 195075 w 703801"/>
                  <a:gd name="connsiteY114" fmla="*/ 144075 h 521475"/>
                  <a:gd name="connsiteX115" fmla="*/ 189338 w 703801"/>
                  <a:gd name="connsiteY115" fmla="*/ 138338 h 521475"/>
                  <a:gd name="connsiteX116" fmla="*/ 167025 w 703801"/>
                  <a:gd name="connsiteY116" fmla="*/ 167663 h 521475"/>
                  <a:gd name="connsiteX117" fmla="*/ 152363 w 703801"/>
                  <a:gd name="connsiteY117" fmla="*/ 168300 h 521475"/>
                  <a:gd name="connsiteX118" fmla="*/ 168300 w 703801"/>
                  <a:gd name="connsiteY118" fmla="*/ 150450 h 521475"/>
                  <a:gd name="connsiteX119" fmla="*/ 186150 w 703801"/>
                  <a:gd name="connsiteY119" fmla="*/ 145988 h 521475"/>
                  <a:gd name="connsiteX120" fmla="*/ 179775 w 703801"/>
                  <a:gd name="connsiteY120" fmla="*/ 112838 h 521475"/>
                  <a:gd name="connsiteX121" fmla="*/ 161925 w 703801"/>
                  <a:gd name="connsiteY121" fmla="*/ 108375 h 521475"/>
                  <a:gd name="connsiteX122" fmla="*/ 152363 w 703801"/>
                  <a:gd name="connsiteY122" fmla="*/ 93075 h 521475"/>
                  <a:gd name="connsiteX123" fmla="*/ 140888 w 703801"/>
                  <a:gd name="connsiteY123" fmla="*/ 98813 h 521475"/>
                  <a:gd name="connsiteX124" fmla="*/ 82238 w 703801"/>
                  <a:gd name="connsiteY124" fmla="*/ 73313 h 521475"/>
                  <a:gd name="connsiteX125" fmla="*/ 29963 w 703801"/>
                  <a:gd name="connsiteY125" fmla="*/ 33150 h 521475"/>
                  <a:gd name="connsiteX126" fmla="*/ 15938 w 703801"/>
                  <a:gd name="connsiteY126" fmla="*/ 72038 h 521475"/>
                  <a:gd name="connsiteX127" fmla="*/ 14663 w 703801"/>
                  <a:gd name="connsiteY127" fmla="*/ 88613 h 521475"/>
                  <a:gd name="connsiteX128" fmla="*/ 26138 w 703801"/>
                  <a:gd name="connsiteY128" fmla="*/ 118575 h 521475"/>
                  <a:gd name="connsiteX129" fmla="*/ 19125 w 703801"/>
                  <a:gd name="connsiteY129" fmla="*/ 215475 h 521475"/>
                  <a:gd name="connsiteX130" fmla="*/ 14025 w 703801"/>
                  <a:gd name="connsiteY130" fmla="*/ 230138 h 521475"/>
                  <a:gd name="connsiteX131" fmla="*/ 43350 w 703801"/>
                  <a:gd name="connsiteY131" fmla="*/ 232688 h 521475"/>
                  <a:gd name="connsiteX132" fmla="*/ 14025 w 703801"/>
                  <a:gd name="connsiteY132" fmla="*/ 253088 h 521475"/>
                  <a:gd name="connsiteX133" fmla="*/ 29325 w 703801"/>
                  <a:gd name="connsiteY133" fmla="*/ 260738 h 521475"/>
                  <a:gd name="connsiteX134" fmla="*/ 17213 w 703801"/>
                  <a:gd name="connsiteY134" fmla="*/ 301538 h 521475"/>
                  <a:gd name="connsiteX135" fmla="*/ 11475 w 703801"/>
                  <a:gd name="connsiteY135" fmla="*/ 269025 h 521475"/>
                  <a:gd name="connsiteX136" fmla="*/ 0 w 703801"/>
                  <a:gd name="connsiteY136" fmla="*/ 306001 h 521475"/>
                  <a:gd name="connsiteX137" fmla="*/ 14663 w 703801"/>
                  <a:gd name="connsiteY137" fmla="*/ 323851 h 521475"/>
                  <a:gd name="connsiteX138" fmla="*/ 30600 w 703801"/>
                  <a:gd name="connsiteY138" fmla="*/ 322576 h 521475"/>
                  <a:gd name="connsiteX139" fmla="*/ 49725 w 703801"/>
                  <a:gd name="connsiteY139" fmla="*/ 334051 h 521475"/>
                  <a:gd name="connsiteX140" fmla="*/ 59925 w 703801"/>
                  <a:gd name="connsiteY140" fmla="*/ 352538 h 521475"/>
                  <a:gd name="connsiteX141" fmla="*/ 71400 w 703801"/>
                  <a:gd name="connsiteY141" fmla="*/ 353176 h 521475"/>
                  <a:gd name="connsiteX142" fmla="*/ 71400 w 703801"/>
                  <a:gd name="connsiteY142" fmla="*/ 353176 h 521475"/>
                  <a:gd name="connsiteX143" fmla="*/ 71400 w 703801"/>
                  <a:gd name="connsiteY143" fmla="*/ 353176 h 52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703801" h="521475">
                    <a:moveTo>
                      <a:pt x="12750" y="301538"/>
                    </a:moveTo>
                    <a:lnTo>
                      <a:pt x="13388" y="290063"/>
                    </a:lnTo>
                    <a:lnTo>
                      <a:pt x="12113" y="290701"/>
                    </a:lnTo>
                    <a:lnTo>
                      <a:pt x="12750" y="301538"/>
                    </a:lnTo>
                    <a:lnTo>
                      <a:pt x="12750" y="301538"/>
                    </a:lnTo>
                    <a:close/>
                    <a:moveTo>
                      <a:pt x="149175" y="242888"/>
                    </a:moveTo>
                    <a:lnTo>
                      <a:pt x="153000" y="236513"/>
                    </a:lnTo>
                    <a:lnTo>
                      <a:pt x="148538" y="235875"/>
                    </a:lnTo>
                    <a:lnTo>
                      <a:pt x="149175" y="242888"/>
                    </a:lnTo>
                    <a:lnTo>
                      <a:pt x="149175" y="242888"/>
                    </a:lnTo>
                    <a:close/>
                    <a:moveTo>
                      <a:pt x="137700" y="231413"/>
                    </a:moveTo>
                    <a:lnTo>
                      <a:pt x="141525" y="218663"/>
                    </a:lnTo>
                    <a:lnTo>
                      <a:pt x="137700" y="217388"/>
                    </a:lnTo>
                    <a:lnTo>
                      <a:pt x="137700" y="231413"/>
                    </a:lnTo>
                    <a:close/>
                    <a:moveTo>
                      <a:pt x="183600" y="212925"/>
                    </a:moveTo>
                    <a:lnTo>
                      <a:pt x="182963" y="200175"/>
                    </a:lnTo>
                    <a:lnTo>
                      <a:pt x="171488" y="216750"/>
                    </a:lnTo>
                    <a:lnTo>
                      <a:pt x="183600" y="212925"/>
                    </a:lnTo>
                    <a:lnTo>
                      <a:pt x="183600" y="212925"/>
                    </a:lnTo>
                    <a:close/>
                    <a:moveTo>
                      <a:pt x="185513" y="185513"/>
                    </a:moveTo>
                    <a:lnTo>
                      <a:pt x="187425" y="172763"/>
                    </a:lnTo>
                    <a:lnTo>
                      <a:pt x="186150" y="169575"/>
                    </a:lnTo>
                    <a:lnTo>
                      <a:pt x="185513" y="185513"/>
                    </a:lnTo>
                    <a:lnTo>
                      <a:pt x="185513" y="185513"/>
                    </a:lnTo>
                    <a:close/>
                    <a:moveTo>
                      <a:pt x="187425" y="123038"/>
                    </a:moveTo>
                    <a:lnTo>
                      <a:pt x="186788" y="116025"/>
                    </a:lnTo>
                    <a:lnTo>
                      <a:pt x="184238" y="115388"/>
                    </a:lnTo>
                    <a:lnTo>
                      <a:pt x="187425" y="123038"/>
                    </a:lnTo>
                    <a:lnTo>
                      <a:pt x="187425" y="123038"/>
                    </a:lnTo>
                    <a:close/>
                    <a:moveTo>
                      <a:pt x="207825" y="80325"/>
                    </a:moveTo>
                    <a:lnTo>
                      <a:pt x="202088" y="79688"/>
                    </a:lnTo>
                    <a:lnTo>
                      <a:pt x="190613" y="97538"/>
                    </a:lnTo>
                    <a:lnTo>
                      <a:pt x="207825" y="80325"/>
                    </a:lnTo>
                    <a:close/>
                    <a:moveTo>
                      <a:pt x="191888" y="62475"/>
                    </a:moveTo>
                    <a:lnTo>
                      <a:pt x="195075" y="59925"/>
                    </a:lnTo>
                    <a:lnTo>
                      <a:pt x="195713" y="58013"/>
                    </a:lnTo>
                    <a:lnTo>
                      <a:pt x="191888" y="62475"/>
                    </a:lnTo>
                    <a:lnTo>
                      <a:pt x="191888" y="62475"/>
                    </a:lnTo>
                    <a:close/>
                    <a:moveTo>
                      <a:pt x="188700" y="64388"/>
                    </a:moveTo>
                    <a:lnTo>
                      <a:pt x="186788" y="51638"/>
                    </a:lnTo>
                    <a:lnTo>
                      <a:pt x="181050" y="63113"/>
                    </a:lnTo>
                    <a:lnTo>
                      <a:pt x="188700" y="64388"/>
                    </a:lnTo>
                    <a:lnTo>
                      <a:pt x="188700" y="64388"/>
                    </a:lnTo>
                    <a:close/>
                    <a:moveTo>
                      <a:pt x="185513" y="46538"/>
                    </a:moveTo>
                    <a:lnTo>
                      <a:pt x="179775" y="43988"/>
                    </a:lnTo>
                    <a:lnTo>
                      <a:pt x="184238" y="50363"/>
                    </a:lnTo>
                    <a:lnTo>
                      <a:pt x="185513" y="46538"/>
                    </a:lnTo>
                    <a:lnTo>
                      <a:pt x="185513" y="46538"/>
                    </a:lnTo>
                    <a:close/>
                    <a:moveTo>
                      <a:pt x="205275" y="58013"/>
                    </a:moveTo>
                    <a:lnTo>
                      <a:pt x="205275" y="49725"/>
                    </a:lnTo>
                    <a:lnTo>
                      <a:pt x="203363" y="52913"/>
                    </a:lnTo>
                    <a:lnTo>
                      <a:pt x="205275" y="58013"/>
                    </a:lnTo>
                    <a:close/>
                    <a:moveTo>
                      <a:pt x="210375" y="49088"/>
                    </a:moveTo>
                    <a:lnTo>
                      <a:pt x="207825" y="47175"/>
                    </a:lnTo>
                    <a:lnTo>
                      <a:pt x="207188" y="47175"/>
                    </a:lnTo>
                    <a:lnTo>
                      <a:pt x="210375" y="49088"/>
                    </a:lnTo>
                    <a:lnTo>
                      <a:pt x="210375" y="49088"/>
                    </a:lnTo>
                    <a:close/>
                    <a:moveTo>
                      <a:pt x="174038" y="35700"/>
                    </a:moveTo>
                    <a:lnTo>
                      <a:pt x="170850" y="33150"/>
                    </a:lnTo>
                    <a:lnTo>
                      <a:pt x="169575" y="32513"/>
                    </a:lnTo>
                    <a:lnTo>
                      <a:pt x="174038" y="35700"/>
                    </a:lnTo>
                    <a:close/>
                    <a:moveTo>
                      <a:pt x="197625" y="32513"/>
                    </a:moveTo>
                    <a:lnTo>
                      <a:pt x="180413" y="36975"/>
                    </a:lnTo>
                    <a:lnTo>
                      <a:pt x="184875" y="38250"/>
                    </a:lnTo>
                    <a:lnTo>
                      <a:pt x="197625" y="32513"/>
                    </a:lnTo>
                    <a:close/>
                    <a:moveTo>
                      <a:pt x="183600" y="31238"/>
                    </a:moveTo>
                    <a:lnTo>
                      <a:pt x="180413" y="27412"/>
                    </a:lnTo>
                    <a:lnTo>
                      <a:pt x="179775" y="28050"/>
                    </a:lnTo>
                    <a:lnTo>
                      <a:pt x="183600" y="31238"/>
                    </a:lnTo>
                    <a:lnTo>
                      <a:pt x="183600" y="31238"/>
                    </a:lnTo>
                    <a:close/>
                    <a:moveTo>
                      <a:pt x="196988" y="23588"/>
                    </a:moveTo>
                    <a:lnTo>
                      <a:pt x="194438" y="23588"/>
                    </a:lnTo>
                    <a:lnTo>
                      <a:pt x="197625" y="24863"/>
                    </a:lnTo>
                    <a:lnTo>
                      <a:pt x="196988" y="23588"/>
                    </a:lnTo>
                    <a:lnTo>
                      <a:pt x="196988" y="23588"/>
                    </a:lnTo>
                    <a:close/>
                    <a:moveTo>
                      <a:pt x="71400" y="353176"/>
                    </a:moveTo>
                    <a:lnTo>
                      <a:pt x="94350" y="378038"/>
                    </a:lnTo>
                    <a:lnTo>
                      <a:pt x="90525" y="426488"/>
                    </a:lnTo>
                    <a:lnTo>
                      <a:pt x="94988" y="438601"/>
                    </a:lnTo>
                    <a:lnTo>
                      <a:pt x="129413" y="457088"/>
                    </a:lnTo>
                    <a:lnTo>
                      <a:pt x="227588" y="466651"/>
                    </a:lnTo>
                    <a:lnTo>
                      <a:pt x="231413" y="478126"/>
                    </a:lnTo>
                    <a:lnTo>
                      <a:pt x="277951" y="478764"/>
                    </a:lnTo>
                    <a:lnTo>
                      <a:pt x="321938" y="484501"/>
                    </a:lnTo>
                    <a:lnTo>
                      <a:pt x="393338" y="476851"/>
                    </a:lnTo>
                    <a:lnTo>
                      <a:pt x="428401" y="482588"/>
                    </a:lnTo>
                    <a:lnTo>
                      <a:pt x="438601" y="478126"/>
                    </a:lnTo>
                    <a:lnTo>
                      <a:pt x="619014" y="518926"/>
                    </a:lnTo>
                    <a:lnTo>
                      <a:pt x="631126" y="521476"/>
                    </a:lnTo>
                    <a:lnTo>
                      <a:pt x="629851" y="515101"/>
                    </a:lnTo>
                    <a:lnTo>
                      <a:pt x="632401" y="485776"/>
                    </a:lnTo>
                    <a:lnTo>
                      <a:pt x="629214" y="457726"/>
                    </a:lnTo>
                    <a:lnTo>
                      <a:pt x="703801" y="122400"/>
                    </a:lnTo>
                    <a:lnTo>
                      <a:pt x="692964" y="120488"/>
                    </a:lnTo>
                    <a:lnTo>
                      <a:pt x="542514" y="85425"/>
                    </a:lnTo>
                    <a:lnTo>
                      <a:pt x="411188" y="52275"/>
                    </a:lnTo>
                    <a:lnTo>
                      <a:pt x="262651" y="11475"/>
                    </a:lnTo>
                    <a:lnTo>
                      <a:pt x="218026" y="0"/>
                    </a:lnTo>
                    <a:lnTo>
                      <a:pt x="228863" y="55463"/>
                    </a:lnTo>
                    <a:lnTo>
                      <a:pt x="218663" y="73313"/>
                    </a:lnTo>
                    <a:lnTo>
                      <a:pt x="201450" y="63750"/>
                    </a:lnTo>
                    <a:lnTo>
                      <a:pt x="218026" y="140888"/>
                    </a:lnTo>
                    <a:lnTo>
                      <a:pt x="200175" y="166388"/>
                    </a:lnTo>
                    <a:lnTo>
                      <a:pt x="191888" y="189975"/>
                    </a:lnTo>
                    <a:lnTo>
                      <a:pt x="191888" y="214200"/>
                    </a:lnTo>
                    <a:lnTo>
                      <a:pt x="154275" y="240975"/>
                    </a:lnTo>
                    <a:lnTo>
                      <a:pt x="138338" y="230138"/>
                    </a:lnTo>
                    <a:lnTo>
                      <a:pt x="123038" y="237788"/>
                    </a:lnTo>
                    <a:lnTo>
                      <a:pt x="151725" y="201450"/>
                    </a:lnTo>
                    <a:lnTo>
                      <a:pt x="144713" y="226313"/>
                    </a:lnTo>
                    <a:lnTo>
                      <a:pt x="160650" y="209100"/>
                    </a:lnTo>
                    <a:lnTo>
                      <a:pt x="173400" y="211650"/>
                    </a:lnTo>
                    <a:lnTo>
                      <a:pt x="169575" y="181050"/>
                    </a:lnTo>
                    <a:lnTo>
                      <a:pt x="177863" y="182325"/>
                    </a:lnTo>
                    <a:lnTo>
                      <a:pt x="195075" y="144075"/>
                    </a:lnTo>
                    <a:lnTo>
                      <a:pt x="189338" y="138338"/>
                    </a:lnTo>
                    <a:lnTo>
                      <a:pt x="167025" y="167663"/>
                    </a:lnTo>
                    <a:lnTo>
                      <a:pt x="152363" y="168300"/>
                    </a:lnTo>
                    <a:lnTo>
                      <a:pt x="168300" y="150450"/>
                    </a:lnTo>
                    <a:lnTo>
                      <a:pt x="186150" y="145988"/>
                    </a:lnTo>
                    <a:lnTo>
                      <a:pt x="179775" y="112838"/>
                    </a:lnTo>
                    <a:lnTo>
                      <a:pt x="161925" y="108375"/>
                    </a:lnTo>
                    <a:lnTo>
                      <a:pt x="152363" y="93075"/>
                    </a:lnTo>
                    <a:lnTo>
                      <a:pt x="140888" y="98813"/>
                    </a:lnTo>
                    <a:lnTo>
                      <a:pt x="82238" y="73313"/>
                    </a:lnTo>
                    <a:lnTo>
                      <a:pt x="29963" y="33150"/>
                    </a:lnTo>
                    <a:lnTo>
                      <a:pt x="15938" y="72038"/>
                    </a:lnTo>
                    <a:lnTo>
                      <a:pt x="14663" y="88613"/>
                    </a:lnTo>
                    <a:lnTo>
                      <a:pt x="26138" y="118575"/>
                    </a:lnTo>
                    <a:lnTo>
                      <a:pt x="19125" y="215475"/>
                    </a:lnTo>
                    <a:lnTo>
                      <a:pt x="14025" y="230138"/>
                    </a:lnTo>
                    <a:lnTo>
                      <a:pt x="43350" y="232688"/>
                    </a:lnTo>
                    <a:lnTo>
                      <a:pt x="14025" y="253088"/>
                    </a:lnTo>
                    <a:lnTo>
                      <a:pt x="29325" y="260738"/>
                    </a:lnTo>
                    <a:lnTo>
                      <a:pt x="17213" y="301538"/>
                    </a:lnTo>
                    <a:lnTo>
                      <a:pt x="11475" y="269025"/>
                    </a:lnTo>
                    <a:lnTo>
                      <a:pt x="0" y="306001"/>
                    </a:lnTo>
                    <a:lnTo>
                      <a:pt x="14663" y="323851"/>
                    </a:lnTo>
                    <a:lnTo>
                      <a:pt x="30600" y="322576"/>
                    </a:lnTo>
                    <a:lnTo>
                      <a:pt x="49725" y="334051"/>
                    </a:lnTo>
                    <a:lnTo>
                      <a:pt x="59925" y="352538"/>
                    </a:lnTo>
                    <a:lnTo>
                      <a:pt x="71400" y="353176"/>
                    </a:lnTo>
                    <a:lnTo>
                      <a:pt x="71400" y="353176"/>
                    </a:lnTo>
                    <a:lnTo>
                      <a:pt x="71400" y="353176"/>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2" name="Freeform 25">
                <a:extLst>
                  <a:ext uri="{FF2B5EF4-FFF2-40B4-BE49-F238E27FC236}">
                    <a16:creationId xmlns:a16="http://schemas.microsoft.com/office/drawing/2014/main" id="{34CD9D00-4640-F5A0-866B-CD5B9302CFE4}"/>
                  </a:ext>
                </a:extLst>
              </p:cNvPr>
              <p:cNvSpPr/>
              <p:nvPr/>
            </p:nvSpPr>
            <p:spPr>
              <a:xfrm>
                <a:off x="2678336" y="2838137"/>
                <a:ext cx="708901" cy="831301"/>
              </a:xfrm>
              <a:custGeom>
                <a:avLst/>
                <a:gdLst>
                  <a:gd name="connsiteX0" fmla="*/ 692326 w 708901"/>
                  <a:gd name="connsiteY0" fmla="*/ 73313 h 831301"/>
                  <a:gd name="connsiteX1" fmla="*/ 476213 w 708901"/>
                  <a:gd name="connsiteY1" fmla="*/ 45900 h 831301"/>
                  <a:gd name="connsiteX2" fmla="*/ 359551 w 708901"/>
                  <a:gd name="connsiteY2" fmla="*/ 29325 h 831301"/>
                  <a:gd name="connsiteX3" fmla="*/ 193800 w 708901"/>
                  <a:gd name="connsiteY3" fmla="*/ 2550 h 831301"/>
                  <a:gd name="connsiteX4" fmla="*/ 177225 w 708901"/>
                  <a:gd name="connsiteY4" fmla="*/ 0 h 831301"/>
                  <a:gd name="connsiteX5" fmla="*/ 177225 w 708901"/>
                  <a:gd name="connsiteY5" fmla="*/ 1275 h 831301"/>
                  <a:gd name="connsiteX6" fmla="*/ 148538 w 708901"/>
                  <a:gd name="connsiteY6" fmla="*/ 125588 h 831301"/>
                  <a:gd name="connsiteX7" fmla="*/ 133875 w 708901"/>
                  <a:gd name="connsiteY7" fmla="*/ 124950 h 831301"/>
                  <a:gd name="connsiteX8" fmla="*/ 111563 w 708901"/>
                  <a:gd name="connsiteY8" fmla="*/ 105188 h 831301"/>
                  <a:gd name="connsiteX9" fmla="*/ 82875 w 708901"/>
                  <a:gd name="connsiteY9" fmla="*/ 128775 h 831301"/>
                  <a:gd name="connsiteX10" fmla="*/ 82238 w 708901"/>
                  <a:gd name="connsiteY10" fmla="*/ 230776 h 831301"/>
                  <a:gd name="connsiteX11" fmla="*/ 71400 w 708901"/>
                  <a:gd name="connsiteY11" fmla="*/ 252450 h 831301"/>
                  <a:gd name="connsiteX12" fmla="*/ 71400 w 708901"/>
                  <a:gd name="connsiteY12" fmla="*/ 254363 h 831301"/>
                  <a:gd name="connsiteX13" fmla="*/ 71400 w 708901"/>
                  <a:gd name="connsiteY13" fmla="*/ 255001 h 831301"/>
                  <a:gd name="connsiteX14" fmla="*/ 70125 w 708901"/>
                  <a:gd name="connsiteY14" fmla="*/ 270938 h 831301"/>
                  <a:gd name="connsiteX15" fmla="*/ 92438 w 708901"/>
                  <a:gd name="connsiteY15" fmla="*/ 330863 h 831301"/>
                  <a:gd name="connsiteX16" fmla="*/ 112200 w 708901"/>
                  <a:gd name="connsiteY16" fmla="*/ 358276 h 831301"/>
                  <a:gd name="connsiteX17" fmla="*/ 76500 w 708901"/>
                  <a:gd name="connsiteY17" fmla="*/ 379313 h 831301"/>
                  <a:gd name="connsiteX18" fmla="*/ 62475 w 708901"/>
                  <a:gd name="connsiteY18" fmla="*/ 406088 h 831301"/>
                  <a:gd name="connsiteX19" fmla="*/ 39525 w 708901"/>
                  <a:gd name="connsiteY19" fmla="*/ 462188 h 831301"/>
                  <a:gd name="connsiteX20" fmla="*/ 28050 w 708901"/>
                  <a:gd name="connsiteY20" fmla="*/ 464739 h 831301"/>
                  <a:gd name="connsiteX21" fmla="*/ 27412 w 708901"/>
                  <a:gd name="connsiteY21" fmla="*/ 511913 h 831301"/>
                  <a:gd name="connsiteX22" fmla="*/ 47175 w 708901"/>
                  <a:gd name="connsiteY22" fmla="*/ 526576 h 831301"/>
                  <a:gd name="connsiteX23" fmla="*/ 36337 w 708901"/>
                  <a:gd name="connsiteY23" fmla="*/ 555263 h 831301"/>
                  <a:gd name="connsiteX24" fmla="*/ 13387 w 708901"/>
                  <a:gd name="connsiteY24" fmla="*/ 556539 h 831301"/>
                  <a:gd name="connsiteX25" fmla="*/ 13387 w 708901"/>
                  <a:gd name="connsiteY25" fmla="*/ 556539 h 831301"/>
                  <a:gd name="connsiteX26" fmla="*/ 0 w 708901"/>
                  <a:gd name="connsiteY26" fmla="*/ 581401 h 831301"/>
                  <a:gd name="connsiteX27" fmla="*/ 46538 w 708901"/>
                  <a:gd name="connsiteY27" fmla="*/ 610726 h 831301"/>
                  <a:gd name="connsiteX28" fmla="*/ 133875 w 708901"/>
                  <a:gd name="connsiteY28" fmla="*/ 659814 h 831301"/>
                  <a:gd name="connsiteX29" fmla="*/ 404176 w 708901"/>
                  <a:gd name="connsiteY29" fmla="*/ 802614 h 831301"/>
                  <a:gd name="connsiteX30" fmla="*/ 633039 w 708901"/>
                  <a:gd name="connsiteY30" fmla="*/ 831302 h 831301"/>
                  <a:gd name="connsiteX31" fmla="*/ 635589 w 708901"/>
                  <a:gd name="connsiteY31" fmla="*/ 831302 h 831301"/>
                  <a:gd name="connsiteX32" fmla="*/ 653439 w 708901"/>
                  <a:gd name="connsiteY32" fmla="*/ 641964 h 831301"/>
                  <a:gd name="connsiteX33" fmla="*/ 657901 w 708901"/>
                  <a:gd name="connsiteY33" fmla="*/ 594789 h 831301"/>
                  <a:gd name="connsiteX34" fmla="*/ 706351 w 708901"/>
                  <a:gd name="connsiteY34" fmla="*/ 97538 h 831301"/>
                  <a:gd name="connsiteX35" fmla="*/ 708901 w 708901"/>
                  <a:gd name="connsiteY35" fmla="*/ 74588 h 831301"/>
                  <a:gd name="connsiteX36" fmla="*/ 692326 w 708901"/>
                  <a:gd name="connsiteY36" fmla="*/ 73313 h 831301"/>
                  <a:gd name="connsiteX37" fmla="*/ 692326 w 708901"/>
                  <a:gd name="connsiteY37" fmla="*/ 73313 h 83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08901" h="831301">
                    <a:moveTo>
                      <a:pt x="692326" y="73313"/>
                    </a:moveTo>
                    <a:lnTo>
                      <a:pt x="476213" y="45900"/>
                    </a:lnTo>
                    <a:lnTo>
                      <a:pt x="359551" y="29325"/>
                    </a:lnTo>
                    <a:lnTo>
                      <a:pt x="193800" y="2550"/>
                    </a:lnTo>
                    <a:lnTo>
                      <a:pt x="177225" y="0"/>
                    </a:lnTo>
                    <a:lnTo>
                      <a:pt x="177225" y="1275"/>
                    </a:lnTo>
                    <a:lnTo>
                      <a:pt x="148538" y="125588"/>
                    </a:lnTo>
                    <a:lnTo>
                      <a:pt x="133875" y="124950"/>
                    </a:lnTo>
                    <a:lnTo>
                      <a:pt x="111563" y="105188"/>
                    </a:lnTo>
                    <a:lnTo>
                      <a:pt x="82875" y="128775"/>
                    </a:lnTo>
                    <a:lnTo>
                      <a:pt x="82238" y="230776"/>
                    </a:lnTo>
                    <a:lnTo>
                      <a:pt x="71400" y="252450"/>
                    </a:lnTo>
                    <a:lnTo>
                      <a:pt x="71400" y="254363"/>
                    </a:lnTo>
                    <a:lnTo>
                      <a:pt x="71400" y="255001"/>
                    </a:lnTo>
                    <a:lnTo>
                      <a:pt x="70125" y="270938"/>
                    </a:lnTo>
                    <a:lnTo>
                      <a:pt x="92438" y="330863"/>
                    </a:lnTo>
                    <a:lnTo>
                      <a:pt x="112200" y="358276"/>
                    </a:lnTo>
                    <a:lnTo>
                      <a:pt x="76500" y="379313"/>
                    </a:lnTo>
                    <a:lnTo>
                      <a:pt x="62475" y="406088"/>
                    </a:lnTo>
                    <a:lnTo>
                      <a:pt x="39525" y="462188"/>
                    </a:lnTo>
                    <a:lnTo>
                      <a:pt x="28050" y="464739"/>
                    </a:lnTo>
                    <a:lnTo>
                      <a:pt x="27412" y="511913"/>
                    </a:lnTo>
                    <a:lnTo>
                      <a:pt x="47175" y="526576"/>
                    </a:lnTo>
                    <a:lnTo>
                      <a:pt x="36337" y="555263"/>
                    </a:lnTo>
                    <a:lnTo>
                      <a:pt x="13387" y="556539"/>
                    </a:lnTo>
                    <a:lnTo>
                      <a:pt x="13387" y="556539"/>
                    </a:lnTo>
                    <a:lnTo>
                      <a:pt x="0" y="581401"/>
                    </a:lnTo>
                    <a:lnTo>
                      <a:pt x="46538" y="610726"/>
                    </a:lnTo>
                    <a:lnTo>
                      <a:pt x="133875" y="659814"/>
                    </a:lnTo>
                    <a:lnTo>
                      <a:pt x="404176" y="802614"/>
                    </a:lnTo>
                    <a:lnTo>
                      <a:pt x="633039" y="831302"/>
                    </a:lnTo>
                    <a:lnTo>
                      <a:pt x="635589" y="831302"/>
                    </a:lnTo>
                    <a:lnTo>
                      <a:pt x="653439" y="641964"/>
                    </a:lnTo>
                    <a:lnTo>
                      <a:pt x="657901" y="594789"/>
                    </a:lnTo>
                    <a:lnTo>
                      <a:pt x="706351" y="97538"/>
                    </a:lnTo>
                    <a:lnTo>
                      <a:pt x="708901" y="74588"/>
                    </a:lnTo>
                    <a:lnTo>
                      <a:pt x="692326" y="73313"/>
                    </a:lnTo>
                    <a:lnTo>
                      <a:pt x="692326" y="73313"/>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3" name="Freeform 26">
                <a:extLst>
                  <a:ext uri="{FF2B5EF4-FFF2-40B4-BE49-F238E27FC236}">
                    <a16:creationId xmlns:a16="http://schemas.microsoft.com/office/drawing/2014/main" id="{7747D665-562C-79B8-B899-BCABDD4D4755}"/>
                  </a:ext>
                </a:extLst>
              </p:cNvPr>
              <p:cNvSpPr/>
              <p:nvPr/>
            </p:nvSpPr>
            <p:spPr>
              <a:xfrm>
                <a:off x="1902496" y="1937348"/>
                <a:ext cx="890589" cy="1456690"/>
              </a:xfrm>
              <a:custGeom>
                <a:avLst/>
                <a:gdLst>
                  <a:gd name="connsiteX0" fmla="*/ 368476 w 890589"/>
                  <a:gd name="connsiteY0" fmla="*/ 1331103 h 1456690"/>
                  <a:gd name="connsiteX1" fmla="*/ 371026 w 890589"/>
                  <a:gd name="connsiteY1" fmla="*/ 1345128 h 1456690"/>
                  <a:gd name="connsiteX2" fmla="*/ 371026 w 890589"/>
                  <a:gd name="connsiteY2" fmla="*/ 1347678 h 1456690"/>
                  <a:gd name="connsiteX3" fmla="*/ 368476 w 890589"/>
                  <a:gd name="connsiteY3" fmla="*/ 1331103 h 1456690"/>
                  <a:gd name="connsiteX4" fmla="*/ 368476 w 890589"/>
                  <a:gd name="connsiteY4" fmla="*/ 1331103 h 1456690"/>
                  <a:gd name="connsiteX5" fmla="*/ 273488 w 890589"/>
                  <a:gd name="connsiteY5" fmla="*/ 1275640 h 1456690"/>
                  <a:gd name="connsiteX6" fmla="*/ 277951 w 890589"/>
                  <a:gd name="connsiteY6" fmla="*/ 1285840 h 1456690"/>
                  <a:gd name="connsiteX7" fmla="*/ 280501 w 890589"/>
                  <a:gd name="connsiteY7" fmla="*/ 1285202 h 1456690"/>
                  <a:gd name="connsiteX8" fmla="*/ 273488 w 890589"/>
                  <a:gd name="connsiteY8" fmla="*/ 1275640 h 1456690"/>
                  <a:gd name="connsiteX9" fmla="*/ 273488 w 890589"/>
                  <a:gd name="connsiteY9" fmla="*/ 1275640 h 1456690"/>
                  <a:gd name="connsiteX10" fmla="*/ 386326 w 890589"/>
                  <a:gd name="connsiteY10" fmla="*/ 1273728 h 1456690"/>
                  <a:gd name="connsiteX11" fmla="*/ 388238 w 890589"/>
                  <a:gd name="connsiteY11" fmla="*/ 1290302 h 1456690"/>
                  <a:gd name="connsiteX12" fmla="*/ 399713 w 890589"/>
                  <a:gd name="connsiteY12" fmla="*/ 1298590 h 1456690"/>
                  <a:gd name="connsiteX13" fmla="*/ 386326 w 890589"/>
                  <a:gd name="connsiteY13" fmla="*/ 1273728 h 1456690"/>
                  <a:gd name="connsiteX14" fmla="*/ 308551 w 890589"/>
                  <a:gd name="connsiteY14" fmla="*/ 1182565 h 1456690"/>
                  <a:gd name="connsiteX15" fmla="*/ 301538 w 890589"/>
                  <a:gd name="connsiteY15" fmla="*/ 1180652 h 1456690"/>
                  <a:gd name="connsiteX16" fmla="*/ 307276 w 890589"/>
                  <a:gd name="connsiteY16" fmla="*/ 1183202 h 1456690"/>
                  <a:gd name="connsiteX17" fmla="*/ 308551 w 890589"/>
                  <a:gd name="connsiteY17" fmla="*/ 1182565 h 1456690"/>
                  <a:gd name="connsiteX18" fmla="*/ 308551 w 890589"/>
                  <a:gd name="connsiteY18" fmla="*/ 1182565 h 1456690"/>
                  <a:gd name="connsiteX19" fmla="*/ 237150 w 890589"/>
                  <a:gd name="connsiteY19" fmla="*/ 1162802 h 1456690"/>
                  <a:gd name="connsiteX20" fmla="*/ 219938 w 890589"/>
                  <a:gd name="connsiteY20" fmla="*/ 1173640 h 1456690"/>
                  <a:gd name="connsiteX21" fmla="*/ 224400 w 890589"/>
                  <a:gd name="connsiteY21" fmla="*/ 1178102 h 1456690"/>
                  <a:gd name="connsiteX22" fmla="*/ 237150 w 890589"/>
                  <a:gd name="connsiteY22" fmla="*/ 1162802 h 1456690"/>
                  <a:gd name="connsiteX23" fmla="*/ 204000 w 890589"/>
                  <a:gd name="connsiteY23" fmla="*/ 1151327 h 1456690"/>
                  <a:gd name="connsiteX24" fmla="*/ 202725 w 890589"/>
                  <a:gd name="connsiteY24" fmla="*/ 1156427 h 1456690"/>
                  <a:gd name="connsiteX25" fmla="*/ 208463 w 890589"/>
                  <a:gd name="connsiteY25" fmla="*/ 1157702 h 1456690"/>
                  <a:gd name="connsiteX26" fmla="*/ 204000 w 890589"/>
                  <a:gd name="connsiteY26" fmla="*/ 1151327 h 1456690"/>
                  <a:gd name="connsiteX27" fmla="*/ 204000 w 890589"/>
                  <a:gd name="connsiteY27" fmla="*/ 1151327 h 1456690"/>
                  <a:gd name="connsiteX28" fmla="*/ 260738 w 890589"/>
                  <a:gd name="connsiteY28" fmla="*/ 1163440 h 1456690"/>
                  <a:gd name="connsiteX29" fmla="*/ 289426 w 890589"/>
                  <a:gd name="connsiteY29" fmla="*/ 1179377 h 1456690"/>
                  <a:gd name="connsiteX30" fmla="*/ 294526 w 890589"/>
                  <a:gd name="connsiteY30" fmla="*/ 1174915 h 1456690"/>
                  <a:gd name="connsiteX31" fmla="*/ 260738 w 890589"/>
                  <a:gd name="connsiteY31" fmla="*/ 1163440 h 1456690"/>
                  <a:gd name="connsiteX32" fmla="*/ 41438 w 890589"/>
                  <a:gd name="connsiteY32" fmla="*/ 597976 h 1456690"/>
                  <a:gd name="connsiteX33" fmla="*/ 41438 w 890589"/>
                  <a:gd name="connsiteY33" fmla="*/ 597976 h 1456690"/>
                  <a:gd name="connsiteX34" fmla="*/ 41438 w 890589"/>
                  <a:gd name="connsiteY34" fmla="*/ 597976 h 1456690"/>
                  <a:gd name="connsiteX35" fmla="*/ 41438 w 890589"/>
                  <a:gd name="connsiteY35" fmla="*/ 597976 h 1456690"/>
                  <a:gd name="connsiteX36" fmla="*/ 110288 w 890589"/>
                  <a:gd name="connsiteY36" fmla="*/ 601164 h 1456690"/>
                  <a:gd name="connsiteX37" fmla="*/ 109650 w 890589"/>
                  <a:gd name="connsiteY37" fmla="*/ 599251 h 1456690"/>
                  <a:gd name="connsiteX38" fmla="*/ 110288 w 890589"/>
                  <a:gd name="connsiteY38" fmla="*/ 601164 h 1456690"/>
                  <a:gd name="connsiteX39" fmla="*/ 110288 w 890589"/>
                  <a:gd name="connsiteY39" fmla="*/ 601164 h 1456690"/>
                  <a:gd name="connsiteX40" fmla="*/ 110288 w 890589"/>
                  <a:gd name="connsiteY40" fmla="*/ 601164 h 1456690"/>
                  <a:gd name="connsiteX41" fmla="*/ 480676 w 890589"/>
                  <a:gd name="connsiteY41" fmla="*/ 113475 h 1456690"/>
                  <a:gd name="connsiteX42" fmla="*/ 455813 w 890589"/>
                  <a:gd name="connsiteY42" fmla="*/ 107100 h 1456690"/>
                  <a:gd name="connsiteX43" fmla="*/ 181050 w 890589"/>
                  <a:gd name="connsiteY43" fmla="*/ 31238 h 1456690"/>
                  <a:gd name="connsiteX44" fmla="*/ 79050 w 890589"/>
                  <a:gd name="connsiteY44" fmla="*/ 0 h 1456690"/>
                  <a:gd name="connsiteX45" fmla="*/ 79050 w 890589"/>
                  <a:gd name="connsiteY45" fmla="*/ 2550 h 1456690"/>
                  <a:gd name="connsiteX46" fmla="*/ 73313 w 890589"/>
                  <a:gd name="connsiteY46" fmla="*/ 66300 h 1456690"/>
                  <a:gd name="connsiteX47" fmla="*/ 45900 w 890589"/>
                  <a:gd name="connsiteY47" fmla="*/ 141525 h 1456690"/>
                  <a:gd name="connsiteX48" fmla="*/ 638 w 890589"/>
                  <a:gd name="connsiteY48" fmla="*/ 196988 h 1456690"/>
                  <a:gd name="connsiteX49" fmla="*/ 0 w 890589"/>
                  <a:gd name="connsiteY49" fmla="*/ 225038 h 1456690"/>
                  <a:gd name="connsiteX50" fmla="*/ 21675 w 890589"/>
                  <a:gd name="connsiteY50" fmla="*/ 263926 h 1456690"/>
                  <a:gd name="connsiteX51" fmla="*/ 33150 w 890589"/>
                  <a:gd name="connsiteY51" fmla="*/ 315563 h 1456690"/>
                  <a:gd name="connsiteX52" fmla="*/ 17850 w 890589"/>
                  <a:gd name="connsiteY52" fmla="*/ 357001 h 1456690"/>
                  <a:gd name="connsiteX53" fmla="*/ 20400 w 890589"/>
                  <a:gd name="connsiteY53" fmla="*/ 398438 h 1456690"/>
                  <a:gd name="connsiteX54" fmla="*/ 12750 w 890589"/>
                  <a:gd name="connsiteY54" fmla="*/ 415651 h 1456690"/>
                  <a:gd name="connsiteX55" fmla="*/ 39525 w 890589"/>
                  <a:gd name="connsiteY55" fmla="*/ 472388 h 1456690"/>
                  <a:gd name="connsiteX56" fmla="*/ 56100 w 890589"/>
                  <a:gd name="connsiteY56" fmla="*/ 494064 h 1456690"/>
                  <a:gd name="connsiteX57" fmla="*/ 54825 w 890589"/>
                  <a:gd name="connsiteY57" fmla="*/ 556539 h 1456690"/>
                  <a:gd name="connsiteX58" fmla="*/ 94350 w 890589"/>
                  <a:gd name="connsiteY58" fmla="*/ 594151 h 1456690"/>
                  <a:gd name="connsiteX59" fmla="*/ 117300 w 890589"/>
                  <a:gd name="connsiteY59" fmla="*/ 555901 h 1456690"/>
                  <a:gd name="connsiteX60" fmla="*/ 142163 w 890589"/>
                  <a:gd name="connsiteY60" fmla="*/ 575664 h 1456690"/>
                  <a:gd name="connsiteX61" fmla="*/ 152363 w 890589"/>
                  <a:gd name="connsiteY61" fmla="*/ 566101 h 1456690"/>
                  <a:gd name="connsiteX62" fmla="*/ 117938 w 890589"/>
                  <a:gd name="connsiteY62" fmla="*/ 572476 h 1456690"/>
                  <a:gd name="connsiteX63" fmla="*/ 117300 w 890589"/>
                  <a:gd name="connsiteY63" fmla="*/ 605626 h 1456690"/>
                  <a:gd name="connsiteX64" fmla="*/ 124313 w 890589"/>
                  <a:gd name="connsiteY64" fmla="*/ 646426 h 1456690"/>
                  <a:gd name="connsiteX65" fmla="*/ 103913 w 890589"/>
                  <a:gd name="connsiteY65" fmla="*/ 629214 h 1456690"/>
                  <a:gd name="connsiteX66" fmla="*/ 92438 w 890589"/>
                  <a:gd name="connsiteY66" fmla="*/ 604351 h 1456690"/>
                  <a:gd name="connsiteX67" fmla="*/ 89250 w 890589"/>
                  <a:gd name="connsiteY67" fmla="*/ 638776 h 1456690"/>
                  <a:gd name="connsiteX68" fmla="*/ 98813 w 890589"/>
                  <a:gd name="connsiteY68" fmla="*/ 707626 h 1456690"/>
                  <a:gd name="connsiteX69" fmla="*/ 134513 w 890589"/>
                  <a:gd name="connsiteY69" fmla="*/ 752252 h 1456690"/>
                  <a:gd name="connsiteX70" fmla="*/ 110925 w 890589"/>
                  <a:gd name="connsiteY70" fmla="*/ 783489 h 1456690"/>
                  <a:gd name="connsiteX71" fmla="*/ 114750 w 890589"/>
                  <a:gd name="connsiteY71" fmla="*/ 822377 h 1456690"/>
                  <a:gd name="connsiteX72" fmla="*/ 140250 w 890589"/>
                  <a:gd name="connsiteY72" fmla="*/ 861902 h 1456690"/>
                  <a:gd name="connsiteX73" fmla="*/ 185513 w 890589"/>
                  <a:gd name="connsiteY73" fmla="*/ 984939 h 1456690"/>
                  <a:gd name="connsiteX74" fmla="*/ 199538 w 890589"/>
                  <a:gd name="connsiteY74" fmla="*/ 992590 h 1456690"/>
                  <a:gd name="connsiteX75" fmla="*/ 195075 w 890589"/>
                  <a:gd name="connsiteY75" fmla="*/ 1078015 h 1456690"/>
                  <a:gd name="connsiteX76" fmla="*/ 202088 w 890589"/>
                  <a:gd name="connsiteY76" fmla="*/ 1088852 h 1456690"/>
                  <a:gd name="connsiteX77" fmla="*/ 298988 w 890589"/>
                  <a:gd name="connsiteY77" fmla="*/ 1123277 h 1456690"/>
                  <a:gd name="connsiteX78" fmla="*/ 328951 w 890589"/>
                  <a:gd name="connsiteY78" fmla="*/ 1155152 h 1456690"/>
                  <a:gd name="connsiteX79" fmla="*/ 339788 w 890589"/>
                  <a:gd name="connsiteY79" fmla="*/ 1175552 h 1456690"/>
                  <a:gd name="connsiteX80" fmla="*/ 368476 w 890589"/>
                  <a:gd name="connsiteY80" fmla="*/ 1191490 h 1456690"/>
                  <a:gd name="connsiteX81" fmla="*/ 399713 w 890589"/>
                  <a:gd name="connsiteY81" fmla="*/ 1197227 h 1456690"/>
                  <a:gd name="connsiteX82" fmla="*/ 412463 w 890589"/>
                  <a:gd name="connsiteY82" fmla="*/ 1232290 h 1456690"/>
                  <a:gd name="connsiteX83" fmla="*/ 437963 w 890589"/>
                  <a:gd name="connsiteY83" fmla="*/ 1244403 h 1456690"/>
                  <a:gd name="connsiteX84" fmla="*/ 476213 w 890589"/>
                  <a:gd name="connsiteY84" fmla="*/ 1290302 h 1456690"/>
                  <a:gd name="connsiteX85" fmla="*/ 511914 w 890589"/>
                  <a:gd name="connsiteY85" fmla="*/ 1349590 h 1456690"/>
                  <a:gd name="connsiteX86" fmla="*/ 509363 w 890589"/>
                  <a:gd name="connsiteY86" fmla="*/ 1404415 h 1456690"/>
                  <a:gd name="connsiteX87" fmla="*/ 529126 w 890589"/>
                  <a:gd name="connsiteY87" fmla="*/ 1431190 h 1456690"/>
                  <a:gd name="connsiteX88" fmla="*/ 791777 w 890589"/>
                  <a:gd name="connsiteY88" fmla="*/ 1456690 h 1456690"/>
                  <a:gd name="connsiteX89" fmla="*/ 791777 w 890589"/>
                  <a:gd name="connsiteY89" fmla="*/ 1456690 h 1456690"/>
                  <a:gd name="connsiteX90" fmla="*/ 814727 w 890589"/>
                  <a:gd name="connsiteY90" fmla="*/ 1455415 h 1456690"/>
                  <a:gd name="connsiteX91" fmla="*/ 825564 w 890589"/>
                  <a:gd name="connsiteY91" fmla="*/ 1426728 h 1456690"/>
                  <a:gd name="connsiteX92" fmla="*/ 805802 w 890589"/>
                  <a:gd name="connsiteY92" fmla="*/ 1412065 h 1456690"/>
                  <a:gd name="connsiteX93" fmla="*/ 806439 w 890589"/>
                  <a:gd name="connsiteY93" fmla="*/ 1364890 h 1456690"/>
                  <a:gd name="connsiteX94" fmla="*/ 817914 w 890589"/>
                  <a:gd name="connsiteY94" fmla="*/ 1362340 h 1456690"/>
                  <a:gd name="connsiteX95" fmla="*/ 840864 w 890589"/>
                  <a:gd name="connsiteY95" fmla="*/ 1306240 h 1456690"/>
                  <a:gd name="connsiteX96" fmla="*/ 854889 w 890589"/>
                  <a:gd name="connsiteY96" fmla="*/ 1279465 h 1456690"/>
                  <a:gd name="connsiteX97" fmla="*/ 890589 w 890589"/>
                  <a:gd name="connsiteY97" fmla="*/ 1258427 h 1456690"/>
                  <a:gd name="connsiteX98" fmla="*/ 870827 w 890589"/>
                  <a:gd name="connsiteY98" fmla="*/ 1231015 h 1456690"/>
                  <a:gd name="connsiteX99" fmla="*/ 848514 w 890589"/>
                  <a:gd name="connsiteY99" fmla="*/ 1171090 h 1456690"/>
                  <a:gd name="connsiteX100" fmla="*/ 849789 w 890589"/>
                  <a:gd name="connsiteY100" fmla="*/ 1155152 h 1456690"/>
                  <a:gd name="connsiteX101" fmla="*/ 849789 w 890589"/>
                  <a:gd name="connsiteY101" fmla="*/ 1154515 h 1456690"/>
                  <a:gd name="connsiteX102" fmla="*/ 833214 w 890589"/>
                  <a:gd name="connsiteY102" fmla="*/ 1132202 h 1456690"/>
                  <a:gd name="connsiteX103" fmla="*/ 781577 w 890589"/>
                  <a:gd name="connsiteY103" fmla="*/ 1063352 h 1456690"/>
                  <a:gd name="connsiteX104" fmla="*/ 682126 w 890589"/>
                  <a:gd name="connsiteY104" fmla="*/ 923102 h 1456690"/>
                  <a:gd name="connsiteX105" fmla="*/ 541876 w 890589"/>
                  <a:gd name="connsiteY105" fmla="*/ 725476 h 1456690"/>
                  <a:gd name="connsiteX106" fmla="*/ 464101 w 890589"/>
                  <a:gd name="connsiteY106" fmla="*/ 617739 h 1456690"/>
                  <a:gd name="connsiteX107" fmla="*/ 388238 w 890589"/>
                  <a:gd name="connsiteY107" fmla="*/ 508726 h 1456690"/>
                  <a:gd name="connsiteX108" fmla="*/ 475576 w 890589"/>
                  <a:gd name="connsiteY108" fmla="*/ 138338 h 1456690"/>
                  <a:gd name="connsiteX109" fmla="*/ 480676 w 890589"/>
                  <a:gd name="connsiteY109" fmla="*/ 113475 h 1456690"/>
                  <a:gd name="connsiteX110" fmla="*/ 480676 w 890589"/>
                  <a:gd name="connsiteY110" fmla="*/ 113475 h 14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90589" h="1456690">
                    <a:moveTo>
                      <a:pt x="368476" y="1331103"/>
                    </a:moveTo>
                    <a:lnTo>
                      <a:pt x="371026" y="1345128"/>
                    </a:lnTo>
                    <a:lnTo>
                      <a:pt x="371026" y="1347678"/>
                    </a:lnTo>
                    <a:lnTo>
                      <a:pt x="368476" y="1331103"/>
                    </a:lnTo>
                    <a:lnTo>
                      <a:pt x="368476" y="1331103"/>
                    </a:lnTo>
                    <a:close/>
                    <a:moveTo>
                      <a:pt x="273488" y="1275640"/>
                    </a:moveTo>
                    <a:lnTo>
                      <a:pt x="277951" y="1285840"/>
                    </a:lnTo>
                    <a:lnTo>
                      <a:pt x="280501" y="1285202"/>
                    </a:lnTo>
                    <a:lnTo>
                      <a:pt x="273488" y="1275640"/>
                    </a:lnTo>
                    <a:lnTo>
                      <a:pt x="273488" y="1275640"/>
                    </a:lnTo>
                    <a:close/>
                    <a:moveTo>
                      <a:pt x="386326" y="1273728"/>
                    </a:moveTo>
                    <a:lnTo>
                      <a:pt x="388238" y="1290302"/>
                    </a:lnTo>
                    <a:lnTo>
                      <a:pt x="399713" y="1298590"/>
                    </a:lnTo>
                    <a:lnTo>
                      <a:pt x="386326" y="1273728"/>
                    </a:lnTo>
                    <a:close/>
                    <a:moveTo>
                      <a:pt x="308551" y="1182565"/>
                    </a:moveTo>
                    <a:lnTo>
                      <a:pt x="301538" y="1180652"/>
                    </a:lnTo>
                    <a:lnTo>
                      <a:pt x="307276" y="1183202"/>
                    </a:lnTo>
                    <a:lnTo>
                      <a:pt x="308551" y="1182565"/>
                    </a:lnTo>
                    <a:lnTo>
                      <a:pt x="308551" y="1182565"/>
                    </a:lnTo>
                    <a:close/>
                    <a:moveTo>
                      <a:pt x="237150" y="1162802"/>
                    </a:moveTo>
                    <a:lnTo>
                      <a:pt x="219938" y="1173640"/>
                    </a:lnTo>
                    <a:lnTo>
                      <a:pt x="224400" y="1178102"/>
                    </a:lnTo>
                    <a:lnTo>
                      <a:pt x="237150" y="1162802"/>
                    </a:lnTo>
                    <a:close/>
                    <a:moveTo>
                      <a:pt x="204000" y="1151327"/>
                    </a:moveTo>
                    <a:lnTo>
                      <a:pt x="202725" y="1156427"/>
                    </a:lnTo>
                    <a:lnTo>
                      <a:pt x="208463" y="1157702"/>
                    </a:lnTo>
                    <a:lnTo>
                      <a:pt x="204000" y="1151327"/>
                    </a:lnTo>
                    <a:lnTo>
                      <a:pt x="204000" y="1151327"/>
                    </a:lnTo>
                    <a:close/>
                    <a:moveTo>
                      <a:pt x="260738" y="1163440"/>
                    </a:moveTo>
                    <a:lnTo>
                      <a:pt x="289426" y="1179377"/>
                    </a:lnTo>
                    <a:lnTo>
                      <a:pt x="294526" y="1174915"/>
                    </a:lnTo>
                    <a:lnTo>
                      <a:pt x="260738" y="1163440"/>
                    </a:lnTo>
                    <a:close/>
                    <a:moveTo>
                      <a:pt x="41438" y="597976"/>
                    </a:moveTo>
                    <a:lnTo>
                      <a:pt x="41438" y="597976"/>
                    </a:lnTo>
                    <a:lnTo>
                      <a:pt x="41438" y="597976"/>
                    </a:lnTo>
                    <a:lnTo>
                      <a:pt x="41438" y="597976"/>
                    </a:lnTo>
                    <a:close/>
                    <a:moveTo>
                      <a:pt x="110288" y="601164"/>
                    </a:moveTo>
                    <a:lnTo>
                      <a:pt x="109650" y="599251"/>
                    </a:lnTo>
                    <a:lnTo>
                      <a:pt x="110288" y="601164"/>
                    </a:lnTo>
                    <a:lnTo>
                      <a:pt x="110288" y="601164"/>
                    </a:lnTo>
                    <a:lnTo>
                      <a:pt x="110288" y="601164"/>
                    </a:lnTo>
                    <a:close/>
                    <a:moveTo>
                      <a:pt x="480676" y="113475"/>
                    </a:moveTo>
                    <a:lnTo>
                      <a:pt x="455813" y="107100"/>
                    </a:lnTo>
                    <a:lnTo>
                      <a:pt x="181050" y="31238"/>
                    </a:lnTo>
                    <a:lnTo>
                      <a:pt x="79050" y="0"/>
                    </a:lnTo>
                    <a:lnTo>
                      <a:pt x="79050" y="2550"/>
                    </a:lnTo>
                    <a:lnTo>
                      <a:pt x="73313" y="66300"/>
                    </a:lnTo>
                    <a:lnTo>
                      <a:pt x="45900" y="141525"/>
                    </a:lnTo>
                    <a:lnTo>
                      <a:pt x="638" y="196988"/>
                    </a:lnTo>
                    <a:lnTo>
                      <a:pt x="0" y="225038"/>
                    </a:lnTo>
                    <a:lnTo>
                      <a:pt x="21675" y="263926"/>
                    </a:lnTo>
                    <a:lnTo>
                      <a:pt x="33150" y="315563"/>
                    </a:lnTo>
                    <a:lnTo>
                      <a:pt x="17850" y="357001"/>
                    </a:lnTo>
                    <a:lnTo>
                      <a:pt x="20400" y="398438"/>
                    </a:lnTo>
                    <a:lnTo>
                      <a:pt x="12750" y="415651"/>
                    </a:lnTo>
                    <a:lnTo>
                      <a:pt x="39525" y="472388"/>
                    </a:lnTo>
                    <a:lnTo>
                      <a:pt x="56100" y="494064"/>
                    </a:lnTo>
                    <a:lnTo>
                      <a:pt x="54825" y="556539"/>
                    </a:lnTo>
                    <a:lnTo>
                      <a:pt x="94350" y="594151"/>
                    </a:lnTo>
                    <a:lnTo>
                      <a:pt x="117300" y="555901"/>
                    </a:lnTo>
                    <a:lnTo>
                      <a:pt x="142163" y="575664"/>
                    </a:lnTo>
                    <a:lnTo>
                      <a:pt x="152363" y="566101"/>
                    </a:lnTo>
                    <a:lnTo>
                      <a:pt x="117938" y="572476"/>
                    </a:lnTo>
                    <a:lnTo>
                      <a:pt x="117300" y="605626"/>
                    </a:lnTo>
                    <a:lnTo>
                      <a:pt x="124313" y="646426"/>
                    </a:lnTo>
                    <a:lnTo>
                      <a:pt x="103913" y="629214"/>
                    </a:lnTo>
                    <a:lnTo>
                      <a:pt x="92438" y="604351"/>
                    </a:lnTo>
                    <a:lnTo>
                      <a:pt x="89250" y="638776"/>
                    </a:lnTo>
                    <a:lnTo>
                      <a:pt x="98813" y="707626"/>
                    </a:lnTo>
                    <a:lnTo>
                      <a:pt x="134513" y="752252"/>
                    </a:lnTo>
                    <a:lnTo>
                      <a:pt x="110925" y="783489"/>
                    </a:lnTo>
                    <a:lnTo>
                      <a:pt x="114750" y="822377"/>
                    </a:lnTo>
                    <a:lnTo>
                      <a:pt x="140250" y="861902"/>
                    </a:lnTo>
                    <a:lnTo>
                      <a:pt x="185513" y="984939"/>
                    </a:lnTo>
                    <a:lnTo>
                      <a:pt x="199538" y="992590"/>
                    </a:lnTo>
                    <a:lnTo>
                      <a:pt x="195075" y="1078015"/>
                    </a:lnTo>
                    <a:lnTo>
                      <a:pt x="202088" y="1088852"/>
                    </a:lnTo>
                    <a:lnTo>
                      <a:pt x="298988" y="1123277"/>
                    </a:lnTo>
                    <a:lnTo>
                      <a:pt x="328951" y="1155152"/>
                    </a:lnTo>
                    <a:lnTo>
                      <a:pt x="339788" y="1175552"/>
                    </a:lnTo>
                    <a:lnTo>
                      <a:pt x="368476" y="1191490"/>
                    </a:lnTo>
                    <a:lnTo>
                      <a:pt x="399713" y="1197227"/>
                    </a:lnTo>
                    <a:lnTo>
                      <a:pt x="412463" y="1232290"/>
                    </a:lnTo>
                    <a:lnTo>
                      <a:pt x="437963" y="1244403"/>
                    </a:lnTo>
                    <a:lnTo>
                      <a:pt x="476213" y="1290302"/>
                    </a:lnTo>
                    <a:lnTo>
                      <a:pt x="511914" y="1349590"/>
                    </a:lnTo>
                    <a:lnTo>
                      <a:pt x="509363" y="1404415"/>
                    </a:lnTo>
                    <a:lnTo>
                      <a:pt x="529126" y="1431190"/>
                    </a:lnTo>
                    <a:lnTo>
                      <a:pt x="791777" y="1456690"/>
                    </a:lnTo>
                    <a:lnTo>
                      <a:pt x="791777" y="1456690"/>
                    </a:lnTo>
                    <a:lnTo>
                      <a:pt x="814727" y="1455415"/>
                    </a:lnTo>
                    <a:lnTo>
                      <a:pt x="825564" y="1426728"/>
                    </a:lnTo>
                    <a:lnTo>
                      <a:pt x="805802" y="1412065"/>
                    </a:lnTo>
                    <a:lnTo>
                      <a:pt x="806439" y="1364890"/>
                    </a:lnTo>
                    <a:lnTo>
                      <a:pt x="817914" y="1362340"/>
                    </a:lnTo>
                    <a:lnTo>
                      <a:pt x="840864" y="1306240"/>
                    </a:lnTo>
                    <a:lnTo>
                      <a:pt x="854889" y="1279465"/>
                    </a:lnTo>
                    <a:lnTo>
                      <a:pt x="890589" y="1258427"/>
                    </a:lnTo>
                    <a:lnTo>
                      <a:pt x="870827" y="1231015"/>
                    </a:lnTo>
                    <a:lnTo>
                      <a:pt x="848514" y="1171090"/>
                    </a:lnTo>
                    <a:lnTo>
                      <a:pt x="849789" y="1155152"/>
                    </a:lnTo>
                    <a:lnTo>
                      <a:pt x="849789" y="1154515"/>
                    </a:lnTo>
                    <a:lnTo>
                      <a:pt x="833214" y="1132202"/>
                    </a:lnTo>
                    <a:lnTo>
                      <a:pt x="781577" y="1063352"/>
                    </a:lnTo>
                    <a:lnTo>
                      <a:pt x="682126" y="923102"/>
                    </a:lnTo>
                    <a:lnTo>
                      <a:pt x="541876" y="725476"/>
                    </a:lnTo>
                    <a:lnTo>
                      <a:pt x="464101" y="617739"/>
                    </a:lnTo>
                    <a:lnTo>
                      <a:pt x="388238" y="508726"/>
                    </a:lnTo>
                    <a:lnTo>
                      <a:pt x="475576" y="138338"/>
                    </a:lnTo>
                    <a:lnTo>
                      <a:pt x="480676" y="113475"/>
                    </a:lnTo>
                    <a:lnTo>
                      <a:pt x="480676" y="113475"/>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4" name="Freeform 29">
                <a:extLst>
                  <a:ext uri="{FF2B5EF4-FFF2-40B4-BE49-F238E27FC236}">
                    <a16:creationId xmlns:a16="http://schemas.microsoft.com/office/drawing/2014/main" id="{39D20F6F-11B6-3CE2-9FB6-093843AC112D}"/>
                  </a:ext>
                </a:extLst>
              </p:cNvPr>
              <p:cNvSpPr/>
              <p:nvPr/>
            </p:nvSpPr>
            <p:spPr>
              <a:xfrm>
                <a:off x="3314562" y="2913362"/>
                <a:ext cx="721651" cy="765639"/>
              </a:xfrm>
              <a:custGeom>
                <a:avLst/>
                <a:gdLst>
                  <a:gd name="connsiteX0" fmla="*/ 719739 w 721651"/>
                  <a:gd name="connsiteY0" fmla="*/ 96900 h 765639"/>
                  <a:gd name="connsiteX1" fmla="*/ 720376 w 721651"/>
                  <a:gd name="connsiteY1" fmla="*/ 80325 h 765639"/>
                  <a:gd name="connsiteX2" fmla="*/ 721014 w 721651"/>
                  <a:gd name="connsiteY2" fmla="*/ 63750 h 765639"/>
                  <a:gd name="connsiteX3" fmla="*/ 721652 w 721651"/>
                  <a:gd name="connsiteY3" fmla="*/ 47175 h 765639"/>
                  <a:gd name="connsiteX4" fmla="*/ 701251 w 721651"/>
                  <a:gd name="connsiteY4" fmla="*/ 46538 h 765639"/>
                  <a:gd name="connsiteX5" fmla="*/ 559089 w 721651"/>
                  <a:gd name="connsiteY5" fmla="*/ 40163 h 765639"/>
                  <a:gd name="connsiteX6" fmla="*/ 416926 w 721651"/>
                  <a:gd name="connsiteY6" fmla="*/ 30600 h 765639"/>
                  <a:gd name="connsiteX7" fmla="*/ 93075 w 721651"/>
                  <a:gd name="connsiteY7" fmla="*/ 1912 h 765639"/>
                  <a:gd name="connsiteX8" fmla="*/ 73313 w 721651"/>
                  <a:gd name="connsiteY8" fmla="*/ 0 h 765639"/>
                  <a:gd name="connsiteX9" fmla="*/ 70763 w 721651"/>
                  <a:gd name="connsiteY9" fmla="*/ 22950 h 765639"/>
                  <a:gd name="connsiteX10" fmla="*/ 22313 w 721651"/>
                  <a:gd name="connsiteY10" fmla="*/ 520201 h 765639"/>
                  <a:gd name="connsiteX11" fmla="*/ 17850 w 721651"/>
                  <a:gd name="connsiteY11" fmla="*/ 567376 h 765639"/>
                  <a:gd name="connsiteX12" fmla="*/ 0 w 721651"/>
                  <a:gd name="connsiteY12" fmla="*/ 756714 h 765639"/>
                  <a:gd name="connsiteX13" fmla="*/ 2550 w 721651"/>
                  <a:gd name="connsiteY13" fmla="*/ 757351 h 765639"/>
                  <a:gd name="connsiteX14" fmla="*/ 91163 w 721651"/>
                  <a:gd name="connsiteY14" fmla="*/ 765639 h 765639"/>
                  <a:gd name="connsiteX15" fmla="*/ 99450 w 721651"/>
                  <a:gd name="connsiteY15" fmla="*/ 720376 h 765639"/>
                  <a:gd name="connsiteX16" fmla="*/ 115388 w 721651"/>
                  <a:gd name="connsiteY16" fmla="*/ 707626 h 765639"/>
                  <a:gd name="connsiteX17" fmla="*/ 295163 w 721651"/>
                  <a:gd name="connsiteY17" fmla="*/ 723564 h 765639"/>
                  <a:gd name="connsiteX18" fmla="*/ 296438 w 721651"/>
                  <a:gd name="connsiteY18" fmla="*/ 723564 h 765639"/>
                  <a:gd name="connsiteX19" fmla="*/ 280501 w 721651"/>
                  <a:gd name="connsiteY19" fmla="*/ 691689 h 765639"/>
                  <a:gd name="connsiteX20" fmla="*/ 362101 w 721651"/>
                  <a:gd name="connsiteY20" fmla="*/ 697427 h 765639"/>
                  <a:gd name="connsiteX21" fmla="*/ 566101 w 721651"/>
                  <a:gd name="connsiteY21" fmla="*/ 708902 h 765639"/>
                  <a:gd name="connsiteX22" fmla="*/ 692964 w 721651"/>
                  <a:gd name="connsiteY22" fmla="*/ 714639 h 765639"/>
                  <a:gd name="connsiteX23" fmla="*/ 714639 w 721651"/>
                  <a:gd name="connsiteY23" fmla="*/ 112200 h 765639"/>
                  <a:gd name="connsiteX24" fmla="*/ 719101 w 721651"/>
                  <a:gd name="connsiteY24" fmla="*/ 112838 h 765639"/>
                  <a:gd name="connsiteX25" fmla="*/ 719101 w 721651"/>
                  <a:gd name="connsiteY25" fmla="*/ 96900 h 765639"/>
                  <a:gd name="connsiteX26" fmla="*/ 719739 w 721651"/>
                  <a:gd name="connsiteY26" fmla="*/ 96900 h 76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1651" h="765639">
                    <a:moveTo>
                      <a:pt x="719739" y="96900"/>
                    </a:moveTo>
                    <a:lnTo>
                      <a:pt x="720376" y="80325"/>
                    </a:lnTo>
                    <a:lnTo>
                      <a:pt x="721014" y="63750"/>
                    </a:lnTo>
                    <a:lnTo>
                      <a:pt x="721652" y="47175"/>
                    </a:lnTo>
                    <a:lnTo>
                      <a:pt x="701251" y="46538"/>
                    </a:lnTo>
                    <a:lnTo>
                      <a:pt x="559089" y="40163"/>
                    </a:lnTo>
                    <a:lnTo>
                      <a:pt x="416926" y="30600"/>
                    </a:lnTo>
                    <a:lnTo>
                      <a:pt x="93075" y="1912"/>
                    </a:lnTo>
                    <a:lnTo>
                      <a:pt x="73313" y="0"/>
                    </a:lnTo>
                    <a:lnTo>
                      <a:pt x="70763" y="22950"/>
                    </a:lnTo>
                    <a:lnTo>
                      <a:pt x="22313" y="520201"/>
                    </a:lnTo>
                    <a:lnTo>
                      <a:pt x="17850" y="567376"/>
                    </a:lnTo>
                    <a:lnTo>
                      <a:pt x="0" y="756714"/>
                    </a:lnTo>
                    <a:lnTo>
                      <a:pt x="2550" y="757351"/>
                    </a:lnTo>
                    <a:lnTo>
                      <a:pt x="91163" y="765639"/>
                    </a:lnTo>
                    <a:lnTo>
                      <a:pt x="99450" y="720376"/>
                    </a:lnTo>
                    <a:lnTo>
                      <a:pt x="115388" y="707626"/>
                    </a:lnTo>
                    <a:lnTo>
                      <a:pt x="295163" y="723564"/>
                    </a:lnTo>
                    <a:lnTo>
                      <a:pt x="296438" y="723564"/>
                    </a:lnTo>
                    <a:lnTo>
                      <a:pt x="280501" y="691689"/>
                    </a:lnTo>
                    <a:lnTo>
                      <a:pt x="362101" y="697427"/>
                    </a:lnTo>
                    <a:lnTo>
                      <a:pt x="566101" y="708902"/>
                    </a:lnTo>
                    <a:lnTo>
                      <a:pt x="692964" y="714639"/>
                    </a:lnTo>
                    <a:lnTo>
                      <a:pt x="714639" y="112200"/>
                    </a:lnTo>
                    <a:lnTo>
                      <a:pt x="719101" y="112838"/>
                    </a:lnTo>
                    <a:lnTo>
                      <a:pt x="719101" y="96900"/>
                    </a:lnTo>
                    <a:lnTo>
                      <a:pt x="719739" y="9690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5" name="Freeform 30">
                <a:extLst>
                  <a:ext uri="{FF2B5EF4-FFF2-40B4-BE49-F238E27FC236}">
                    <a16:creationId xmlns:a16="http://schemas.microsoft.com/office/drawing/2014/main" id="{BE7B091C-D555-B70F-65E3-510422513EA9}"/>
                  </a:ext>
                </a:extLst>
              </p:cNvPr>
              <p:cNvSpPr/>
              <p:nvPr/>
            </p:nvSpPr>
            <p:spPr>
              <a:xfrm>
                <a:off x="1972622" y="1405034"/>
                <a:ext cx="846601" cy="713363"/>
              </a:xfrm>
              <a:custGeom>
                <a:avLst/>
                <a:gdLst>
                  <a:gd name="connsiteX0" fmla="*/ 8288 w 846601"/>
                  <a:gd name="connsiteY0" fmla="*/ 533588 h 713363"/>
                  <a:gd name="connsiteX1" fmla="*/ 110288 w 846601"/>
                  <a:gd name="connsiteY1" fmla="*/ 564826 h 713363"/>
                  <a:gd name="connsiteX2" fmla="*/ 385051 w 846601"/>
                  <a:gd name="connsiteY2" fmla="*/ 640689 h 713363"/>
                  <a:gd name="connsiteX3" fmla="*/ 409913 w 846601"/>
                  <a:gd name="connsiteY3" fmla="*/ 647064 h 713363"/>
                  <a:gd name="connsiteX4" fmla="*/ 427763 w 846601"/>
                  <a:gd name="connsiteY4" fmla="*/ 651526 h 713363"/>
                  <a:gd name="connsiteX5" fmla="*/ 590326 w 846601"/>
                  <a:gd name="connsiteY5" fmla="*/ 689776 h 713363"/>
                  <a:gd name="connsiteX6" fmla="*/ 680851 w 846601"/>
                  <a:gd name="connsiteY6" fmla="*/ 709539 h 713363"/>
                  <a:gd name="connsiteX7" fmla="*/ 698701 w 846601"/>
                  <a:gd name="connsiteY7" fmla="*/ 713364 h 713363"/>
                  <a:gd name="connsiteX8" fmla="*/ 701251 w 846601"/>
                  <a:gd name="connsiteY8" fmla="*/ 699976 h 713363"/>
                  <a:gd name="connsiteX9" fmla="*/ 761814 w 846601"/>
                  <a:gd name="connsiteY9" fmla="*/ 446888 h 713363"/>
                  <a:gd name="connsiteX10" fmla="*/ 745877 w 846601"/>
                  <a:gd name="connsiteY10" fmla="*/ 406726 h 713363"/>
                  <a:gd name="connsiteX11" fmla="*/ 747789 w 846601"/>
                  <a:gd name="connsiteY11" fmla="*/ 390788 h 713363"/>
                  <a:gd name="connsiteX12" fmla="*/ 814727 w 846601"/>
                  <a:gd name="connsiteY12" fmla="*/ 303450 h 713363"/>
                  <a:gd name="connsiteX13" fmla="*/ 846602 w 846601"/>
                  <a:gd name="connsiteY13" fmla="*/ 224400 h 713363"/>
                  <a:gd name="connsiteX14" fmla="*/ 824927 w 846601"/>
                  <a:gd name="connsiteY14" fmla="*/ 200813 h 713363"/>
                  <a:gd name="connsiteX15" fmla="*/ 824289 w 846601"/>
                  <a:gd name="connsiteY15" fmla="*/ 188700 h 713363"/>
                  <a:gd name="connsiteX16" fmla="*/ 824289 w 846601"/>
                  <a:gd name="connsiteY16" fmla="*/ 188063 h 713363"/>
                  <a:gd name="connsiteX17" fmla="*/ 812177 w 846601"/>
                  <a:gd name="connsiteY17" fmla="*/ 185513 h 713363"/>
                  <a:gd name="connsiteX18" fmla="*/ 631764 w 846601"/>
                  <a:gd name="connsiteY18" fmla="*/ 144713 h 713363"/>
                  <a:gd name="connsiteX19" fmla="*/ 621564 w 846601"/>
                  <a:gd name="connsiteY19" fmla="*/ 149175 h 713363"/>
                  <a:gd name="connsiteX20" fmla="*/ 586501 w 846601"/>
                  <a:gd name="connsiteY20" fmla="*/ 143438 h 713363"/>
                  <a:gd name="connsiteX21" fmla="*/ 515101 w 846601"/>
                  <a:gd name="connsiteY21" fmla="*/ 151088 h 713363"/>
                  <a:gd name="connsiteX22" fmla="*/ 471113 w 846601"/>
                  <a:gd name="connsiteY22" fmla="*/ 145350 h 713363"/>
                  <a:gd name="connsiteX23" fmla="*/ 424576 w 846601"/>
                  <a:gd name="connsiteY23" fmla="*/ 144713 h 713363"/>
                  <a:gd name="connsiteX24" fmla="*/ 420751 w 846601"/>
                  <a:gd name="connsiteY24" fmla="*/ 133238 h 713363"/>
                  <a:gd name="connsiteX25" fmla="*/ 322576 w 846601"/>
                  <a:gd name="connsiteY25" fmla="*/ 123675 h 713363"/>
                  <a:gd name="connsiteX26" fmla="*/ 288151 w 846601"/>
                  <a:gd name="connsiteY26" fmla="*/ 105188 h 713363"/>
                  <a:gd name="connsiteX27" fmla="*/ 283688 w 846601"/>
                  <a:gd name="connsiteY27" fmla="*/ 93075 h 713363"/>
                  <a:gd name="connsiteX28" fmla="*/ 287513 w 846601"/>
                  <a:gd name="connsiteY28" fmla="*/ 44625 h 713363"/>
                  <a:gd name="connsiteX29" fmla="*/ 264563 w 846601"/>
                  <a:gd name="connsiteY29" fmla="*/ 19762 h 713363"/>
                  <a:gd name="connsiteX30" fmla="*/ 262651 w 846601"/>
                  <a:gd name="connsiteY30" fmla="*/ 20400 h 713363"/>
                  <a:gd name="connsiteX31" fmla="*/ 258188 w 846601"/>
                  <a:gd name="connsiteY31" fmla="*/ 23587 h 713363"/>
                  <a:gd name="connsiteX32" fmla="*/ 225675 w 846601"/>
                  <a:gd name="connsiteY32" fmla="*/ 7012 h 713363"/>
                  <a:gd name="connsiteX33" fmla="*/ 206550 w 846601"/>
                  <a:gd name="connsiteY33" fmla="*/ 12750 h 713363"/>
                  <a:gd name="connsiteX34" fmla="*/ 193800 w 846601"/>
                  <a:gd name="connsiteY34" fmla="*/ 6375 h 713363"/>
                  <a:gd name="connsiteX35" fmla="*/ 180413 w 846601"/>
                  <a:gd name="connsiteY35" fmla="*/ 61200 h 713363"/>
                  <a:gd name="connsiteX36" fmla="*/ 170850 w 846601"/>
                  <a:gd name="connsiteY36" fmla="*/ 76500 h 713363"/>
                  <a:gd name="connsiteX37" fmla="*/ 131325 w 846601"/>
                  <a:gd name="connsiteY37" fmla="*/ 174038 h 713363"/>
                  <a:gd name="connsiteX38" fmla="*/ 119850 w 846601"/>
                  <a:gd name="connsiteY38" fmla="*/ 227588 h 713363"/>
                  <a:gd name="connsiteX39" fmla="*/ 112838 w 846601"/>
                  <a:gd name="connsiteY39" fmla="*/ 228225 h 713363"/>
                  <a:gd name="connsiteX40" fmla="*/ 75863 w 846601"/>
                  <a:gd name="connsiteY40" fmla="*/ 316838 h 713363"/>
                  <a:gd name="connsiteX41" fmla="*/ 51000 w 846601"/>
                  <a:gd name="connsiteY41" fmla="*/ 354451 h 713363"/>
                  <a:gd name="connsiteX42" fmla="*/ 41438 w 846601"/>
                  <a:gd name="connsiteY42" fmla="*/ 360826 h 713363"/>
                  <a:gd name="connsiteX43" fmla="*/ 18487 w 846601"/>
                  <a:gd name="connsiteY43" fmla="*/ 406088 h 713363"/>
                  <a:gd name="connsiteX44" fmla="*/ 14025 w 846601"/>
                  <a:gd name="connsiteY44" fmla="*/ 453901 h 713363"/>
                  <a:gd name="connsiteX45" fmla="*/ 0 w 846601"/>
                  <a:gd name="connsiteY45" fmla="*/ 495976 h 713363"/>
                  <a:gd name="connsiteX46" fmla="*/ 8288 w 846601"/>
                  <a:gd name="connsiteY46" fmla="*/ 533588 h 713363"/>
                  <a:gd name="connsiteX47" fmla="*/ 8288 w 846601"/>
                  <a:gd name="connsiteY47" fmla="*/ 533588 h 713363"/>
                  <a:gd name="connsiteX48" fmla="*/ 8288 w 846601"/>
                  <a:gd name="connsiteY48" fmla="*/ 533588 h 713363"/>
                  <a:gd name="connsiteX49" fmla="*/ 244163 w 846601"/>
                  <a:gd name="connsiteY49" fmla="*/ 5737 h 713363"/>
                  <a:gd name="connsiteX50" fmla="*/ 242250 w 846601"/>
                  <a:gd name="connsiteY50" fmla="*/ 0 h 713363"/>
                  <a:gd name="connsiteX51" fmla="*/ 241613 w 846601"/>
                  <a:gd name="connsiteY51" fmla="*/ 4462 h 713363"/>
                  <a:gd name="connsiteX52" fmla="*/ 244163 w 846601"/>
                  <a:gd name="connsiteY52" fmla="*/ 5737 h 713363"/>
                  <a:gd name="connsiteX53" fmla="*/ 244163 w 846601"/>
                  <a:gd name="connsiteY53" fmla="*/ 5737 h 71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46601" h="713363">
                    <a:moveTo>
                      <a:pt x="8288" y="533588"/>
                    </a:moveTo>
                    <a:lnTo>
                      <a:pt x="110288" y="564826"/>
                    </a:lnTo>
                    <a:lnTo>
                      <a:pt x="385051" y="640689"/>
                    </a:lnTo>
                    <a:lnTo>
                      <a:pt x="409913" y="647064"/>
                    </a:lnTo>
                    <a:lnTo>
                      <a:pt x="427763" y="651526"/>
                    </a:lnTo>
                    <a:lnTo>
                      <a:pt x="590326" y="689776"/>
                    </a:lnTo>
                    <a:lnTo>
                      <a:pt x="680851" y="709539"/>
                    </a:lnTo>
                    <a:lnTo>
                      <a:pt x="698701" y="713364"/>
                    </a:lnTo>
                    <a:lnTo>
                      <a:pt x="701251" y="699976"/>
                    </a:lnTo>
                    <a:lnTo>
                      <a:pt x="761814" y="446888"/>
                    </a:lnTo>
                    <a:lnTo>
                      <a:pt x="745877" y="406726"/>
                    </a:lnTo>
                    <a:lnTo>
                      <a:pt x="747789" y="390788"/>
                    </a:lnTo>
                    <a:lnTo>
                      <a:pt x="814727" y="303450"/>
                    </a:lnTo>
                    <a:lnTo>
                      <a:pt x="846602" y="224400"/>
                    </a:lnTo>
                    <a:lnTo>
                      <a:pt x="824927" y="200813"/>
                    </a:lnTo>
                    <a:lnTo>
                      <a:pt x="824289" y="188700"/>
                    </a:lnTo>
                    <a:lnTo>
                      <a:pt x="824289" y="188063"/>
                    </a:lnTo>
                    <a:lnTo>
                      <a:pt x="812177" y="185513"/>
                    </a:lnTo>
                    <a:lnTo>
                      <a:pt x="631764" y="144713"/>
                    </a:lnTo>
                    <a:lnTo>
                      <a:pt x="621564" y="149175"/>
                    </a:lnTo>
                    <a:lnTo>
                      <a:pt x="586501" y="143438"/>
                    </a:lnTo>
                    <a:lnTo>
                      <a:pt x="515101" y="151088"/>
                    </a:lnTo>
                    <a:lnTo>
                      <a:pt x="471113" y="145350"/>
                    </a:lnTo>
                    <a:lnTo>
                      <a:pt x="424576" y="144713"/>
                    </a:lnTo>
                    <a:lnTo>
                      <a:pt x="420751" y="133238"/>
                    </a:lnTo>
                    <a:lnTo>
                      <a:pt x="322576" y="123675"/>
                    </a:lnTo>
                    <a:lnTo>
                      <a:pt x="288151" y="105188"/>
                    </a:lnTo>
                    <a:lnTo>
                      <a:pt x="283688" y="93075"/>
                    </a:lnTo>
                    <a:lnTo>
                      <a:pt x="287513" y="44625"/>
                    </a:lnTo>
                    <a:lnTo>
                      <a:pt x="264563" y="19762"/>
                    </a:lnTo>
                    <a:lnTo>
                      <a:pt x="262651" y="20400"/>
                    </a:lnTo>
                    <a:lnTo>
                      <a:pt x="258188" y="23587"/>
                    </a:lnTo>
                    <a:lnTo>
                      <a:pt x="225675" y="7012"/>
                    </a:lnTo>
                    <a:lnTo>
                      <a:pt x="206550" y="12750"/>
                    </a:lnTo>
                    <a:lnTo>
                      <a:pt x="193800" y="6375"/>
                    </a:lnTo>
                    <a:lnTo>
                      <a:pt x="180413" y="61200"/>
                    </a:lnTo>
                    <a:lnTo>
                      <a:pt x="170850" y="76500"/>
                    </a:lnTo>
                    <a:lnTo>
                      <a:pt x="131325" y="174038"/>
                    </a:lnTo>
                    <a:lnTo>
                      <a:pt x="119850" y="227588"/>
                    </a:lnTo>
                    <a:lnTo>
                      <a:pt x="112838" y="228225"/>
                    </a:lnTo>
                    <a:lnTo>
                      <a:pt x="75863" y="316838"/>
                    </a:lnTo>
                    <a:lnTo>
                      <a:pt x="51000" y="354451"/>
                    </a:lnTo>
                    <a:lnTo>
                      <a:pt x="41438" y="360826"/>
                    </a:lnTo>
                    <a:lnTo>
                      <a:pt x="18487" y="406088"/>
                    </a:lnTo>
                    <a:lnTo>
                      <a:pt x="14025" y="453901"/>
                    </a:lnTo>
                    <a:lnTo>
                      <a:pt x="0" y="495976"/>
                    </a:lnTo>
                    <a:lnTo>
                      <a:pt x="8288" y="533588"/>
                    </a:lnTo>
                    <a:lnTo>
                      <a:pt x="8288" y="533588"/>
                    </a:lnTo>
                    <a:lnTo>
                      <a:pt x="8288" y="533588"/>
                    </a:lnTo>
                    <a:close/>
                    <a:moveTo>
                      <a:pt x="244163" y="5737"/>
                    </a:moveTo>
                    <a:lnTo>
                      <a:pt x="242250" y="0"/>
                    </a:lnTo>
                    <a:lnTo>
                      <a:pt x="241613" y="4462"/>
                    </a:lnTo>
                    <a:lnTo>
                      <a:pt x="244163" y="5737"/>
                    </a:lnTo>
                    <a:lnTo>
                      <a:pt x="244163" y="5737"/>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6" name="Freeform 31">
                <a:extLst>
                  <a:ext uri="{FF2B5EF4-FFF2-40B4-BE49-F238E27FC236}">
                    <a16:creationId xmlns:a16="http://schemas.microsoft.com/office/drawing/2014/main" id="{ACCF6025-CA28-809E-E0AF-BE3844D3FD71}"/>
                  </a:ext>
                </a:extLst>
              </p:cNvPr>
              <p:cNvSpPr/>
              <p:nvPr/>
            </p:nvSpPr>
            <p:spPr>
              <a:xfrm>
                <a:off x="2856198" y="2175136"/>
                <a:ext cx="586501" cy="739501"/>
              </a:xfrm>
              <a:custGeom>
                <a:avLst/>
                <a:gdLst>
                  <a:gd name="connsiteX0" fmla="*/ 383776 w 586501"/>
                  <a:gd name="connsiteY0" fmla="*/ 42713 h 739501"/>
                  <a:gd name="connsiteX1" fmla="*/ 218025 w 586501"/>
                  <a:gd name="connsiteY1" fmla="*/ 17850 h 739501"/>
                  <a:gd name="connsiteX2" fmla="*/ 125588 w 586501"/>
                  <a:gd name="connsiteY2" fmla="*/ 3188 h 739501"/>
                  <a:gd name="connsiteX3" fmla="*/ 107738 w 586501"/>
                  <a:gd name="connsiteY3" fmla="*/ 0 h 739501"/>
                  <a:gd name="connsiteX4" fmla="*/ 103913 w 586501"/>
                  <a:gd name="connsiteY4" fmla="*/ 20400 h 739501"/>
                  <a:gd name="connsiteX5" fmla="*/ 70125 w 586501"/>
                  <a:gd name="connsiteY5" fmla="*/ 228225 h 739501"/>
                  <a:gd name="connsiteX6" fmla="*/ 3188 w 586501"/>
                  <a:gd name="connsiteY6" fmla="*/ 643876 h 739501"/>
                  <a:gd name="connsiteX7" fmla="*/ 0 w 586501"/>
                  <a:gd name="connsiteY7" fmla="*/ 664276 h 739501"/>
                  <a:gd name="connsiteX8" fmla="*/ 16575 w 586501"/>
                  <a:gd name="connsiteY8" fmla="*/ 666826 h 739501"/>
                  <a:gd name="connsiteX9" fmla="*/ 182325 w 586501"/>
                  <a:gd name="connsiteY9" fmla="*/ 693601 h 739501"/>
                  <a:gd name="connsiteX10" fmla="*/ 298988 w 586501"/>
                  <a:gd name="connsiteY10" fmla="*/ 710177 h 739501"/>
                  <a:gd name="connsiteX11" fmla="*/ 515101 w 586501"/>
                  <a:gd name="connsiteY11" fmla="*/ 737589 h 739501"/>
                  <a:gd name="connsiteX12" fmla="*/ 531676 w 586501"/>
                  <a:gd name="connsiteY12" fmla="*/ 739502 h 739501"/>
                  <a:gd name="connsiteX13" fmla="*/ 532951 w 586501"/>
                  <a:gd name="connsiteY13" fmla="*/ 722927 h 739501"/>
                  <a:gd name="connsiteX14" fmla="*/ 538051 w 586501"/>
                  <a:gd name="connsiteY14" fmla="*/ 671926 h 739501"/>
                  <a:gd name="connsiteX15" fmla="*/ 550164 w 586501"/>
                  <a:gd name="connsiteY15" fmla="*/ 554626 h 739501"/>
                  <a:gd name="connsiteX16" fmla="*/ 584589 w 586501"/>
                  <a:gd name="connsiteY16" fmla="*/ 219938 h 739501"/>
                  <a:gd name="connsiteX17" fmla="*/ 586501 w 586501"/>
                  <a:gd name="connsiteY17" fmla="*/ 203363 h 739501"/>
                  <a:gd name="connsiteX18" fmla="*/ 573751 w 586501"/>
                  <a:gd name="connsiteY18" fmla="*/ 202088 h 739501"/>
                  <a:gd name="connsiteX19" fmla="*/ 409913 w 586501"/>
                  <a:gd name="connsiteY19" fmla="*/ 182325 h 739501"/>
                  <a:gd name="connsiteX20" fmla="*/ 385051 w 586501"/>
                  <a:gd name="connsiteY20" fmla="*/ 179138 h 739501"/>
                  <a:gd name="connsiteX21" fmla="*/ 400988 w 586501"/>
                  <a:gd name="connsiteY21" fmla="*/ 54188 h 739501"/>
                  <a:gd name="connsiteX22" fmla="*/ 402263 w 586501"/>
                  <a:gd name="connsiteY22" fmla="*/ 45900 h 739501"/>
                  <a:gd name="connsiteX23" fmla="*/ 383776 w 586501"/>
                  <a:gd name="connsiteY23" fmla="*/ 42713 h 739501"/>
                  <a:gd name="connsiteX24" fmla="*/ 383776 w 586501"/>
                  <a:gd name="connsiteY24" fmla="*/ 42713 h 73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86501" h="739501">
                    <a:moveTo>
                      <a:pt x="383776" y="42713"/>
                    </a:moveTo>
                    <a:lnTo>
                      <a:pt x="218025" y="17850"/>
                    </a:lnTo>
                    <a:lnTo>
                      <a:pt x="125588" y="3188"/>
                    </a:lnTo>
                    <a:lnTo>
                      <a:pt x="107738" y="0"/>
                    </a:lnTo>
                    <a:lnTo>
                      <a:pt x="103913" y="20400"/>
                    </a:lnTo>
                    <a:lnTo>
                      <a:pt x="70125" y="228225"/>
                    </a:lnTo>
                    <a:lnTo>
                      <a:pt x="3188" y="643876"/>
                    </a:lnTo>
                    <a:lnTo>
                      <a:pt x="0" y="664276"/>
                    </a:lnTo>
                    <a:lnTo>
                      <a:pt x="16575" y="666826"/>
                    </a:lnTo>
                    <a:lnTo>
                      <a:pt x="182325" y="693601"/>
                    </a:lnTo>
                    <a:lnTo>
                      <a:pt x="298988" y="710177"/>
                    </a:lnTo>
                    <a:lnTo>
                      <a:pt x="515101" y="737589"/>
                    </a:lnTo>
                    <a:lnTo>
                      <a:pt x="531676" y="739502"/>
                    </a:lnTo>
                    <a:lnTo>
                      <a:pt x="532951" y="722927"/>
                    </a:lnTo>
                    <a:lnTo>
                      <a:pt x="538051" y="671926"/>
                    </a:lnTo>
                    <a:lnTo>
                      <a:pt x="550164" y="554626"/>
                    </a:lnTo>
                    <a:lnTo>
                      <a:pt x="584589" y="219938"/>
                    </a:lnTo>
                    <a:lnTo>
                      <a:pt x="586501" y="203363"/>
                    </a:lnTo>
                    <a:lnTo>
                      <a:pt x="573751" y="202088"/>
                    </a:lnTo>
                    <a:lnTo>
                      <a:pt x="409913" y="182325"/>
                    </a:lnTo>
                    <a:lnTo>
                      <a:pt x="385051" y="179138"/>
                    </a:lnTo>
                    <a:lnTo>
                      <a:pt x="400988" y="54188"/>
                    </a:lnTo>
                    <a:lnTo>
                      <a:pt x="402263" y="45900"/>
                    </a:lnTo>
                    <a:lnTo>
                      <a:pt x="383776" y="42713"/>
                    </a:lnTo>
                    <a:lnTo>
                      <a:pt x="383776" y="427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7" name="Freeform 32">
                <a:extLst>
                  <a:ext uri="{FF2B5EF4-FFF2-40B4-BE49-F238E27FC236}">
                    <a16:creationId xmlns:a16="http://schemas.microsoft.com/office/drawing/2014/main" id="{D5BF6FFE-8528-8896-9972-40506935EDC7}"/>
                  </a:ext>
                </a:extLst>
              </p:cNvPr>
              <p:cNvSpPr/>
              <p:nvPr/>
            </p:nvSpPr>
            <p:spPr>
              <a:xfrm>
                <a:off x="3241249" y="1818135"/>
                <a:ext cx="731851" cy="598613"/>
              </a:xfrm>
              <a:custGeom>
                <a:avLst/>
                <a:gdLst>
                  <a:gd name="connsiteX0" fmla="*/ 719739 w 731851"/>
                  <a:gd name="connsiteY0" fmla="*/ 314926 h 598613"/>
                  <a:gd name="connsiteX1" fmla="*/ 724839 w 731851"/>
                  <a:gd name="connsiteY1" fmla="*/ 214838 h 598613"/>
                  <a:gd name="connsiteX2" fmla="*/ 731214 w 731851"/>
                  <a:gd name="connsiteY2" fmla="*/ 79688 h 598613"/>
                  <a:gd name="connsiteX3" fmla="*/ 731851 w 731851"/>
                  <a:gd name="connsiteY3" fmla="*/ 63113 h 598613"/>
                  <a:gd name="connsiteX4" fmla="*/ 723564 w 731851"/>
                  <a:gd name="connsiteY4" fmla="*/ 61838 h 598613"/>
                  <a:gd name="connsiteX5" fmla="*/ 559089 w 731851"/>
                  <a:gd name="connsiteY5" fmla="*/ 51638 h 598613"/>
                  <a:gd name="connsiteX6" fmla="*/ 466651 w 731851"/>
                  <a:gd name="connsiteY6" fmla="*/ 43988 h 598613"/>
                  <a:gd name="connsiteX7" fmla="*/ 291338 w 731851"/>
                  <a:gd name="connsiteY7" fmla="*/ 27412 h 598613"/>
                  <a:gd name="connsiteX8" fmla="*/ 71400 w 731851"/>
                  <a:gd name="connsiteY8" fmla="*/ 0 h 598613"/>
                  <a:gd name="connsiteX9" fmla="*/ 61838 w 731851"/>
                  <a:gd name="connsiteY9" fmla="*/ 63113 h 598613"/>
                  <a:gd name="connsiteX10" fmla="*/ 61200 w 731851"/>
                  <a:gd name="connsiteY10" fmla="*/ 66938 h 598613"/>
                  <a:gd name="connsiteX11" fmla="*/ 58650 w 731851"/>
                  <a:gd name="connsiteY11" fmla="*/ 87975 h 598613"/>
                  <a:gd name="connsiteX12" fmla="*/ 47175 w 731851"/>
                  <a:gd name="connsiteY12" fmla="*/ 170850 h 598613"/>
                  <a:gd name="connsiteX13" fmla="*/ 25500 w 731851"/>
                  <a:gd name="connsiteY13" fmla="*/ 337876 h 598613"/>
                  <a:gd name="connsiteX14" fmla="*/ 19763 w 731851"/>
                  <a:gd name="connsiteY14" fmla="*/ 379313 h 598613"/>
                  <a:gd name="connsiteX15" fmla="*/ 17213 w 731851"/>
                  <a:gd name="connsiteY15" fmla="*/ 400351 h 598613"/>
                  <a:gd name="connsiteX16" fmla="*/ 15938 w 731851"/>
                  <a:gd name="connsiteY16" fmla="*/ 408638 h 598613"/>
                  <a:gd name="connsiteX17" fmla="*/ 0 w 731851"/>
                  <a:gd name="connsiteY17" fmla="*/ 533589 h 598613"/>
                  <a:gd name="connsiteX18" fmla="*/ 24863 w 731851"/>
                  <a:gd name="connsiteY18" fmla="*/ 536776 h 598613"/>
                  <a:gd name="connsiteX19" fmla="*/ 188700 w 731851"/>
                  <a:gd name="connsiteY19" fmla="*/ 556539 h 598613"/>
                  <a:gd name="connsiteX20" fmla="*/ 201450 w 731851"/>
                  <a:gd name="connsiteY20" fmla="*/ 557814 h 598613"/>
                  <a:gd name="connsiteX21" fmla="*/ 216750 w 731851"/>
                  <a:gd name="connsiteY21" fmla="*/ 559726 h 598613"/>
                  <a:gd name="connsiteX22" fmla="*/ 375488 w 731851"/>
                  <a:gd name="connsiteY22" fmla="*/ 575026 h 598613"/>
                  <a:gd name="connsiteX23" fmla="*/ 502351 w 731851"/>
                  <a:gd name="connsiteY23" fmla="*/ 585864 h 598613"/>
                  <a:gd name="connsiteX24" fmla="*/ 692964 w 731851"/>
                  <a:gd name="connsiteY24" fmla="*/ 597976 h 598613"/>
                  <a:gd name="connsiteX25" fmla="*/ 705714 w 731851"/>
                  <a:gd name="connsiteY25" fmla="*/ 598614 h 598613"/>
                  <a:gd name="connsiteX26" fmla="*/ 706351 w 731851"/>
                  <a:gd name="connsiteY26" fmla="*/ 582039 h 598613"/>
                  <a:gd name="connsiteX27" fmla="*/ 709539 w 731851"/>
                  <a:gd name="connsiteY27" fmla="*/ 514464 h 598613"/>
                  <a:gd name="connsiteX28" fmla="*/ 715277 w 731851"/>
                  <a:gd name="connsiteY28" fmla="*/ 396526 h 598613"/>
                  <a:gd name="connsiteX29" fmla="*/ 717827 w 731851"/>
                  <a:gd name="connsiteY29" fmla="*/ 346163 h 598613"/>
                  <a:gd name="connsiteX30" fmla="*/ 718464 w 731851"/>
                  <a:gd name="connsiteY30" fmla="*/ 329588 h 598613"/>
                  <a:gd name="connsiteX31" fmla="*/ 719739 w 731851"/>
                  <a:gd name="connsiteY31" fmla="*/ 314926 h 598613"/>
                  <a:gd name="connsiteX32" fmla="*/ 719739 w 731851"/>
                  <a:gd name="connsiteY32" fmla="*/ 314926 h 59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31851" h="598613">
                    <a:moveTo>
                      <a:pt x="719739" y="314926"/>
                    </a:moveTo>
                    <a:lnTo>
                      <a:pt x="724839" y="214838"/>
                    </a:lnTo>
                    <a:lnTo>
                      <a:pt x="731214" y="79688"/>
                    </a:lnTo>
                    <a:lnTo>
                      <a:pt x="731851" y="63113"/>
                    </a:lnTo>
                    <a:lnTo>
                      <a:pt x="723564" y="61838"/>
                    </a:lnTo>
                    <a:lnTo>
                      <a:pt x="559089" y="51638"/>
                    </a:lnTo>
                    <a:lnTo>
                      <a:pt x="466651" y="43988"/>
                    </a:lnTo>
                    <a:lnTo>
                      <a:pt x="291338" y="27412"/>
                    </a:lnTo>
                    <a:lnTo>
                      <a:pt x="71400" y="0"/>
                    </a:lnTo>
                    <a:lnTo>
                      <a:pt x="61838" y="63113"/>
                    </a:lnTo>
                    <a:lnTo>
                      <a:pt x="61200" y="66938"/>
                    </a:lnTo>
                    <a:lnTo>
                      <a:pt x="58650" y="87975"/>
                    </a:lnTo>
                    <a:lnTo>
                      <a:pt x="47175" y="170850"/>
                    </a:lnTo>
                    <a:lnTo>
                      <a:pt x="25500" y="337876"/>
                    </a:lnTo>
                    <a:lnTo>
                      <a:pt x="19763" y="379313"/>
                    </a:lnTo>
                    <a:lnTo>
                      <a:pt x="17213" y="400351"/>
                    </a:lnTo>
                    <a:lnTo>
                      <a:pt x="15938" y="408638"/>
                    </a:lnTo>
                    <a:lnTo>
                      <a:pt x="0" y="533589"/>
                    </a:lnTo>
                    <a:lnTo>
                      <a:pt x="24863" y="536776"/>
                    </a:lnTo>
                    <a:lnTo>
                      <a:pt x="188700" y="556539"/>
                    </a:lnTo>
                    <a:lnTo>
                      <a:pt x="201450" y="557814"/>
                    </a:lnTo>
                    <a:lnTo>
                      <a:pt x="216750" y="559726"/>
                    </a:lnTo>
                    <a:lnTo>
                      <a:pt x="375488" y="575026"/>
                    </a:lnTo>
                    <a:lnTo>
                      <a:pt x="502351" y="585864"/>
                    </a:lnTo>
                    <a:lnTo>
                      <a:pt x="692964" y="597976"/>
                    </a:lnTo>
                    <a:lnTo>
                      <a:pt x="705714" y="598614"/>
                    </a:lnTo>
                    <a:lnTo>
                      <a:pt x="706351" y="582039"/>
                    </a:lnTo>
                    <a:lnTo>
                      <a:pt x="709539" y="514464"/>
                    </a:lnTo>
                    <a:lnTo>
                      <a:pt x="715277" y="396526"/>
                    </a:lnTo>
                    <a:lnTo>
                      <a:pt x="717827" y="346163"/>
                    </a:lnTo>
                    <a:lnTo>
                      <a:pt x="718464" y="329588"/>
                    </a:lnTo>
                    <a:lnTo>
                      <a:pt x="719739" y="314926"/>
                    </a:lnTo>
                    <a:lnTo>
                      <a:pt x="719739" y="314926"/>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8" name="Freeform 33">
                <a:extLst>
                  <a:ext uri="{FF2B5EF4-FFF2-40B4-BE49-F238E27FC236}">
                    <a16:creationId xmlns:a16="http://schemas.microsoft.com/office/drawing/2014/main" id="{ED470262-76D5-B37B-1EA4-FE3828FFED78}"/>
                  </a:ext>
                </a:extLst>
              </p:cNvPr>
              <p:cNvSpPr/>
              <p:nvPr/>
            </p:nvSpPr>
            <p:spPr>
              <a:xfrm>
                <a:off x="4941465" y="2972650"/>
                <a:ext cx="535501" cy="504901"/>
              </a:xfrm>
              <a:custGeom>
                <a:avLst/>
                <a:gdLst>
                  <a:gd name="connsiteX0" fmla="*/ 535501 w 535501"/>
                  <a:gd name="connsiteY0" fmla="*/ 59288 h 504901"/>
                  <a:gd name="connsiteX1" fmla="*/ 466013 w 535501"/>
                  <a:gd name="connsiteY1" fmla="*/ 70125 h 504901"/>
                  <a:gd name="connsiteX2" fmla="*/ 494701 w 535501"/>
                  <a:gd name="connsiteY2" fmla="*/ 24863 h 504901"/>
                  <a:gd name="connsiteX3" fmla="*/ 482589 w 535501"/>
                  <a:gd name="connsiteY3" fmla="*/ 0 h 504901"/>
                  <a:gd name="connsiteX4" fmla="*/ 237788 w 535501"/>
                  <a:gd name="connsiteY4" fmla="*/ 23588 h 504901"/>
                  <a:gd name="connsiteX5" fmla="*/ 30600 w 535501"/>
                  <a:gd name="connsiteY5" fmla="*/ 40163 h 504901"/>
                  <a:gd name="connsiteX6" fmla="*/ 0 w 535501"/>
                  <a:gd name="connsiteY6" fmla="*/ 42075 h 504901"/>
                  <a:gd name="connsiteX7" fmla="*/ 3825 w 535501"/>
                  <a:gd name="connsiteY7" fmla="*/ 59925 h 504901"/>
                  <a:gd name="connsiteX8" fmla="*/ 28688 w 535501"/>
                  <a:gd name="connsiteY8" fmla="*/ 189338 h 504901"/>
                  <a:gd name="connsiteX9" fmla="*/ 29325 w 535501"/>
                  <a:gd name="connsiteY9" fmla="*/ 218663 h 504901"/>
                  <a:gd name="connsiteX10" fmla="*/ 36338 w 535501"/>
                  <a:gd name="connsiteY10" fmla="*/ 393338 h 504901"/>
                  <a:gd name="connsiteX11" fmla="*/ 36975 w 535501"/>
                  <a:gd name="connsiteY11" fmla="*/ 422664 h 504901"/>
                  <a:gd name="connsiteX12" fmla="*/ 38887 w 535501"/>
                  <a:gd name="connsiteY12" fmla="*/ 423301 h 504901"/>
                  <a:gd name="connsiteX13" fmla="*/ 49088 w 535501"/>
                  <a:gd name="connsiteY13" fmla="*/ 434139 h 504901"/>
                  <a:gd name="connsiteX14" fmla="*/ 87338 w 535501"/>
                  <a:gd name="connsiteY14" fmla="*/ 432864 h 504901"/>
                  <a:gd name="connsiteX15" fmla="*/ 91163 w 535501"/>
                  <a:gd name="connsiteY15" fmla="*/ 488964 h 504901"/>
                  <a:gd name="connsiteX16" fmla="*/ 92438 w 535501"/>
                  <a:gd name="connsiteY16" fmla="*/ 504901 h 504901"/>
                  <a:gd name="connsiteX17" fmla="*/ 112200 w 535501"/>
                  <a:gd name="connsiteY17" fmla="*/ 502989 h 504901"/>
                  <a:gd name="connsiteX18" fmla="*/ 172763 w 535501"/>
                  <a:gd name="connsiteY18" fmla="*/ 498526 h 504901"/>
                  <a:gd name="connsiteX19" fmla="*/ 415013 w 535501"/>
                  <a:gd name="connsiteY19" fmla="*/ 476214 h 504901"/>
                  <a:gd name="connsiteX20" fmla="*/ 416288 w 535501"/>
                  <a:gd name="connsiteY20" fmla="*/ 476214 h 504901"/>
                  <a:gd name="connsiteX21" fmla="*/ 415651 w 535501"/>
                  <a:gd name="connsiteY21" fmla="*/ 462188 h 504901"/>
                  <a:gd name="connsiteX22" fmla="*/ 422026 w 535501"/>
                  <a:gd name="connsiteY22" fmla="*/ 457726 h 504901"/>
                  <a:gd name="connsiteX23" fmla="*/ 410551 w 535501"/>
                  <a:gd name="connsiteY23" fmla="*/ 436051 h 504901"/>
                  <a:gd name="connsiteX24" fmla="*/ 434776 w 535501"/>
                  <a:gd name="connsiteY24" fmla="*/ 333413 h 504901"/>
                  <a:gd name="connsiteX25" fmla="*/ 424576 w 535501"/>
                  <a:gd name="connsiteY25" fmla="*/ 321938 h 504901"/>
                  <a:gd name="connsiteX26" fmla="*/ 460913 w 535501"/>
                  <a:gd name="connsiteY26" fmla="*/ 281776 h 504901"/>
                  <a:gd name="connsiteX27" fmla="*/ 458363 w 535501"/>
                  <a:gd name="connsiteY27" fmla="*/ 247351 h 504901"/>
                  <a:gd name="connsiteX28" fmla="*/ 485776 w 535501"/>
                  <a:gd name="connsiteY28" fmla="*/ 202088 h 504901"/>
                  <a:gd name="connsiteX29" fmla="*/ 485776 w 535501"/>
                  <a:gd name="connsiteY29" fmla="*/ 201451 h 504901"/>
                  <a:gd name="connsiteX30" fmla="*/ 484501 w 535501"/>
                  <a:gd name="connsiteY30" fmla="*/ 200176 h 504901"/>
                  <a:gd name="connsiteX31" fmla="*/ 507451 w 535501"/>
                  <a:gd name="connsiteY31" fmla="*/ 179138 h 504901"/>
                  <a:gd name="connsiteX32" fmla="*/ 501076 w 535501"/>
                  <a:gd name="connsiteY32" fmla="*/ 153638 h 504901"/>
                  <a:gd name="connsiteX33" fmla="*/ 518926 w 535501"/>
                  <a:gd name="connsiteY33" fmla="*/ 124950 h 504901"/>
                  <a:gd name="connsiteX34" fmla="*/ 515101 w 535501"/>
                  <a:gd name="connsiteY34" fmla="*/ 98175 h 504901"/>
                  <a:gd name="connsiteX35" fmla="*/ 535501 w 535501"/>
                  <a:gd name="connsiteY35" fmla="*/ 59288 h 504901"/>
                  <a:gd name="connsiteX36" fmla="*/ 535501 w 535501"/>
                  <a:gd name="connsiteY36" fmla="*/ 59288 h 504901"/>
                  <a:gd name="connsiteX37" fmla="*/ 535501 w 535501"/>
                  <a:gd name="connsiteY37" fmla="*/ 59288 h 504901"/>
                  <a:gd name="connsiteX38" fmla="*/ 535501 w 535501"/>
                  <a:gd name="connsiteY38" fmla="*/ 59288 h 5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35501" h="504901">
                    <a:moveTo>
                      <a:pt x="535501" y="59288"/>
                    </a:moveTo>
                    <a:lnTo>
                      <a:pt x="466013" y="70125"/>
                    </a:lnTo>
                    <a:lnTo>
                      <a:pt x="494701" y="24863"/>
                    </a:lnTo>
                    <a:lnTo>
                      <a:pt x="482589" y="0"/>
                    </a:lnTo>
                    <a:lnTo>
                      <a:pt x="237788" y="23588"/>
                    </a:lnTo>
                    <a:lnTo>
                      <a:pt x="30600" y="40163"/>
                    </a:lnTo>
                    <a:lnTo>
                      <a:pt x="0" y="42075"/>
                    </a:lnTo>
                    <a:lnTo>
                      <a:pt x="3825" y="59925"/>
                    </a:lnTo>
                    <a:lnTo>
                      <a:pt x="28688" y="189338"/>
                    </a:lnTo>
                    <a:lnTo>
                      <a:pt x="29325" y="218663"/>
                    </a:lnTo>
                    <a:lnTo>
                      <a:pt x="36338" y="393338"/>
                    </a:lnTo>
                    <a:lnTo>
                      <a:pt x="36975" y="422664"/>
                    </a:lnTo>
                    <a:lnTo>
                      <a:pt x="38887" y="423301"/>
                    </a:lnTo>
                    <a:lnTo>
                      <a:pt x="49088" y="434139"/>
                    </a:lnTo>
                    <a:lnTo>
                      <a:pt x="87338" y="432864"/>
                    </a:lnTo>
                    <a:lnTo>
                      <a:pt x="91163" y="488964"/>
                    </a:lnTo>
                    <a:lnTo>
                      <a:pt x="92438" y="504901"/>
                    </a:lnTo>
                    <a:lnTo>
                      <a:pt x="112200" y="502989"/>
                    </a:lnTo>
                    <a:lnTo>
                      <a:pt x="172763" y="498526"/>
                    </a:lnTo>
                    <a:lnTo>
                      <a:pt x="415013" y="476214"/>
                    </a:lnTo>
                    <a:lnTo>
                      <a:pt x="416288" y="476214"/>
                    </a:lnTo>
                    <a:lnTo>
                      <a:pt x="415651" y="462188"/>
                    </a:lnTo>
                    <a:lnTo>
                      <a:pt x="422026" y="457726"/>
                    </a:lnTo>
                    <a:lnTo>
                      <a:pt x="410551" y="436051"/>
                    </a:lnTo>
                    <a:lnTo>
                      <a:pt x="434776" y="333413"/>
                    </a:lnTo>
                    <a:lnTo>
                      <a:pt x="424576" y="321938"/>
                    </a:lnTo>
                    <a:lnTo>
                      <a:pt x="460913" y="281776"/>
                    </a:lnTo>
                    <a:lnTo>
                      <a:pt x="458363" y="247351"/>
                    </a:lnTo>
                    <a:lnTo>
                      <a:pt x="485776" y="202088"/>
                    </a:lnTo>
                    <a:lnTo>
                      <a:pt x="485776" y="201451"/>
                    </a:lnTo>
                    <a:lnTo>
                      <a:pt x="484501" y="200176"/>
                    </a:lnTo>
                    <a:lnTo>
                      <a:pt x="507451" y="179138"/>
                    </a:lnTo>
                    <a:lnTo>
                      <a:pt x="501076" y="153638"/>
                    </a:lnTo>
                    <a:lnTo>
                      <a:pt x="518926" y="124950"/>
                    </a:lnTo>
                    <a:lnTo>
                      <a:pt x="515101" y="98175"/>
                    </a:lnTo>
                    <a:lnTo>
                      <a:pt x="535501" y="59288"/>
                    </a:lnTo>
                    <a:lnTo>
                      <a:pt x="535501" y="59288"/>
                    </a:lnTo>
                    <a:lnTo>
                      <a:pt x="535501" y="59288"/>
                    </a:lnTo>
                    <a:lnTo>
                      <a:pt x="535501" y="59288"/>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29" name="Freeform 34">
                <a:extLst>
                  <a:ext uri="{FF2B5EF4-FFF2-40B4-BE49-F238E27FC236}">
                    <a16:creationId xmlns:a16="http://schemas.microsoft.com/office/drawing/2014/main" id="{C9B8B98F-FCBD-8611-2865-929CBB6B6498}"/>
                  </a:ext>
                </a:extLst>
              </p:cNvPr>
              <p:cNvSpPr/>
              <p:nvPr/>
            </p:nvSpPr>
            <p:spPr>
              <a:xfrm>
                <a:off x="4690927" y="2046998"/>
                <a:ext cx="650888" cy="423938"/>
              </a:xfrm>
              <a:custGeom>
                <a:avLst/>
                <a:gdLst>
                  <a:gd name="connsiteX0" fmla="*/ 594151 w 650888"/>
                  <a:gd name="connsiteY0" fmla="*/ 122400 h 423938"/>
                  <a:gd name="connsiteX1" fmla="*/ 559088 w 650888"/>
                  <a:gd name="connsiteY1" fmla="*/ 103913 h 423938"/>
                  <a:gd name="connsiteX2" fmla="*/ 539963 w 650888"/>
                  <a:gd name="connsiteY2" fmla="*/ 77138 h 423938"/>
                  <a:gd name="connsiteX3" fmla="*/ 533588 w 650888"/>
                  <a:gd name="connsiteY3" fmla="*/ 39525 h 423938"/>
                  <a:gd name="connsiteX4" fmla="*/ 538689 w 650888"/>
                  <a:gd name="connsiteY4" fmla="*/ 22313 h 423938"/>
                  <a:gd name="connsiteX5" fmla="*/ 520201 w 650888"/>
                  <a:gd name="connsiteY5" fmla="*/ 0 h 423938"/>
                  <a:gd name="connsiteX6" fmla="*/ 520201 w 650888"/>
                  <a:gd name="connsiteY6" fmla="*/ 0 h 423938"/>
                  <a:gd name="connsiteX7" fmla="*/ 488326 w 650888"/>
                  <a:gd name="connsiteY7" fmla="*/ 3188 h 423938"/>
                  <a:gd name="connsiteX8" fmla="*/ 172125 w 650888"/>
                  <a:gd name="connsiteY8" fmla="*/ 29963 h 423938"/>
                  <a:gd name="connsiteX9" fmla="*/ 45900 w 650888"/>
                  <a:gd name="connsiteY9" fmla="*/ 36975 h 423938"/>
                  <a:gd name="connsiteX10" fmla="*/ 13387 w 650888"/>
                  <a:gd name="connsiteY10" fmla="*/ 38888 h 423938"/>
                  <a:gd name="connsiteX11" fmla="*/ 0 w 650888"/>
                  <a:gd name="connsiteY11" fmla="*/ 39525 h 423938"/>
                  <a:gd name="connsiteX12" fmla="*/ 11475 w 650888"/>
                  <a:gd name="connsiteY12" fmla="*/ 110925 h 423938"/>
                  <a:gd name="connsiteX13" fmla="*/ 1912 w 650888"/>
                  <a:gd name="connsiteY13" fmla="*/ 144075 h 423938"/>
                  <a:gd name="connsiteX14" fmla="*/ 15938 w 650888"/>
                  <a:gd name="connsiteY14" fmla="*/ 165113 h 423938"/>
                  <a:gd name="connsiteX15" fmla="*/ 15938 w 650888"/>
                  <a:gd name="connsiteY15" fmla="*/ 169575 h 423938"/>
                  <a:gd name="connsiteX16" fmla="*/ 20400 w 650888"/>
                  <a:gd name="connsiteY16" fmla="*/ 170213 h 423938"/>
                  <a:gd name="connsiteX17" fmla="*/ 40800 w 650888"/>
                  <a:gd name="connsiteY17" fmla="*/ 230138 h 423938"/>
                  <a:gd name="connsiteX18" fmla="*/ 60563 w 650888"/>
                  <a:gd name="connsiteY18" fmla="*/ 262013 h 423938"/>
                  <a:gd name="connsiteX19" fmla="*/ 61837 w 650888"/>
                  <a:gd name="connsiteY19" fmla="*/ 297713 h 423938"/>
                  <a:gd name="connsiteX20" fmla="*/ 83513 w 650888"/>
                  <a:gd name="connsiteY20" fmla="*/ 328313 h 423938"/>
                  <a:gd name="connsiteX21" fmla="*/ 79688 w 650888"/>
                  <a:gd name="connsiteY21" fmla="*/ 341063 h 423938"/>
                  <a:gd name="connsiteX22" fmla="*/ 99450 w 650888"/>
                  <a:gd name="connsiteY22" fmla="*/ 422026 h 423938"/>
                  <a:gd name="connsiteX23" fmla="*/ 99450 w 650888"/>
                  <a:gd name="connsiteY23" fmla="*/ 423938 h 423938"/>
                  <a:gd name="connsiteX24" fmla="*/ 99450 w 650888"/>
                  <a:gd name="connsiteY24" fmla="*/ 423938 h 423938"/>
                  <a:gd name="connsiteX25" fmla="*/ 231413 w 650888"/>
                  <a:gd name="connsiteY25" fmla="*/ 420113 h 423938"/>
                  <a:gd name="connsiteX26" fmla="*/ 372301 w 650888"/>
                  <a:gd name="connsiteY26" fmla="*/ 408001 h 423938"/>
                  <a:gd name="connsiteX27" fmla="*/ 510638 w 650888"/>
                  <a:gd name="connsiteY27" fmla="*/ 390788 h 423938"/>
                  <a:gd name="connsiteX28" fmla="*/ 542513 w 650888"/>
                  <a:gd name="connsiteY28" fmla="*/ 418838 h 423938"/>
                  <a:gd name="connsiteX29" fmla="*/ 543789 w 650888"/>
                  <a:gd name="connsiteY29" fmla="*/ 420113 h 423938"/>
                  <a:gd name="connsiteX30" fmla="*/ 549526 w 650888"/>
                  <a:gd name="connsiteY30" fmla="*/ 417563 h 423938"/>
                  <a:gd name="connsiteX31" fmla="*/ 545064 w 650888"/>
                  <a:gd name="connsiteY31" fmla="*/ 392701 h 423938"/>
                  <a:gd name="connsiteX32" fmla="*/ 568651 w 650888"/>
                  <a:gd name="connsiteY32" fmla="*/ 378038 h 423938"/>
                  <a:gd name="connsiteX33" fmla="*/ 578851 w 650888"/>
                  <a:gd name="connsiteY33" fmla="*/ 312376 h 423938"/>
                  <a:gd name="connsiteX34" fmla="*/ 568651 w 650888"/>
                  <a:gd name="connsiteY34" fmla="*/ 307913 h 423938"/>
                  <a:gd name="connsiteX35" fmla="*/ 574389 w 650888"/>
                  <a:gd name="connsiteY35" fmla="*/ 274763 h 423938"/>
                  <a:gd name="connsiteX36" fmla="*/ 603713 w 650888"/>
                  <a:gd name="connsiteY36" fmla="*/ 269026 h 423938"/>
                  <a:gd name="connsiteX37" fmla="*/ 636226 w 650888"/>
                  <a:gd name="connsiteY37" fmla="*/ 246076 h 423938"/>
                  <a:gd name="connsiteX38" fmla="*/ 650251 w 650888"/>
                  <a:gd name="connsiteY38" fmla="*/ 205913 h 423938"/>
                  <a:gd name="connsiteX39" fmla="*/ 650889 w 650888"/>
                  <a:gd name="connsiteY39" fmla="*/ 185513 h 423938"/>
                  <a:gd name="connsiteX40" fmla="*/ 625389 w 650888"/>
                  <a:gd name="connsiteY40" fmla="*/ 161288 h 423938"/>
                  <a:gd name="connsiteX41" fmla="*/ 617739 w 650888"/>
                  <a:gd name="connsiteY41" fmla="*/ 145988 h 423938"/>
                  <a:gd name="connsiteX42" fmla="*/ 593514 w 650888"/>
                  <a:gd name="connsiteY42" fmla="*/ 130688 h 423938"/>
                  <a:gd name="connsiteX43" fmla="*/ 594789 w 650888"/>
                  <a:gd name="connsiteY43" fmla="*/ 127500 h 423938"/>
                  <a:gd name="connsiteX44" fmla="*/ 594789 w 650888"/>
                  <a:gd name="connsiteY44" fmla="*/ 122400 h 423938"/>
                  <a:gd name="connsiteX45" fmla="*/ 594151 w 650888"/>
                  <a:gd name="connsiteY45" fmla="*/ 122400 h 42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50888" h="423938">
                    <a:moveTo>
                      <a:pt x="594151" y="122400"/>
                    </a:moveTo>
                    <a:lnTo>
                      <a:pt x="559088" y="103913"/>
                    </a:lnTo>
                    <a:lnTo>
                      <a:pt x="539963" y="77138"/>
                    </a:lnTo>
                    <a:lnTo>
                      <a:pt x="533588" y="39525"/>
                    </a:lnTo>
                    <a:lnTo>
                      <a:pt x="538689" y="22313"/>
                    </a:lnTo>
                    <a:lnTo>
                      <a:pt x="520201" y="0"/>
                    </a:lnTo>
                    <a:lnTo>
                      <a:pt x="520201" y="0"/>
                    </a:lnTo>
                    <a:lnTo>
                      <a:pt x="488326" y="3188"/>
                    </a:lnTo>
                    <a:lnTo>
                      <a:pt x="172125" y="29963"/>
                    </a:lnTo>
                    <a:lnTo>
                      <a:pt x="45900" y="36975"/>
                    </a:lnTo>
                    <a:lnTo>
                      <a:pt x="13387" y="38888"/>
                    </a:lnTo>
                    <a:lnTo>
                      <a:pt x="0" y="39525"/>
                    </a:lnTo>
                    <a:lnTo>
                      <a:pt x="11475" y="110925"/>
                    </a:lnTo>
                    <a:lnTo>
                      <a:pt x="1912" y="144075"/>
                    </a:lnTo>
                    <a:lnTo>
                      <a:pt x="15938" y="165113"/>
                    </a:lnTo>
                    <a:lnTo>
                      <a:pt x="15938" y="169575"/>
                    </a:lnTo>
                    <a:lnTo>
                      <a:pt x="20400" y="170213"/>
                    </a:lnTo>
                    <a:lnTo>
                      <a:pt x="40800" y="230138"/>
                    </a:lnTo>
                    <a:lnTo>
                      <a:pt x="60563" y="262013"/>
                    </a:lnTo>
                    <a:lnTo>
                      <a:pt x="61837" y="297713"/>
                    </a:lnTo>
                    <a:lnTo>
                      <a:pt x="83513" y="328313"/>
                    </a:lnTo>
                    <a:lnTo>
                      <a:pt x="79688" y="341063"/>
                    </a:lnTo>
                    <a:lnTo>
                      <a:pt x="99450" y="422026"/>
                    </a:lnTo>
                    <a:lnTo>
                      <a:pt x="99450" y="423938"/>
                    </a:lnTo>
                    <a:lnTo>
                      <a:pt x="99450" y="423938"/>
                    </a:lnTo>
                    <a:lnTo>
                      <a:pt x="231413" y="420113"/>
                    </a:lnTo>
                    <a:lnTo>
                      <a:pt x="372301" y="408001"/>
                    </a:lnTo>
                    <a:lnTo>
                      <a:pt x="510638" y="390788"/>
                    </a:lnTo>
                    <a:lnTo>
                      <a:pt x="542513" y="418838"/>
                    </a:lnTo>
                    <a:lnTo>
                      <a:pt x="543789" y="420113"/>
                    </a:lnTo>
                    <a:lnTo>
                      <a:pt x="549526" y="417563"/>
                    </a:lnTo>
                    <a:lnTo>
                      <a:pt x="545064" y="392701"/>
                    </a:lnTo>
                    <a:lnTo>
                      <a:pt x="568651" y="378038"/>
                    </a:lnTo>
                    <a:lnTo>
                      <a:pt x="578851" y="312376"/>
                    </a:lnTo>
                    <a:lnTo>
                      <a:pt x="568651" y="307913"/>
                    </a:lnTo>
                    <a:lnTo>
                      <a:pt x="574389" y="274763"/>
                    </a:lnTo>
                    <a:lnTo>
                      <a:pt x="603713" y="269026"/>
                    </a:lnTo>
                    <a:lnTo>
                      <a:pt x="636226" y="246076"/>
                    </a:lnTo>
                    <a:lnTo>
                      <a:pt x="650251" y="205913"/>
                    </a:lnTo>
                    <a:lnTo>
                      <a:pt x="650889" y="185513"/>
                    </a:lnTo>
                    <a:lnTo>
                      <a:pt x="625389" y="161288"/>
                    </a:lnTo>
                    <a:lnTo>
                      <a:pt x="617739" y="145988"/>
                    </a:lnTo>
                    <a:lnTo>
                      <a:pt x="593514" y="130688"/>
                    </a:lnTo>
                    <a:lnTo>
                      <a:pt x="594789" y="127500"/>
                    </a:lnTo>
                    <a:lnTo>
                      <a:pt x="594789" y="122400"/>
                    </a:lnTo>
                    <a:lnTo>
                      <a:pt x="594151" y="12240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0" name="Freeform 35">
                <a:extLst>
                  <a:ext uri="{FF2B5EF4-FFF2-40B4-BE49-F238E27FC236}">
                    <a16:creationId xmlns:a16="http://schemas.microsoft.com/office/drawing/2014/main" id="{E64E51F1-1B7C-6EBF-C7D5-7DBEEE95783E}"/>
                  </a:ext>
                </a:extLst>
              </p:cNvPr>
              <p:cNvSpPr/>
              <p:nvPr/>
            </p:nvSpPr>
            <p:spPr>
              <a:xfrm>
                <a:off x="4139488" y="2548711"/>
                <a:ext cx="798789" cy="416288"/>
              </a:xfrm>
              <a:custGeom>
                <a:avLst/>
                <a:gdLst>
                  <a:gd name="connsiteX0" fmla="*/ 797514 w 798789"/>
                  <a:gd name="connsiteY0" fmla="*/ 381863 h 416288"/>
                  <a:gd name="connsiteX1" fmla="*/ 781577 w 798789"/>
                  <a:gd name="connsiteY1" fmla="*/ 109650 h 416288"/>
                  <a:gd name="connsiteX2" fmla="*/ 752252 w 798789"/>
                  <a:gd name="connsiteY2" fmla="*/ 93075 h 416288"/>
                  <a:gd name="connsiteX3" fmla="*/ 749702 w 798789"/>
                  <a:gd name="connsiteY3" fmla="*/ 80325 h 416288"/>
                  <a:gd name="connsiteX4" fmla="*/ 726752 w 798789"/>
                  <a:gd name="connsiteY4" fmla="*/ 59925 h 416288"/>
                  <a:gd name="connsiteX5" fmla="*/ 749064 w 798789"/>
                  <a:gd name="connsiteY5" fmla="*/ 31875 h 416288"/>
                  <a:gd name="connsiteX6" fmla="*/ 739502 w 798789"/>
                  <a:gd name="connsiteY6" fmla="*/ 15938 h 416288"/>
                  <a:gd name="connsiteX7" fmla="*/ 722926 w 798789"/>
                  <a:gd name="connsiteY7" fmla="*/ 16575 h 416288"/>
                  <a:gd name="connsiteX8" fmla="*/ 707627 w 798789"/>
                  <a:gd name="connsiteY8" fmla="*/ 5100 h 416288"/>
                  <a:gd name="connsiteX9" fmla="*/ 701252 w 798789"/>
                  <a:gd name="connsiteY9" fmla="*/ 0 h 416288"/>
                  <a:gd name="connsiteX10" fmla="*/ 679576 w 798789"/>
                  <a:gd name="connsiteY10" fmla="*/ 1275 h 416288"/>
                  <a:gd name="connsiteX11" fmla="*/ 442426 w 798789"/>
                  <a:gd name="connsiteY11" fmla="*/ 10837 h 416288"/>
                  <a:gd name="connsiteX12" fmla="*/ 334051 w 798789"/>
                  <a:gd name="connsiteY12" fmla="*/ 13388 h 416288"/>
                  <a:gd name="connsiteX13" fmla="*/ 118575 w 798789"/>
                  <a:gd name="connsiteY13" fmla="*/ 13388 h 416288"/>
                  <a:gd name="connsiteX14" fmla="*/ 31875 w 798789"/>
                  <a:gd name="connsiteY14" fmla="*/ 12112 h 416288"/>
                  <a:gd name="connsiteX15" fmla="*/ 7650 w 798789"/>
                  <a:gd name="connsiteY15" fmla="*/ 11475 h 416288"/>
                  <a:gd name="connsiteX16" fmla="*/ 7650 w 798789"/>
                  <a:gd name="connsiteY16" fmla="*/ 23587 h 416288"/>
                  <a:gd name="connsiteX17" fmla="*/ 7013 w 798789"/>
                  <a:gd name="connsiteY17" fmla="*/ 61200 h 416288"/>
                  <a:gd name="connsiteX18" fmla="*/ 0 w 798789"/>
                  <a:gd name="connsiteY18" fmla="*/ 400988 h 416288"/>
                  <a:gd name="connsiteX19" fmla="*/ 0 w 798789"/>
                  <a:gd name="connsiteY19" fmla="*/ 413738 h 416288"/>
                  <a:gd name="connsiteX20" fmla="*/ 28050 w 798789"/>
                  <a:gd name="connsiteY20" fmla="*/ 414376 h 416288"/>
                  <a:gd name="connsiteX21" fmla="*/ 177225 w 798789"/>
                  <a:gd name="connsiteY21" fmla="*/ 416288 h 416288"/>
                  <a:gd name="connsiteX22" fmla="*/ 525939 w 798789"/>
                  <a:gd name="connsiteY22" fmla="*/ 411188 h 416288"/>
                  <a:gd name="connsiteX23" fmla="*/ 774564 w 798789"/>
                  <a:gd name="connsiteY23" fmla="*/ 399713 h 416288"/>
                  <a:gd name="connsiteX24" fmla="*/ 798789 w 798789"/>
                  <a:gd name="connsiteY24" fmla="*/ 397801 h 416288"/>
                  <a:gd name="connsiteX25" fmla="*/ 797514 w 798789"/>
                  <a:gd name="connsiteY25" fmla="*/ 381863 h 416288"/>
                  <a:gd name="connsiteX26" fmla="*/ 797514 w 798789"/>
                  <a:gd name="connsiteY26" fmla="*/ 381863 h 41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8789" h="416288">
                    <a:moveTo>
                      <a:pt x="797514" y="381863"/>
                    </a:moveTo>
                    <a:lnTo>
                      <a:pt x="781577" y="109650"/>
                    </a:lnTo>
                    <a:lnTo>
                      <a:pt x="752252" y="93075"/>
                    </a:lnTo>
                    <a:lnTo>
                      <a:pt x="749702" y="80325"/>
                    </a:lnTo>
                    <a:lnTo>
                      <a:pt x="726752" y="59925"/>
                    </a:lnTo>
                    <a:lnTo>
                      <a:pt x="749064" y="31875"/>
                    </a:lnTo>
                    <a:lnTo>
                      <a:pt x="739502" y="15938"/>
                    </a:lnTo>
                    <a:lnTo>
                      <a:pt x="722926" y="16575"/>
                    </a:lnTo>
                    <a:lnTo>
                      <a:pt x="707627" y="5100"/>
                    </a:lnTo>
                    <a:lnTo>
                      <a:pt x="701252" y="0"/>
                    </a:lnTo>
                    <a:lnTo>
                      <a:pt x="679576" y="1275"/>
                    </a:lnTo>
                    <a:lnTo>
                      <a:pt x="442426" y="10837"/>
                    </a:lnTo>
                    <a:lnTo>
                      <a:pt x="334051" y="13388"/>
                    </a:lnTo>
                    <a:lnTo>
                      <a:pt x="118575" y="13388"/>
                    </a:lnTo>
                    <a:lnTo>
                      <a:pt x="31875" y="12112"/>
                    </a:lnTo>
                    <a:lnTo>
                      <a:pt x="7650" y="11475"/>
                    </a:lnTo>
                    <a:lnTo>
                      <a:pt x="7650" y="23587"/>
                    </a:lnTo>
                    <a:lnTo>
                      <a:pt x="7013" y="61200"/>
                    </a:lnTo>
                    <a:lnTo>
                      <a:pt x="0" y="400988"/>
                    </a:lnTo>
                    <a:lnTo>
                      <a:pt x="0" y="413738"/>
                    </a:lnTo>
                    <a:lnTo>
                      <a:pt x="28050" y="414376"/>
                    </a:lnTo>
                    <a:lnTo>
                      <a:pt x="177225" y="416288"/>
                    </a:lnTo>
                    <a:lnTo>
                      <a:pt x="525939" y="411188"/>
                    </a:lnTo>
                    <a:lnTo>
                      <a:pt x="774564" y="399713"/>
                    </a:lnTo>
                    <a:lnTo>
                      <a:pt x="798789" y="397801"/>
                    </a:lnTo>
                    <a:lnTo>
                      <a:pt x="797514" y="381863"/>
                    </a:lnTo>
                    <a:lnTo>
                      <a:pt x="797514" y="381863"/>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1" name="Freeform 36">
                <a:extLst>
                  <a:ext uri="{FF2B5EF4-FFF2-40B4-BE49-F238E27FC236}">
                    <a16:creationId xmlns:a16="http://schemas.microsoft.com/office/drawing/2014/main" id="{7ACBAAA3-E80E-E8BE-918D-67EE4C41C316}"/>
                  </a:ext>
                </a:extLst>
              </p:cNvPr>
              <p:cNvSpPr/>
              <p:nvPr/>
            </p:nvSpPr>
            <p:spPr>
              <a:xfrm>
                <a:off x="4789740" y="2437149"/>
                <a:ext cx="736951" cy="606263"/>
              </a:xfrm>
              <a:custGeom>
                <a:avLst/>
                <a:gdLst>
                  <a:gd name="connsiteX0" fmla="*/ 443701 w 736951"/>
                  <a:gd name="connsiteY0" fmla="*/ 28050 h 606263"/>
                  <a:gd name="connsiteX1" fmla="*/ 411826 w 736951"/>
                  <a:gd name="connsiteY1" fmla="*/ 0 h 606263"/>
                  <a:gd name="connsiteX2" fmla="*/ 273488 w 736951"/>
                  <a:gd name="connsiteY2" fmla="*/ 17212 h 606263"/>
                  <a:gd name="connsiteX3" fmla="*/ 132600 w 736951"/>
                  <a:gd name="connsiteY3" fmla="*/ 29325 h 606263"/>
                  <a:gd name="connsiteX4" fmla="*/ 637 w 736951"/>
                  <a:gd name="connsiteY4" fmla="*/ 33150 h 606263"/>
                  <a:gd name="connsiteX5" fmla="*/ 637 w 736951"/>
                  <a:gd name="connsiteY5" fmla="*/ 33150 h 606263"/>
                  <a:gd name="connsiteX6" fmla="*/ 0 w 736951"/>
                  <a:gd name="connsiteY6" fmla="*/ 36975 h 606263"/>
                  <a:gd name="connsiteX7" fmla="*/ 15938 w 736951"/>
                  <a:gd name="connsiteY7" fmla="*/ 68213 h 606263"/>
                  <a:gd name="connsiteX8" fmla="*/ 30600 w 736951"/>
                  <a:gd name="connsiteY8" fmla="*/ 79050 h 606263"/>
                  <a:gd name="connsiteX9" fmla="*/ 47813 w 736951"/>
                  <a:gd name="connsiteY9" fmla="*/ 110288 h 606263"/>
                  <a:gd name="connsiteX10" fmla="*/ 50362 w 736951"/>
                  <a:gd name="connsiteY10" fmla="*/ 112838 h 606263"/>
                  <a:gd name="connsiteX11" fmla="*/ 56737 w 736951"/>
                  <a:gd name="connsiteY11" fmla="*/ 117938 h 606263"/>
                  <a:gd name="connsiteX12" fmla="*/ 72038 w 736951"/>
                  <a:gd name="connsiteY12" fmla="*/ 129413 h 606263"/>
                  <a:gd name="connsiteX13" fmla="*/ 88612 w 736951"/>
                  <a:gd name="connsiteY13" fmla="*/ 128775 h 606263"/>
                  <a:gd name="connsiteX14" fmla="*/ 98175 w 736951"/>
                  <a:gd name="connsiteY14" fmla="*/ 144713 h 606263"/>
                  <a:gd name="connsiteX15" fmla="*/ 75862 w 736951"/>
                  <a:gd name="connsiteY15" fmla="*/ 172763 h 606263"/>
                  <a:gd name="connsiteX16" fmla="*/ 98813 w 736951"/>
                  <a:gd name="connsiteY16" fmla="*/ 193163 h 606263"/>
                  <a:gd name="connsiteX17" fmla="*/ 101362 w 736951"/>
                  <a:gd name="connsiteY17" fmla="*/ 205913 h 606263"/>
                  <a:gd name="connsiteX18" fmla="*/ 130688 w 736951"/>
                  <a:gd name="connsiteY18" fmla="*/ 222488 h 606263"/>
                  <a:gd name="connsiteX19" fmla="*/ 146625 w 736951"/>
                  <a:gd name="connsiteY19" fmla="*/ 494701 h 606263"/>
                  <a:gd name="connsiteX20" fmla="*/ 147263 w 736951"/>
                  <a:gd name="connsiteY20" fmla="*/ 511276 h 606263"/>
                  <a:gd name="connsiteX21" fmla="*/ 148538 w 736951"/>
                  <a:gd name="connsiteY21" fmla="*/ 527851 h 606263"/>
                  <a:gd name="connsiteX22" fmla="*/ 149175 w 736951"/>
                  <a:gd name="connsiteY22" fmla="*/ 544426 h 606263"/>
                  <a:gd name="connsiteX23" fmla="*/ 150450 w 736951"/>
                  <a:gd name="connsiteY23" fmla="*/ 561639 h 606263"/>
                  <a:gd name="connsiteX24" fmla="*/ 151087 w 736951"/>
                  <a:gd name="connsiteY24" fmla="*/ 578214 h 606263"/>
                  <a:gd name="connsiteX25" fmla="*/ 181688 w 736951"/>
                  <a:gd name="connsiteY25" fmla="*/ 576301 h 606263"/>
                  <a:gd name="connsiteX26" fmla="*/ 388876 w 736951"/>
                  <a:gd name="connsiteY26" fmla="*/ 559726 h 606263"/>
                  <a:gd name="connsiteX27" fmla="*/ 633676 w 736951"/>
                  <a:gd name="connsiteY27" fmla="*/ 536139 h 606263"/>
                  <a:gd name="connsiteX28" fmla="*/ 645789 w 736951"/>
                  <a:gd name="connsiteY28" fmla="*/ 561001 h 606263"/>
                  <a:gd name="connsiteX29" fmla="*/ 617101 w 736951"/>
                  <a:gd name="connsiteY29" fmla="*/ 606264 h 606263"/>
                  <a:gd name="connsiteX30" fmla="*/ 686589 w 736951"/>
                  <a:gd name="connsiteY30" fmla="*/ 595426 h 606263"/>
                  <a:gd name="connsiteX31" fmla="*/ 687226 w 736951"/>
                  <a:gd name="connsiteY31" fmla="*/ 595426 h 606263"/>
                  <a:gd name="connsiteX32" fmla="*/ 687226 w 736951"/>
                  <a:gd name="connsiteY32" fmla="*/ 590326 h 606263"/>
                  <a:gd name="connsiteX33" fmla="*/ 688501 w 736951"/>
                  <a:gd name="connsiteY33" fmla="*/ 560364 h 606263"/>
                  <a:gd name="connsiteX34" fmla="*/ 701251 w 736951"/>
                  <a:gd name="connsiteY34" fmla="*/ 544426 h 606263"/>
                  <a:gd name="connsiteX35" fmla="*/ 697426 w 736951"/>
                  <a:gd name="connsiteY35" fmla="*/ 526576 h 606263"/>
                  <a:gd name="connsiteX36" fmla="*/ 696789 w 736951"/>
                  <a:gd name="connsiteY36" fmla="*/ 525938 h 606263"/>
                  <a:gd name="connsiteX37" fmla="*/ 696151 w 736951"/>
                  <a:gd name="connsiteY37" fmla="*/ 525301 h 606263"/>
                  <a:gd name="connsiteX38" fmla="*/ 698701 w 736951"/>
                  <a:gd name="connsiteY38" fmla="*/ 517014 h 606263"/>
                  <a:gd name="connsiteX39" fmla="*/ 702526 w 736951"/>
                  <a:gd name="connsiteY39" fmla="*/ 518289 h 606263"/>
                  <a:gd name="connsiteX40" fmla="*/ 704439 w 736951"/>
                  <a:gd name="connsiteY40" fmla="*/ 523389 h 606263"/>
                  <a:gd name="connsiteX41" fmla="*/ 703801 w 736951"/>
                  <a:gd name="connsiteY41" fmla="*/ 525301 h 606263"/>
                  <a:gd name="connsiteX42" fmla="*/ 703801 w 736951"/>
                  <a:gd name="connsiteY42" fmla="*/ 525938 h 606263"/>
                  <a:gd name="connsiteX43" fmla="*/ 703801 w 736951"/>
                  <a:gd name="connsiteY43" fmla="*/ 531039 h 606263"/>
                  <a:gd name="connsiteX44" fmla="*/ 706351 w 736951"/>
                  <a:gd name="connsiteY44" fmla="*/ 531676 h 606263"/>
                  <a:gd name="connsiteX45" fmla="*/ 711451 w 736951"/>
                  <a:gd name="connsiteY45" fmla="*/ 525301 h 606263"/>
                  <a:gd name="connsiteX46" fmla="*/ 711451 w 736951"/>
                  <a:gd name="connsiteY46" fmla="*/ 524664 h 606263"/>
                  <a:gd name="connsiteX47" fmla="*/ 712089 w 736951"/>
                  <a:gd name="connsiteY47" fmla="*/ 522751 h 606263"/>
                  <a:gd name="connsiteX48" fmla="*/ 728664 w 736951"/>
                  <a:gd name="connsiteY48" fmla="*/ 511914 h 606263"/>
                  <a:gd name="connsiteX49" fmla="*/ 731214 w 736951"/>
                  <a:gd name="connsiteY49" fmla="*/ 510639 h 606263"/>
                  <a:gd name="connsiteX50" fmla="*/ 736951 w 736951"/>
                  <a:gd name="connsiteY50" fmla="*/ 457726 h 606263"/>
                  <a:gd name="connsiteX51" fmla="*/ 735676 w 736951"/>
                  <a:gd name="connsiteY51" fmla="*/ 455176 h 606263"/>
                  <a:gd name="connsiteX52" fmla="*/ 733764 w 736951"/>
                  <a:gd name="connsiteY52" fmla="*/ 454539 h 606263"/>
                  <a:gd name="connsiteX53" fmla="*/ 687864 w 736951"/>
                  <a:gd name="connsiteY53" fmla="*/ 417563 h 606263"/>
                  <a:gd name="connsiteX54" fmla="*/ 694876 w 736951"/>
                  <a:gd name="connsiteY54" fmla="*/ 404176 h 606263"/>
                  <a:gd name="connsiteX55" fmla="*/ 682126 w 736951"/>
                  <a:gd name="connsiteY55" fmla="*/ 367838 h 606263"/>
                  <a:gd name="connsiteX56" fmla="*/ 659176 w 736951"/>
                  <a:gd name="connsiteY56" fmla="*/ 349988 h 606263"/>
                  <a:gd name="connsiteX57" fmla="*/ 615189 w 736951"/>
                  <a:gd name="connsiteY57" fmla="*/ 330863 h 606263"/>
                  <a:gd name="connsiteX58" fmla="*/ 587139 w 736951"/>
                  <a:gd name="connsiteY58" fmla="*/ 308551 h 606263"/>
                  <a:gd name="connsiteX59" fmla="*/ 590326 w 736951"/>
                  <a:gd name="connsiteY59" fmla="*/ 262013 h 606263"/>
                  <a:gd name="connsiteX60" fmla="*/ 598613 w 736951"/>
                  <a:gd name="connsiteY60" fmla="*/ 219300 h 606263"/>
                  <a:gd name="connsiteX61" fmla="*/ 552076 w 736951"/>
                  <a:gd name="connsiteY61" fmla="*/ 221850 h 606263"/>
                  <a:gd name="connsiteX62" fmla="*/ 538051 w 736951"/>
                  <a:gd name="connsiteY62" fmla="*/ 207188 h 606263"/>
                  <a:gd name="connsiteX63" fmla="*/ 531676 w 736951"/>
                  <a:gd name="connsiteY63" fmla="*/ 177225 h 606263"/>
                  <a:gd name="connsiteX64" fmla="*/ 458363 w 736951"/>
                  <a:gd name="connsiteY64" fmla="*/ 115388 h 606263"/>
                  <a:gd name="connsiteX65" fmla="*/ 437963 w 736951"/>
                  <a:gd name="connsiteY65" fmla="*/ 58650 h 606263"/>
                  <a:gd name="connsiteX66" fmla="*/ 443063 w 736951"/>
                  <a:gd name="connsiteY66" fmla="*/ 29962 h 606263"/>
                  <a:gd name="connsiteX67" fmla="*/ 443063 w 736951"/>
                  <a:gd name="connsiteY67" fmla="*/ 29962 h 606263"/>
                  <a:gd name="connsiteX68" fmla="*/ 443701 w 736951"/>
                  <a:gd name="connsiteY68" fmla="*/ 28050 h 606263"/>
                  <a:gd name="connsiteX69" fmla="*/ 443701 w 736951"/>
                  <a:gd name="connsiteY69" fmla="*/ 28050 h 60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36951" h="606263">
                    <a:moveTo>
                      <a:pt x="443701" y="28050"/>
                    </a:moveTo>
                    <a:lnTo>
                      <a:pt x="411826" y="0"/>
                    </a:lnTo>
                    <a:lnTo>
                      <a:pt x="273488" y="17212"/>
                    </a:lnTo>
                    <a:lnTo>
                      <a:pt x="132600" y="29325"/>
                    </a:lnTo>
                    <a:lnTo>
                      <a:pt x="637" y="33150"/>
                    </a:lnTo>
                    <a:lnTo>
                      <a:pt x="637" y="33150"/>
                    </a:lnTo>
                    <a:lnTo>
                      <a:pt x="0" y="36975"/>
                    </a:lnTo>
                    <a:lnTo>
                      <a:pt x="15938" y="68213"/>
                    </a:lnTo>
                    <a:lnTo>
                      <a:pt x="30600" y="79050"/>
                    </a:lnTo>
                    <a:lnTo>
                      <a:pt x="47813" y="110288"/>
                    </a:lnTo>
                    <a:lnTo>
                      <a:pt x="50362" y="112838"/>
                    </a:lnTo>
                    <a:lnTo>
                      <a:pt x="56737" y="117938"/>
                    </a:lnTo>
                    <a:lnTo>
                      <a:pt x="72038" y="129413"/>
                    </a:lnTo>
                    <a:lnTo>
                      <a:pt x="88612" y="128775"/>
                    </a:lnTo>
                    <a:lnTo>
                      <a:pt x="98175" y="144713"/>
                    </a:lnTo>
                    <a:lnTo>
                      <a:pt x="75862" y="172763"/>
                    </a:lnTo>
                    <a:lnTo>
                      <a:pt x="98813" y="193163"/>
                    </a:lnTo>
                    <a:lnTo>
                      <a:pt x="101362" y="205913"/>
                    </a:lnTo>
                    <a:lnTo>
                      <a:pt x="130688" y="222488"/>
                    </a:lnTo>
                    <a:lnTo>
                      <a:pt x="146625" y="494701"/>
                    </a:lnTo>
                    <a:lnTo>
                      <a:pt x="147263" y="511276"/>
                    </a:lnTo>
                    <a:lnTo>
                      <a:pt x="148538" y="527851"/>
                    </a:lnTo>
                    <a:lnTo>
                      <a:pt x="149175" y="544426"/>
                    </a:lnTo>
                    <a:lnTo>
                      <a:pt x="150450" y="561639"/>
                    </a:lnTo>
                    <a:lnTo>
                      <a:pt x="151087" y="578214"/>
                    </a:lnTo>
                    <a:lnTo>
                      <a:pt x="181688" y="576301"/>
                    </a:lnTo>
                    <a:lnTo>
                      <a:pt x="388876" y="559726"/>
                    </a:lnTo>
                    <a:lnTo>
                      <a:pt x="633676" y="536139"/>
                    </a:lnTo>
                    <a:lnTo>
                      <a:pt x="645789" y="561001"/>
                    </a:lnTo>
                    <a:lnTo>
                      <a:pt x="617101" y="606264"/>
                    </a:lnTo>
                    <a:lnTo>
                      <a:pt x="686589" y="595426"/>
                    </a:lnTo>
                    <a:lnTo>
                      <a:pt x="687226" y="595426"/>
                    </a:lnTo>
                    <a:lnTo>
                      <a:pt x="687226" y="590326"/>
                    </a:lnTo>
                    <a:lnTo>
                      <a:pt x="688501" y="560364"/>
                    </a:lnTo>
                    <a:lnTo>
                      <a:pt x="701251" y="544426"/>
                    </a:lnTo>
                    <a:lnTo>
                      <a:pt x="697426" y="526576"/>
                    </a:lnTo>
                    <a:lnTo>
                      <a:pt x="696789" y="525938"/>
                    </a:lnTo>
                    <a:lnTo>
                      <a:pt x="696151" y="525301"/>
                    </a:lnTo>
                    <a:lnTo>
                      <a:pt x="698701" y="517014"/>
                    </a:lnTo>
                    <a:lnTo>
                      <a:pt x="702526" y="518289"/>
                    </a:lnTo>
                    <a:lnTo>
                      <a:pt x="704439" y="523389"/>
                    </a:lnTo>
                    <a:lnTo>
                      <a:pt x="703801" y="525301"/>
                    </a:lnTo>
                    <a:lnTo>
                      <a:pt x="703801" y="525938"/>
                    </a:lnTo>
                    <a:lnTo>
                      <a:pt x="703801" y="531039"/>
                    </a:lnTo>
                    <a:lnTo>
                      <a:pt x="706351" y="531676"/>
                    </a:lnTo>
                    <a:lnTo>
                      <a:pt x="711451" y="525301"/>
                    </a:lnTo>
                    <a:lnTo>
                      <a:pt x="711451" y="524664"/>
                    </a:lnTo>
                    <a:lnTo>
                      <a:pt x="712089" y="522751"/>
                    </a:lnTo>
                    <a:lnTo>
                      <a:pt x="728664" y="511914"/>
                    </a:lnTo>
                    <a:lnTo>
                      <a:pt x="731214" y="510639"/>
                    </a:lnTo>
                    <a:lnTo>
                      <a:pt x="736951" y="457726"/>
                    </a:lnTo>
                    <a:lnTo>
                      <a:pt x="735676" y="455176"/>
                    </a:lnTo>
                    <a:lnTo>
                      <a:pt x="733764" y="454539"/>
                    </a:lnTo>
                    <a:lnTo>
                      <a:pt x="687864" y="417563"/>
                    </a:lnTo>
                    <a:lnTo>
                      <a:pt x="694876" y="404176"/>
                    </a:lnTo>
                    <a:lnTo>
                      <a:pt x="682126" y="367838"/>
                    </a:lnTo>
                    <a:lnTo>
                      <a:pt x="659176" y="349988"/>
                    </a:lnTo>
                    <a:lnTo>
                      <a:pt x="615189" y="330863"/>
                    </a:lnTo>
                    <a:lnTo>
                      <a:pt x="587139" y="308551"/>
                    </a:lnTo>
                    <a:lnTo>
                      <a:pt x="590326" y="262013"/>
                    </a:lnTo>
                    <a:lnTo>
                      <a:pt x="598613" y="219300"/>
                    </a:lnTo>
                    <a:lnTo>
                      <a:pt x="552076" y="221850"/>
                    </a:lnTo>
                    <a:lnTo>
                      <a:pt x="538051" y="207188"/>
                    </a:lnTo>
                    <a:lnTo>
                      <a:pt x="531676" y="177225"/>
                    </a:lnTo>
                    <a:lnTo>
                      <a:pt x="458363" y="115388"/>
                    </a:lnTo>
                    <a:lnTo>
                      <a:pt x="437963" y="58650"/>
                    </a:lnTo>
                    <a:lnTo>
                      <a:pt x="443063" y="29962"/>
                    </a:lnTo>
                    <a:lnTo>
                      <a:pt x="443063" y="29962"/>
                    </a:lnTo>
                    <a:lnTo>
                      <a:pt x="443701" y="28050"/>
                    </a:lnTo>
                    <a:lnTo>
                      <a:pt x="443701" y="2805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2" name="Freeform 37">
                <a:extLst>
                  <a:ext uri="{FF2B5EF4-FFF2-40B4-BE49-F238E27FC236}">
                    <a16:creationId xmlns:a16="http://schemas.microsoft.com/office/drawing/2014/main" id="{6490AB39-A995-3DBA-1900-58C588E7838E}"/>
                  </a:ext>
                </a:extLst>
              </p:cNvPr>
              <p:cNvSpPr/>
              <p:nvPr/>
            </p:nvSpPr>
            <p:spPr>
              <a:xfrm>
                <a:off x="3947600" y="2150911"/>
                <a:ext cx="893776" cy="412463"/>
              </a:xfrm>
              <a:custGeom>
                <a:avLst/>
                <a:gdLst>
                  <a:gd name="connsiteX0" fmla="*/ 747152 w 893776"/>
                  <a:gd name="connsiteY0" fmla="*/ 64387 h 412463"/>
                  <a:gd name="connsiteX1" fmla="*/ 727389 w 893776"/>
                  <a:gd name="connsiteY1" fmla="*/ 44625 h 412463"/>
                  <a:gd name="connsiteX2" fmla="*/ 657264 w 893776"/>
                  <a:gd name="connsiteY2" fmla="*/ 24225 h 412463"/>
                  <a:gd name="connsiteX3" fmla="*/ 634952 w 893776"/>
                  <a:gd name="connsiteY3" fmla="*/ 23587 h 412463"/>
                  <a:gd name="connsiteX4" fmla="*/ 601164 w 893776"/>
                  <a:gd name="connsiteY4" fmla="*/ 33787 h 412463"/>
                  <a:gd name="connsiteX5" fmla="*/ 561001 w 893776"/>
                  <a:gd name="connsiteY5" fmla="*/ 8287 h 412463"/>
                  <a:gd name="connsiteX6" fmla="*/ 434776 w 893776"/>
                  <a:gd name="connsiteY6" fmla="*/ 9563 h 412463"/>
                  <a:gd name="connsiteX7" fmla="*/ 249901 w 893776"/>
                  <a:gd name="connsiteY7" fmla="*/ 7650 h 412463"/>
                  <a:gd name="connsiteX8" fmla="*/ 31875 w 893776"/>
                  <a:gd name="connsiteY8" fmla="*/ 637 h 412463"/>
                  <a:gd name="connsiteX9" fmla="*/ 12750 w 893776"/>
                  <a:gd name="connsiteY9" fmla="*/ 0 h 412463"/>
                  <a:gd name="connsiteX10" fmla="*/ 12113 w 893776"/>
                  <a:gd name="connsiteY10" fmla="*/ 16575 h 412463"/>
                  <a:gd name="connsiteX11" fmla="*/ 9563 w 893776"/>
                  <a:gd name="connsiteY11" fmla="*/ 66938 h 412463"/>
                  <a:gd name="connsiteX12" fmla="*/ 3825 w 893776"/>
                  <a:gd name="connsiteY12" fmla="*/ 184875 h 412463"/>
                  <a:gd name="connsiteX13" fmla="*/ 638 w 893776"/>
                  <a:gd name="connsiteY13" fmla="*/ 252450 h 412463"/>
                  <a:gd name="connsiteX14" fmla="*/ 0 w 893776"/>
                  <a:gd name="connsiteY14" fmla="*/ 269025 h 412463"/>
                  <a:gd name="connsiteX15" fmla="*/ 15300 w 893776"/>
                  <a:gd name="connsiteY15" fmla="*/ 269663 h 412463"/>
                  <a:gd name="connsiteX16" fmla="*/ 172125 w 893776"/>
                  <a:gd name="connsiteY16" fmla="*/ 275400 h 412463"/>
                  <a:gd name="connsiteX17" fmla="*/ 203363 w 893776"/>
                  <a:gd name="connsiteY17" fmla="*/ 276676 h 412463"/>
                  <a:gd name="connsiteX18" fmla="*/ 200813 w 893776"/>
                  <a:gd name="connsiteY18" fmla="*/ 402263 h 412463"/>
                  <a:gd name="connsiteX19" fmla="*/ 200176 w 893776"/>
                  <a:gd name="connsiteY19" fmla="*/ 410551 h 412463"/>
                  <a:gd name="connsiteX20" fmla="*/ 224401 w 893776"/>
                  <a:gd name="connsiteY20" fmla="*/ 411188 h 412463"/>
                  <a:gd name="connsiteX21" fmla="*/ 311101 w 893776"/>
                  <a:gd name="connsiteY21" fmla="*/ 412463 h 412463"/>
                  <a:gd name="connsiteX22" fmla="*/ 526576 w 893776"/>
                  <a:gd name="connsiteY22" fmla="*/ 412463 h 412463"/>
                  <a:gd name="connsiteX23" fmla="*/ 634952 w 893776"/>
                  <a:gd name="connsiteY23" fmla="*/ 409913 h 412463"/>
                  <a:gd name="connsiteX24" fmla="*/ 872102 w 893776"/>
                  <a:gd name="connsiteY24" fmla="*/ 400351 h 412463"/>
                  <a:gd name="connsiteX25" fmla="*/ 893777 w 893776"/>
                  <a:gd name="connsiteY25" fmla="*/ 399076 h 412463"/>
                  <a:gd name="connsiteX26" fmla="*/ 891227 w 893776"/>
                  <a:gd name="connsiteY26" fmla="*/ 396526 h 412463"/>
                  <a:gd name="connsiteX27" fmla="*/ 874015 w 893776"/>
                  <a:gd name="connsiteY27" fmla="*/ 365288 h 412463"/>
                  <a:gd name="connsiteX28" fmla="*/ 859352 w 893776"/>
                  <a:gd name="connsiteY28" fmla="*/ 354451 h 412463"/>
                  <a:gd name="connsiteX29" fmla="*/ 843414 w 893776"/>
                  <a:gd name="connsiteY29" fmla="*/ 323213 h 412463"/>
                  <a:gd name="connsiteX30" fmla="*/ 844052 w 893776"/>
                  <a:gd name="connsiteY30" fmla="*/ 319388 h 412463"/>
                  <a:gd name="connsiteX31" fmla="*/ 844052 w 893776"/>
                  <a:gd name="connsiteY31" fmla="*/ 318113 h 412463"/>
                  <a:gd name="connsiteX32" fmla="*/ 824289 w 893776"/>
                  <a:gd name="connsiteY32" fmla="*/ 237150 h 412463"/>
                  <a:gd name="connsiteX33" fmla="*/ 828114 w 893776"/>
                  <a:gd name="connsiteY33" fmla="*/ 224400 h 412463"/>
                  <a:gd name="connsiteX34" fmla="*/ 806439 w 893776"/>
                  <a:gd name="connsiteY34" fmla="*/ 193800 h 412463"/>
                  <a:gd name="connsiteX35" fmla="*/ 805164 w 893776"/>
                  <a:gd name="connsiteY35" fmla="*/ 158100 h 412463"/>
                  <a:gd name="connsiteX36" fmla="*/ 785402 w 893776"/>
                  <a:gd name="connsiteY36" fmla="*/ 126225 h 412463"/>
                  <a:gd name="connsiteX37" fmla="*/ 765002 w 893776"/>
                  <a:gd name="connsiteY37" fmla="*/ 66300 h 412463"/>
                  <a:gd name="connsiteX38" fmla="*/ 760539 w 893776"/>
                  <a:gd name="connsiteY38" fmla="*/ 65663 h 412463"/>
                  <a:gd name="connsiteX39" fmla="*/ 747152 w 893776"/>
                  <a:gd name="connsiteY39" fmla="*/ 64387 h 412463"/>
                  <a:gd name="connsiteX40" fmla="*/ 747152 w 893776"/>
                  <a:gd name="connsiteY40" fmla="*/ 64387 h 41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93776" h="412463">
                    <a:moveTo>
                      <a:pt x="747152" y="64387"/>
                    </a:moveTo>
                    <a:lnTo>
                      <a:pt x="727389" y="44625"/>
                    </a:lnTo>
                    <a:lnTo>
                      <a:pt x="657264" y="24225"/>
                    </a:lnTo>
                    <a:lnTo>
                      <a:pt x="634952" y="23587"/>
                    </a:lnTo>
                    <a:lnTo>
                      <a:pt x="601164" y="33787"/>
                    </a:lnTo>
                    <a:lnTo>
                      <a:pt x="561001" y="8287"/>
                    </a:lnTo>
                    <a:lnTo>
                      <a:pt x="434776" y="9563"/>
                    </a:lnTo>
                    <a:lnTo>
                      <a:pt x="249901" y="7650"/>
                    </a:lnTo>
                    <a:lnTo>
                      <a:pt x="31875" y="637"/>
                    </a:lnTo>
                    <a:lnTo>
                      <a:pt x="12750" y="0"/>
                    </a:lnTo>
                    <a:lnTo>
                      <a:pt x="12113" y="16575"/>
                    </a:lnTo>
                    <a:lnTo>
                      <a:pt x="9563" y="66938"/>
                    </a:lnTo>
                    <a:lnTo>
                      <a:pt x="3825" y="184875"/>
                    </a:lnTo>
                    <a:lnTo>
                      <a:pt x="638" y="252450"/>
                    </a:lnTo>
                    <a:lnTo>
                      <a:pt x="0" y="269025"/>
                    </a:lnTo>
                    <a:lnTo>
                      <a:pt x="15300" y="269663"/>
                    </a:lnTo>
                    <a:lnTo>
                      <a:pt x="172125" y="275400"/>
                    </a:lnTo>
                    <a:lnTo>
                      <a:pt x="203363" y="276676"/>
                    </a:lnTo>
                    <a:lnTo>
                      <a:pt x="200813" y="402263"/>
                    </a:lnTo>
                    <a:lnTo>
                      <a:pt x="200176" y="410551"/>
                    </a:lnTo>
                    <a:lnTo>
                      <a:pt x="224401" y="411188"/>
                    </a:lnTo>
                    <a:lnTo>
                      <a:pt x="311101" y="412463"/>
                    </a:lnTo>
                    <a:lnTo>
                      <a:pt x="526576" y="412463"/>
                    </a:lnTo>
                    <a:lnTo>
                      <a:pt x="634952" y="409913"/>
                    </a:lnTo>
                    <a:lnTo>
                      <a:pt x="872102" y="400351"/>
                    </a:lnTo>
                    <a:lnTo>
                      <a:pt x="893777" y="399076"/>
                    </a:lnTo>
                    <a:lnTo>
                      <a:pt x="891227" y="396526"/>
                    </a:lnTo>
                    <a:lnTo>
                      <a:pt x="874015" y="365288"/>
                    </a:lnTo>
                    <a:lnTo>
                      <a:pt x="859352" y="354451"/>
                    </a:lnTo>
                    <a:lnTo>
                      <a:pt x="843414" y="323213"/>
                    </a:lnTo>
                    <a:lnTo>
                      <a:pt x="844052" y="319388"/>
                    </a:lnTo>
                    <a:lnTo>
                      <a:pt x="844052" y="318113"/>
                    </a:lnTo>
                    <a:lnTo>
                      <a:pt x="824289" y="237150"/>
                    </a:lnTo>
                    <a:lnTo>
                      <a:pt x="828114" y="224400"/>
                    </a:lnTo>
                    <a:lnTo>
                      <a:pt x="806439" y="193800"/>
                    </a:lnTo>
                    <a:lnTo>
                      <a:pt x="805164" y="158100"/>
                    </a:lnTo>
                    <a:lnTo>
                      <a:pt x="785402" y="126225"/>
                    </a:lnTo>
                    <a:lnTo>
                      <a:pt x="765002" y="66300"/>
                    </a:lnTo>
                    <a:lnTo>
                      <a:pt x="760539" y="65663"/>
                    </a:lnTo>
                    <a:lnTo>
                      <a:pt x="747152" y="64387"/>
                    </a:lnTo>
                    <a:lnTo>
                      <a:pt x="747152" y="64387"/>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3" name="Freeform 38">
                <a:extLst>
                  <a:ext uri="{FF2B5EF4-FFF2-40B4-BE49-F238E27FC236}">
                    <a16:creationId xmlns:a16="http://schemas.microsoft.com/office/drawing/2014/main" id="{F279DEAD-F2F5-A100-6447-D40EA2F6FC66}"/>
                  </a:ext>
                </a:extLst>
              </p:cNvPr>
              <p:cNvSpPr/>
              <p:nvPr/>
            </p:nvSpPr>
            <p:spPr>
              <a:xfrm>
                <a:off x="4032388" y="2947150"/>
                <a:ext cx="946051" cy="451988"/>
              </a:xfrm>
              <a:custGeom>
                <a:avLst/>
                <a:gdLst>
                  <a:gd name="connsiteX0" fmla="*/ 908439 w 946051"/>
                  <a:gd name="connsiteY0" fmla="*/ 50363 h 451988"/>
                  <a:gd name="connsiteX1" fmla="*/ 907164 w 946051"/>
                  <a:gd name="connsiteY1" fmla="*/ 33150 h 451988"/>
                  <a:gd name="connsiteX2" fmla="*/ 906527 w 946051"/>
                  <a:gd name="connsiteY2" fmla="*/ 16575 h 451988"/>
                  <a:gd name="connsiteX3" fmla="*/ 905252 w 946051"/>
                  <a:gd name="connsiteY3" fmla="*/ 0 h 451988"/>
                  <a:gd name="connsiteX4" fmla="*/ 881027 w 946051"/>
                  <a:gd name="connsiteY4" fmla="*/ 1913 h 451988"/>
                  <a:gd name="connsiteX5" fmla="*/ 632401 w 946051"/>
                  <a:gd name="connsiteY5" fmla="*/ 13388 h 451988"/>
                  <a:gd name="connsiteX6" fmla="*/ 283688 w 946051"/>
                  <a:gd name="connsiteY6" fmla="*/ 18488 h 451988"/>
                  <a:gd name="connsiteX7" fmla="*/ 134513 w 946051"/>
                  <a:gd name="connsiteY7" fmla="*/ 16575 h 451988"/>
                  <a:gd name="connsiteX8" fmla="*/ 106463 w 946051"/>
                  <a:gd name="connsiteY8" fmla="*/ 15938 h 451988"/>
                  <a:gd name="connsiteX9" fmla="*/ 95625 w 946051"/>
                  <a:gd name="connsiteY9" fmla="*/ 15938 h 451988"/>
                  <a:gd name="connsiteX10" fmla="*/ 55462 w 946051"/>
                  <a:gd name="connsiteY10" fmla="*/ 14663 h 451988"/>
                  <a:gd name="connsiteX11" fmla="*/ 42712 w 946051"/>
                  <a:gd name="connsiteY11" fmla="*/ 14025 h 451988"/>
                  <a:gd name="connsiteX12" fmla="*/ 15300 w 946051"/>
                  <a:gd name="connsiteY12" fmla="*/ 13388 h 451988"/>
                  <a:gd name="connsiteX13" fmla="*/ 2550 w 946051"/>
                  <a:gd name="connsiteY13" fmla="*/ 12750 h 451988"/>
                  <a:gd name="connsiteX14" fmla="*/ 1912 w 946051"/>
                  <a:gd name="connsiteY14" fmla="*/ 29325 h 451988"/>
                  <a:gd name="connsiteX15" fmla="*/ 1275 w 946051"/>
                  <a:gd name="connsiteY15" fmla="*/ 45900 h 451988"/>
                  <a:gd name="connsiteX16" fmla="*/ 638 w 946051"/>
                  <a:gd name="connsiteY16" fmla="*/ 62475 h 451988"/>
                  <a:gd name="connsiteX17" fmla="*/ 0 w 946051"/>
                  <a:gd name="connsiteY17" fmla="*/ 79688 h 451988"/>
                  <a:gd name="connsiteX18" fmla="*/ 3825 w 946051"/>
                  <a:gd name="connsiteY18" fmla="*/ 79688 h 451988"/>
                  <a:gd name="connsiteX19" fmla="*/ 159375 w 946051"/>
                  <a:gd name="connsiteY19" fmla="*/ 83513 h 451988"/>
                  <a:gd name="connsiteX20" fmla="*/ 323213 w 946051"/>
                  <a:gd name="connsiteY20" fmla="*/ 85425 h 451988"/>
                  <a:gd name="connsiteX21" fmla="*/ 325125 w 946051"/>
                  <a:gd name="connsiteY21" fmla="*/ 305363 h 451988"/>
                  <a:gd name="connsiteX22" fmla="*/ 336601 w 946051"/>
                  <a:gd name="connsiteY22" fmla="*/ 343613 h 451988"/>
                  <a:gd name="connsiteX23" fmla="*/ 362101 w 946051"/>
                  <a:gd name="connsiteY23" fmla="*/ 367838 h 451988"/>
                  <a:gd name="connsiteX24" fmla="*/ 390151 w 946051"/>
                  <a:gd name="connsiteY24" fmla="*/ 369113 h 451988"/>
                  <a:gd name="connsiteX25" fmla="*/ 395888 w 946051"/>
                  <a:gd name="connsiteY25" fmla="*/ 357638 h 451988"/>
                  <a:gd name="connsiteX26" fmla="*/ 433501 w 946051"/>
                  <a:gd name="connsiteY26" fmla="*/ 392063 h 451988"/>
                  <a:gd name="connsiteX27" fmla="*/ 483226 w 946051"/>
                  <a:gd name="connsiteY27" fmla="*/ 397164 h 451988"/>
                  <a:gd name="connsiteX28" fmla="*/ 492789 w 946051"/>
                  <a:gd name="connsiteY28" fmla="*/ 408001 h 451988"/>
                  <a:gd name="connsiteX29" fmla="*/ 510639 w 946051"/>
                  <a:gd name="connsiteY29" fmla="*/ 399713 h 451988"/>
                  <a:gd name="connsiteX30" fmla="*/ 555901 w 946051"/>
                  <a:gd name="connsiteY30" fmla="*/ 420751 h 451988"/>
                  <a:gd name="connsiteX31" fmla="*/ 555901 w 946051"/>
                  <a:gd name="connsiteY31" fmla="*/ 432864 h 451988"/>
                  <a:gd name="connsiteX32" fmla="*/ 572476 w 946051"/>
                  <a:gd name="connsiteY32" fmla="*/ 432226 h 451988"/>
                  <a:gd name="connsiteX33" fmla="*/ 589689 w 946051"/>
                  <a:gd name="connsiteY33" fmla="*/ 417563 h 451988"/>
                  <a:gd name="connsiteX34" fmla="*/ 622201 w 946051"/>
                  <a:gd name="connsiteY34" fmla="*/ 437963 h 451988"/>
                  <a:gd name="connsiteX35" fmla="*/ 652801 w 946051"/>
                  <a:gd name="connsiteY35" fmla="*/ 449438 h 451988"/>
                  <a:gd name="connsiteX36" fmla="*/ 673201 w 946051"/>
                  <a:gd name="connsiteY36" fmla="*/ 420751 h 451988"/>
                  <a:gd name="connsiteX37" fmla="*/ 738864 w 946051"/>
                  <a:gd name="connsiteY37" fmla="*/ 451989 h 451988"/>
                  <a:gd name="connsiteX38" fmla="*/ 763089 w 946051"/>
                  <a:gd name="connsiteY38" fmla="*/ 432226 h 451988"/>
                  <a:gd name="connsiteX39" fmla="*/ 782852 w 946051"/>
                  <a:gd name="connsiteY39" fmla="*/ 424576 h 451988"/>
                  <a:gd name="connsiteX40" fmla="*/ 798789 w 946051"/>
                  <a:gd name="connsiteY40" fmla="*/ 428401 h 451988"/>
                  <a:gd name="connsiteX41" fmla="*/ 858714 w 946051"/>
                  <a:gd name="connsiteY41" fmla="*/ 411188 h 451988"/>
                  <a:gd name="connsiteX42" fmla="*/ 891227 w 946051"/>
                  <a:gd name="connsiteY42" fmla="*/ 424576 h 451988"/>
                  <a:gd name="connsiteX43" fmla="*/ 920552 w 946051"/>
                  <a:gd name="connsiteY43" fmla="*/ 443063 h 451988"/>
                  <a:gd name="connsiteX44" fmla="*/ 945415 w 946051"/>
                  <a:gd name="connsiteY44" fmla="*/ 447526 h 451988"/>
                  <a:gd name="connsiteX45" fmla="*/ 946052 w 946051"/>
                  <a:gd name="connsiteY45" fmla="*/ 447526 h 451988"/>
                  <a:gd name="connsiteX46" fmla="*/ 945415 w 946051"/>
                  <a:gd name="connsiteY46" fmla="*/ 418201 h 451988"/>
                  <a:gd name="connsiteX47" fmla="*/ 938402 w 946051"/>
                  <a:gd name="connsiteY47" fmla="*/ 243526 h 451988"/>
                  <a:gd name="connsiteX48" fmla="*/ 937764 w 946051"/>
                  <a:gd name="connsiteY48" fmla="*/ 214201 h 451988"/>
                  <a:gd name="connsiteX49" fmla="*/ 912902 w 946051"/>
                  <a:gd name="connsiteY49" fmla="*/ 84788 h 451988"/>
                  <a:gd name="connsiteX50" fmla="*/ 909077 w 946051"/>
                  <a:gd name="connsiteY50" fmla="*/ 66938 h 451988"/>
                  <a:gd name="connsiteX51" fmla="*/ 908439 w 946051"/>
                  <a:gd name="connsiteY51" fmla="*/ 50363 h 451988"/>
                  <a:gd name="connsiteX52" fmla="*/ 908439 w 946051"/>
                  <a:gd name="connsiteY52" fmla="*/ 50363 h 4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946051" h="451988">
                    <a:moveTo>
                      <a:pt x="908439" y="50363"/>
                    </a:moveTo>
                    <a:lnTo>
                      <a:pt x="907164" y="33150"/>
                    </a:lnTo>
                    <a:lnTo>
                      <a:pt x="906527" y="16575"/>
                    </a:lnTo>
                    <a:lnTo>
                      <a:pt x="905252" y="0"/>
                    </a:lnTo>
                    <a:lnTo>
                      <a:pt x="881027" y="1913"/>
                    </a:lnTo>
                    <a:lnTo>
                      <a:pt x="632401" y="13388"/>
                    </a:lnTo>
                    <a:lnTo>
                      <a:pt x="283688" y="18488"/>
                    </a:lnTo>
                    <a:lnTo>
                      <a:pt x="134513" y="16575"/>
                    </a:lnTo>
                    <a:lnTo>
                      <a:pt x="106463" y="15938"/>
                    </a:lnTo>
                    <a:lnTo>
                      <a:pt x="95625" y="15938"/>
                    </a:lnTo>
                    <a:lnTo>
                      <a:pt x="55462" y="14663"/>
                    </a:lnTo>
                    <a:lnTo>
                      <a:pt x="42712" y="14025"/>
                    </a:lnTo>
                    <a:lnTo>
                      <a:pt x="15300" y="13388"/>
                    </a:lnTo>
                    <a:lnTo>
                      <a:pt x="2550" y="12750"/>
                    </a:lnTo>
                    <a:lnTo>
                      <a:pt x="1912" y="29325"/>
                    </a:lnTo>
                    <a:lnTo>
                      <a:pt x="1275" y="45900"/>
                    </a:lnTo>
                    <a:lnTo>
                      <a:pt x="638" y="62475"/>
                    </a:lnTo>
                    <a:lnTo>
                      <a:pt x="0" y="79688"/>
                    </a:lnTo>
                    <a:lnTo>
                      <a:pt x="3825" y="79688"/>
                    </a:lnTo>
                    <a:lnTo>
                      <a:pt x="159375" y="83513"/>
                    </a:lnTo>
                    <a:lnTo>
                      <a:pt x="323213" y="85425"/>
                    </a:lnTo>
                    <a:lnTo>
                      <a:pt x="325125" y="305363"/>
                    </a:lnTo>
                    <a:lnTo>
                      <a:pt x="336601" y="343613"/>
                    </a:lnTo>
                    <a:lnTo>
                      <a:pt x="362101" y="367838"/>
                    </a:lnTo>
                    <a:lnTo>
                      <a:pt x="390151" y="369113"/>
                    </a:lnTo>
                    <a:lnTo>
                      <a:pt x="395888" y="357638"/>
                    </a:lnTo>
                    <a:lnTo>
                      <a:pt x="433501" y="392063"/>
                    </a:lnTo>
                    <a:lnTo>
                      <a:pt x="483226" y="397164"/>
                    </a:lnTo>
                    <a:lnTo>
                      <a:pt x="492789" y="408001"/>
                    </a:lnTo>
                    <a:lnTo>
                      <a:pt x="510639" y="399713"/>
                    </a:lnTo>
                    <a:lnTo>
                      <a:pt x="555901" y="420751"/>
                    </a:lnTo>
                    <a:lnTo>
                      <a:pt x="555901" y="432864"/>
                    </a:lnTo>
                    <a:lnTo>
                      <a:pt x="572476" y="432226"/>
                    </a:lnTo>
                    <a:lnTo>
                      <a:pt x="589689" y="417563"/>
                    </a:lnTo>
                    <a:lnTo>
                      <a:pt x="622201" y="437963"/>
                    </a:lnTo>
                    <a:lnTo>
                      <a:pt x="652801" y="449438"/>
                    </a:lnTo>
                    <a:lnTo>
                      <a:pt x="673201" y="420751"/>
                    </a:lnTo>
                    <a:lnTo>
                      <a:pt x="738864" y="451989"/>
                    </a:lnTo>
                    <a:lnTo>
                      <a:pt x="763089" y="432226"/>
                    </a:lnTo>
                    <a:lnTo>
                      <a:pt x="782852" y="424576"/>
                    </a:lnTo>
                    <a:lnTo>
                      <a:pt x="798789" y="428401"/>
                    </a:lnTo>
                    <a:lnTo>
                      <a:pt x="858714" y="411188"/>
                    </a:lnTo>
                    <a:lnTo>
                      <a:pt x="891227" y="424576"/>
                    </a:lnTo>
                    <a:lnTo>
                      <a:pt x="920552" y="443063"/>
                    </a:lnTo>
                    <a:lnTo>
                      <a:pt x="945415" y="447526"/>
                    </a:lnTo>
                    <a:lnTo>
                      <a:pt x="946052" y="447526"/>
                    </a:lnTo>
                    <a:lnTo>
                      <a:pt x="945415" y="418201"/>
                    </a:lnTo>
                    <a:lnTo>
                      <a:pt x="938402" y="243526"/>
                    </a:lnTo>
                    <a:lnTo>
                      <a:pt x="937764" y="214201"/>
                    </a:lnTo>
                    <a:lnTo>
                      <a:pt x="912902" y="84788"/>
                    </a:lnTo>
                    <a:lnTo>
                      <a:pt x="909077" y="66938"/>
                    </a:lnTo>
                    <a:lnTo>
                      <a:pt x="908439" y="50363"/>
                    </a:lnTo>
                    <a:lnTo>
                      <a:pt x="908439" y="50363"/>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4" name="Freeform 39">
                <a:extLst>
                  <a:ext uri="{FF2B5EF4-FFF2-40B4-BE49-F238E27FC236}">
                    <a16:creationId xmlns:a16="http://schemas.microsoft.com/office/drawing/2014/main" id="{4B1A0A59-A57E-ACED-08E4-369CAAE986A5}"/>
                  </a:ext>
                </a:extLst>
              </p:cNvPr>
              <p:cNvSpPr/>
              <p:nvPr/>
            </p:nvSpPr>
            <p:spPr>
              <a:xfrm>
                <a:off x="3960350" y="1754385"/>
                <a:ext cx="746514" cy="461550"/>
              </a:xfrm>
              <a:custGeom>
                <a:avLst/>
                <a:gdLst>
                  <a:gd name="connsiteX0" fmla="*/ 698702 w 746514"/>
                  <a:gd name="connsiteY0" fmla="*/ 3825 h 461550"/>
                  <a:gd name="connsiteX1" fmla="*/ 590326 w 746514"/>
                  <a:gd name="connsiteY1" fmla="*/ 7013 h 461550"/>
                  <a:gd name="connsiteX2" fmla="*/ 328951 w 746514"/>
                  <a:gd name="connsiteY2" fmla="*/ 8925 h 461550"/>
                  <a:gd name="connsiteX3" fmla="*/ 45900 w 746514"/>
                  <a:gd name="connsiteY3" fmla="*/ 1275 h 461550"/>
                  <a:gd name="connsiteX4" fmla="*/ 20400 w 746514"/>
                  <a:gd name="connsiteY4" fmla="*/ 0 h 461550"/>
                  <a:gd name="connsiteX5" fmla="*/ 19763 w 746514"/>
                  <a:gd name="connsiteY5" fmla="*/ 14662 h 461550"/>
                  <a:gd name="connsiteX6" fmla="*/ 17213 w 746514"/>
                  <a:gd name="connsiteY6" fmla="*/ 72675 h 461550"/>
                  <a:gd name="connsiteX7" fmla="*/ 15300 w 746514"/>
                  <a:gd name="connsiteY7" fmla="*/ 117300 h 461550"/>
                  <a:gd name="connsiteX8" fmla="*/ 14663 w 746514"/>
                  <a:gd name="connsiteY8" fmla="*/ 126863 h 461550"/>
                  <a:gd name="connsiteX9" fmla="*/ 12750 w 746514"/>
                  <a:gd name="connsiteY9" fmla="*/ 126863 h 461550"/>
                  <a:gd name="connsiteX10" fmla="*/ 12113 w 746514"/>
                  <a:gd name="connsiteY10" fmla="*/ 143438 h 461550"/>
                  <a:gd name="connsiteX11" fmla="*/ 5738 w 746514"/>
                  <a:gd name="connsiteY11" fmla="*/ 278588 h 461550"/>
                  <a:gd name="connsiteX12" fmla="*/ 638 w 746514"/>
                  <a:gd name="connsiteY12" fmla="*/ 378676 h 461550"/>
                  <a:gd name="connsiteX13" fmla="*/ 0 w 746514"/>
                  <a:gd name="connsiteY13" fmla="*/ 395888 h 461550"/>
                  <a:gd name="connsiteX14" fmla="*/ 19125 w 746514"/>
                  <a:gd name="connsiteY14" fmla="*/ 396526 h 461550"/>
                  <a:gd name="connsiteX15" fmla="*/ 237151 w 746514"/>
                  <a:gd name="connsiteY15" fmla="*/ 403538 h 461550"/>
                  <a:gd name="connsiteX16" fmla="*/ 422026 w 746514"/>
                  <a:gd name="connsiteY16" fmla="*/ 405451 h 461550"/>
                  <a:gd name="connsiteX17" fmla="*/ 548251 w 746514"/>
                  <a:gd name="connsiteY17" fmla="*/ 404176 h 461550"/>
                  <a:gd name="connsiteX18" fmla="*/ 588414 w 746514"/>
                  <a:gd name="connsiteY18" fmla="*/ 429676 h 461550"/>
                  <a:gd name="connsiteX19" fmla="*/ 622202 w 746514"/>
                  <a:gd name="connsiteY19" fmla="*/ 419476 h 461550"/>
                  <a:gd name="connsiteX20" fmla="*/ 644514 w 746514"/>
                  <a:gd name="connsiteY20" fmla="*/ 420113 h 461550"/>
                  <a:gd name="connsiteX21" fmla="*/ 714639 w 746514"/>
                  <a:gd name="connsiteY21" fmla="*/ 440513 h 461550"/>
                  <a:gd name="connsiteX22" fmla="*/ 734402 w 746514"/>
                  <a:gd name="connsiteY22" fmla="*/ 460276 h 461550"/>
                  <a:gd name="connsiteX23" fmla="*/ 746514 w 746514"/>
                  <a:gd name="connsiteY23" fmla="*/ 461551 h 461550"/>
                  <a:gd name="connsiteX24" fmla="*/ 746514 w 746514"/>
                  <a:gd name="connsiteY24" fmla="*/ 457089 h 461550"/>
                  <a:gd name="connsiteX25" fmla="*/ 733126 w 746514"/>
                  <a:gd name="connsiteY25" fmla="*/ 436688 h 461550"/>
                  <a:gd name="connsiteX26" fmla="*/ 742689 w 746514"/>
                  <a:gd name="connsiteY26" fmla="*/ 402901 h 461550"/>
                  <a:gd name="connsiteX27" fmla="*/ 731214 w 746514"/>
                  <a:gd name="connsiteY27" fmla="*/ 331501 h 461550"/>
                  <a:gd name="connsiteX28" fmla="*/ 744601 w 746514"/>
                  <a:gd name="connsiteY28" fmla="*/ 330863 h 461550"/>
                  <a:gd name="connsiteX29" fmla="*/ 743327 w 746514"/>
                  <a:gd name="connsiteY29" fmla="*/ 300901 h 461550"/>
                  <a:gd name="connsiteX30" fmla="*/ 710814 w 746514"/>
                  <a:gd name="connsiteY30" fmla="*/ 74588 h 461550"/>
                  <a:gd name="connsiteX31" fmla="*/ 694239 w 746514"/>
                  <a:gd name="connsiteY31" fmla="*/ 45900 h 461550"/>
                  <a:gd name="connsiteX32" fmla="*/ 719739 w 746514"/>
                  <a:gd name="connsiteY32" fmla="*/ 3825 h 461550"/>
                  <a:gd name="connsiteX33" fmla="*/ 720376 w 746514"/>
                  <a:gd name="connsiteY33" fmla="*/ 1912 h 461550"/>
                  <a:gd name="connsiteX34" fmla="*/ 698702 w 746514"/>
                  <a:gd name="connsiteY34" fmla="*/ 3825 h 461550"/>
                  <a:gd name="connsiteX35" fmla="*/ 698702 w 746514"/>
                  <a:gd name="connsiteY35" fmla="*/ 3825 h 46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46514" h="461550">
                    <a:moveTo>
                      <a:pt x="698702" y="3825"/>
                    </a:moveTo>
                    <a:lnTo>
                      <a:pt x="590326" y="7013"/>
                    </a:lnTo>
                    <a:lnTo>
                      <a:pt x="328951" y="8925"/>
                    </a:lnTo>
                    <a:lnTo>
                      <a:pt x="45900" y="1275"/>
                    </a:lnTo>
                    <a:lnTo>
                      <a:pt x="20400" y="0"/>
                    </a:lnTo>
                    <a:lnTo>
                      <a:pt x="19763" y="14662"/>
                    </a:lnTo>
                    <a:lnTo>
                      <a:pt x="17213" y="72675"/>
                    </a:lnTo>
                    <a:lnTo>
                      <a:pt x="15300" y="117300"/>
                    </a:lnTo>
                    <a:lnTo>
                      <a:pt x="14663" y="126863"/>
                    </a:lnTo>
                    <a:lnTo>
                      <a:pt x="12750" y="126863"/>
                    </a:lnTo>
                    <a:lnTo>
                      <a:pt x="12113" y="143438"/>
                    </a:lnTo>
                    <a:lnTo>
                      <a:pt x="5738" y="278588"/>
                    </a:lnTo>
                    <a:lnTo>
                      <a:pt x="638" y="378676"/>
                    </a:lnTo>
                    <a:lnTo>
                      <a:pt x="0" y="395888"/>
                    </a:lnTo>
                    <a:lnTo>
                      <a:pt x="19125" y="396526"/>
                    </a:lnTo>
                    <a:lnTo>
                      <a:pt x="237151" y="403538"/>
                    </a:lnTo>
                    <a:lnTo>
                      <a:pt x="422026" y="405451"/>
                    </a:lnTo>
                    <a:lnTo>
                      <a:pt x="548251" y="404176"/>
                    </a:lnTo>
                    <a:lnTo>
                      <a:pt x="588414" y="429676"/>
                    </a:lnTo>
                    <a:lnTo>
                      <a:pt x="622202" y="419476"/>
                    </a:lnTo>
                    <a:lnTo>
                      <a:pt x="644514" y="420113"/>
                    </a:lnTo>
                    <a:lnTo>
                      <a:pt x="714639" y="440513"/>
                    </a:lnTo>
                    <a:lnTo>
                      <a:pt x="734402" y="460276"/>
                    </a:lnTo>
                    <a:lnTo>
                      <a:pt x="746514" y="461551"/>
                    </a:lnTo>
                    <a:lnTo>
                      <a:pt x="746514" y="457089"/>
                    </a:lnTo>
                    <a:lnTo>
                      <a:pt x="733126" y="436688"/>
                    </a:lnTo>
                    <a:lnTo>
                      <a:pt x="742689" y="402901"/>
                    </a:lnTo>
                    <a:lnTo>
                      <a:pt x="731214" y="331501"/>
                    </a:lnTo>
                    <a:lnTo>
                      <a:pt x="744601" y="330863"/>
                    </a:lnTo>
                    <a:lnTo>
                      <a:pt x="743327" y="300901"/>
                    </a:lnTo>
                    <a:lnTo>
                      <a:pt x="710814" y="74588"/>
                    </a:lnTo>
                    <a:lnTo>
                      <a:pt x="694239" y="45900"/>
                    </a:lnTo>
                    <a:lnTo>
                      <a:pt x="719739" y="3825"/>
                    </a:lnTo>
                    <a:lnTo>
                      <a:pt x="720376" y="1912"/>
                    </a:lnTo>
                    <a:lnTo>
                      <a:pt x="698702" y="3825"/>
                    </a:lnTo>
                    <a:lnTo>
                      <a:pt x="698702" y="3825"/>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5" name="Freeform 40">
                <a:extLst>
                  <a:ext uri="{FF2B5EF4-FFF2-40B4-BE49-F238E27FC236}">
                    <a16:creationId xmlns:a16="http://schemas.microsoft.com/office/drawing/2014/main" id="{AD35093E-7F10-5F7D-E1EB-D9443E5F07EE}"/>
                  </a:ext>
                </a:extLst>
              </p:cNvPr>
              <p:cNvSpPr/>
              <p:nvPr/>
            </p:nvSpPr>
            <p:spPr>
              <a:xfrm>
                <a:off x="5034540" y="3448226"/>
                <a:ext cx="630488" cy="524026"/>
              </a:xfrm>
              <a:custGeom>
                <a:avLst/>
                <a:gdLst>
                  <a:gd name="connsiteX0" fmla="*/ 432864 w 630488"/>
                  <a:gd name="connsiteY0" fmla="*/ 518288 h 524026"/>
                  <a:gd name="connsiteX1" fmla="*/ 424576 w 630488"/>
                  <a:gd name="connsiteY1" fmla="*/ 520201 h 524026"/>
                  <a:gd name="connsiteX2" fmla="*/ 420751 w 630488"/>
                  <a:gd name="connsiteY2" fmla="*/ 524026 h 524026"/>
                  <a:gd name="connsiteX3" fmla="*/ 432864 w 630488"/>
                  <a:gd name="connsiteY3" fmla="*/ 518288 h 524026"/>
                  <a:gd name="connsiteX4" fmla="*/ 432864 w 630488"/>
                  <a:gd name="connsiteY4" fmla="*/ 518288 h 524026"/>
                  <a:gd name="connsiteX5" fmla="*/ 459639 w 630488"/>
                  <a:gd name="connsiteY5" fmla="*/ 518288 h 524026"/>
                  <a:gd name="connsiteX6" fmla="*/ 455176 w 630488"/>
                  <a:gd name="connsiteY6" fmla="*/ 516376 h 524026"/>
                  <a:gd name="connsiteX7" fmla="*/ 453901 w 630488"/>
                  <a:gd name="connsiteY7" fmla="*/ 518288 h 524026"/>
                  <a:gd name="connsiteX8" fmla="*/ 459639 w 630488"/>
                  <a:gd name="connsiteY8" fmla="*/ 518288 h 524026"/>
                  <a:gd name="connsiteX9" fmla="*/ 474938 w 630488"/>
                  <a:gd name="connsiteY9" fmla="*/ 513189 h 524026"/>
                  <a:gd name="connsiteX10" fmla="*/ 470476 w 630488"/>
                  <a:gd name="connsiteY10" fmla="*/ 513189 h 524026"/>
                  <a:gd name="connsiteX11" fmla="*/ 467926 w 630488"/>
                  <a:gd name="connsiteY11" fmla="*/ 516376 h 524026"/>
                  <a:gd name="connsiteX12" fmla="*/ 474938 w 630488"/>
                  <a:gd name="connsiteY12" fmla="*/ 513189 h 524026"/>
                  <a:gd name="connsiteX13" fmla="*/ 467288 w 630488"/>
                  <a:gd name="connsiteY13" fmla="*/ 508726 h 524026"/>
                  <a:gd name="connsiteX14" fmla="*/ 466014 w 630488"/>
                  <a:gd name="connsiteY14" fmla="*/ 506814 h 524026"/>
                  <a:gd name="connsiteX15" fmla="*/ 465376 w 630488"/>
                  <a:gd name="connsiteY15" fmla="*/ 508726 h 524026"/>
                  <a:gd name="connsiteX16" fmla="*/ 467288 w 630488"/>
                  <a:gd name="connsiteY16" fmla="*/ 508726 h 524026"/>
                  <a:gd name="connsiteX17" fmla="*/ 467288 w 630488"/>
                  <a:gd name="connsiteY17" fmla="*/ 508726 h 524026"/>
                  <a:gd name="connsiteX18" fmla="*/ 518926 w 630488"/>
                  <a:gd name="connsiteY18" fmla="*/ 474938 h 524026"/>
                  <a:gd name="connsiteX19" fmla="*/ 517014 w 630488"/>
                  <a:gd name="connsiteY19" fmla="*/ 476214 h 524026"/>
                  <a:gd name="connsiteX20" fmla="*/ 520201 w 630488"/>
                  <a:gd name="connsiteY20" fmla="*/ 476214 h 524026"/>
                  <a:gd name="connsiteX21" fmla="*/ 518926 w 630488"/>
                  <a:gd name="connsiteY21" fmla="*/ 474938 h 524026"/>
                  <a:gd name="connsiteX22" fmla="*/ 518926 w 630488"/>
                  <a:gd name="connsiteY22" fmla="*/ 474938 h 524026"/>
                  <a:gd name="connsiteX23" fmla="*/ 608814 w 630488"/>
                  <a:gd name="connsiteY23" fmla="*/ 436688 h 524026"/>
                  <a:gd name="connsiteX24" fmla="*/ 612639 w 630488"/>
                  <a:gd name="connsiteY24" fmla="*/ 431588 h 524026"/>
                  <a:gd name="connsiteX25" fmla="*/ 608814 w 630488"/>
                  <a:gd name="connsiteY25" fmla="*/ 436688 h 524026"/>
                  <a:gd name="connsiteX26" fmla="*/ 608814 w 630488"/>
                  <a:gd name="connsiteY26" fmla="*/ 436688 h 524026"/>
                  <a:gd name="connsiteX27" fmla="*/ 608814 w 630488"/>
                  <a:gd name="connsiteY27" fmla="*/ 436688 h 524026"/>
                  <a:gd name="connsiteX28" fmla="*/ 620926 w 630488"/>
                  <a:gd name="connsiteY28" fmla="*/ 419476 h 524026"/>
                  <a:gd name="connsiteX29" fmla="*/ 619651 w 630488"/>
                  <a:gd name="connsiteY29" fmla="*/ 420113 h 524026"/>
                  <a:gd name="connsiteX30" fmla="*/ 619651 w 630488"/>
                  <a:gd name="connsiteY30" fmla="*/ 420751 h 524026"/>
                  <a:gd name="connsiteX31" fmla="*/ 620926 w 630488"/>
                  <a:gd name="connsiteY31" fmla="*/ 419476 h 524026"/>
                  <a:gd name="connsiteX32" fmla="*/ 620926 w 630488"/>
                  <a:gd name="connsiteY32" fmla="*/ 419476 h 524026"/>
                  <a:gd name="connsiteX33" fmla="*/ 290701 w 630488"/>
                  <a:gd name="connsiteY33" fmla="*/ 476851 h 524026"/>
                  <a:gd name="connsiteX34" fmla="*/ 300901 w 630488"/>
                  <a:gd name="connsiteY34" fmla="*/ 464738 h 524026"/>
                  <a:gd name="connsiteX35" fmla="*/ 274126 w 630488"/>
                  <a:gd name="connsiteY35" fmla="*/ 457726 h 524026"/>
                  <a:gd name="connsiteX36" fmla="*/ 262651 w 630488"/>
                  <a:gd name="connsiteY36" fmla="*/ 467926 h 524026"/>
                  <a:gd name="connsiteX37" fmla="*/ 290701 w 630488"/>
                  <a:gd name="connsiteY37" fmla="*/ 476851 h 524026"/>
                  <a:gd name="connsiteX38" fmla="*/ 290701 w 630488"/>
                  <a:gd name="connsiteY38" fmla="*/ 476851 h 524026"/>
                  <a:gd name="connsiteX39" fmla="*/ 557814 w 630488"/>
                  <a:gd name="connsiteY39" fmla="*/ 420113 h 524026"/>
                  <a:gd name="connsiteX40" fmla="*/ 555264 w 630488"/>
                  <a:gd name="connsiteY40" fmla="*/ 417563 h 524026"/>
                  <a:gd name="connsiteX41" fmla="*/ 554626 w 630488"/>
                  <a:gd name="connsiteY41" fmla="*/ 418838 h 524026"/>
                  <a:gd name="connsiteX42" fmla="*/ 557814 w 630488"/>
                  <a:gd name="connsiteY42" fmla="*/ 420113 h 524026"/>
                  <a:gd name="connsiteX43" fmla="*/ 557814 w 630488"/>
                  <a:gd name="connsiteY43" fmla="*/ 420113 h 524026"/>
                  <a:gd name="connsiteX44" fmla="*/ 564826 w 630488"/>
                  <a:gd name="connsiteY44" fmla="*/ 409276 h 524026"/>
                  <a:gd name="connsiteX45" fmla="*/ 558451 w 630488"/>
                  <a:gd name="connsiteY45" fmla="*/ 407363 h 524026"/>
                  <a:gd name="connsiteX46" fmla="*/ 560364 w 630488"/>
                  <a:gd name="connsiteY46" fmla="*/ 413738 h 524026"/>
                  <a:gd name="connsiteX47" fmla="*/ 564826 w 630488"/>
                  <a:gd name="connsiteY47" fmla="*/ 409276 h 524026"/>
                  <a:gd name="connsiteX48" fmla="*/ 617739 w 630488"/>
                  <a:gd name="connsiteY48" fmla="*/ 397801 h 524026"/>
                  <a:gd name="connsiteX49" fmla="*/ 617739 w 630488"/>
                  <a:gd name="connsiteY49" fmla="*/ 395888 h 524026"/>
                  <a:gd name="connsiteX50" fmla="*/ 617739 w 630488"/>
                  <a:gd name="connsiteY50" fmla="*/ 396526 h 524026"/>
                  <a:gd name="connsiteX51" fmla="*/ 617739 w 630488"/>
                  <a:gd name="connsiteY51" fmla="*/ 397801 h 524026"/>
                  <a:gd name="connsiteX52" fmla="*/ 617739 w 630488"/>
                  <a:gd name="connsiteY52" fmla="*/ 397801 h 524026"/>
                  <a:gd name="connsiteX53" fmla="*/ 630489 w 630488"/>
                  <a:gd name="connsiteY53" fmla="*/ 390151 h 524026"/>
                  <a:gd name="connsiteX54" fmla="*/ 630489 w 630488"/>
                  <a:gd name="connsiteY54" fmla="*/ 390151 h 524026"/>
                  <a:gd name="connsiteX55" fmla="*/ 630489 w 630488"/>
                  <a:gd name="connsiteY55" fmla="*/ 390151 h 524026"/>
                  <a:gd name="connsiteX56" fmla="*/ 630489 w 630488"/>
                  <a:gd name="connsiteY56" fmla="*/ 390151 h 524026"/>
                  <a:gd name="connsiteX57" fmla="*/ 630489 w 630488"/>
                  <a:gd name="connsiteY57" fmla="*/ 390151 h 524026"/>
                  <a:gd name="connsiteX58" fmla="*/ 625389 w 630488"/>
                  <a:gd name="connsiteY58" fmla="*/ 388876 h 524026"/>
                  <a:gd name="connsiteX59" fmla="*/ 624114 w 630488"/>
                  <a:gd name="connsiteY59" fmla="*/ 388238 h 524026"/>
                  <a:gd name="connsiteX60" fmla="*/ 623476 w 630488"/>
                  <a:gd name="connsiteY60" fmla="*/ 390151 h 524026"/>
                  <a:gd name="connsiteX61" fmla="*/ 625389 w 630488"/>
                  <a:gd name="connsiteY61" fmla="*/ 388876 h 524026"/>
                  <a:gd name="connsiteX62" fmla="*/ 625389 w 630488"/>
                  <a:gd name="connsiteY62" fmla="*/ 388876 h 524026"/>
                  <a:gd name="connsiteX63" fmla="*/ 580126 w 630488"/>
                  <a:gd name="connsiteY63" fmla="*/ 386963 h 524026"/>
                  <a:gd name="connsiteX64" fmla="*/ 585864 w 630488"/>
                  <a:gd name="connsiteY64" fmla="*/ 385051 h 524026"/>
                  <a:gd name="connsiteX65" fmla="*/ 585864 w 630488"/>
                  <a:gd name="connsiteY65" fmla="*/ 383138 h 524026"/>
                  <a:gd name="connsiteX66" fmla="*/ 580126 w 630488"/>
                  <a:gd name="connsiteY66" fmla="*/ 386963 h 524026"/>
                  <a:gd name="connsiteX67" fmla="*/ 580126 w 630488"/>
                  <a:gd name="connsiteY67" fmla="*/ 386963 h 524026"/>
                  <a:gd name="connsiteX68" fmla="*/ 583314 w 630488"/>
                  <a:gd name="connsiteY68" fmla="*/ 383138 h 524026"/>
                  <a:gd name="connsiteX69" fmla="*/ 586501 w 630488"/>
                  <a:gd name="connsiteY69" fmla="*/ 379951 h 524026"/>
                  <a:gd name="connsiteX70" fmla="*/ 585864 w 630488"/>
                  <a:gd name="connsiteY70" fmla="*/ 379313 h 524026"/>
                  <a:gd name="connsiteX71" fmla="*/ 583314 w 630488"/>
                  <a:gd name="connsiteY71" fmla="*/ 383138 h 524026"/>
                  <a:gd name="connsiteX72" fmla="*/ 583314 w 630488"/>
                  <a:gd name="connsiteY72" fmla="*/ 383138 h 524026"/>
                  <a:gd name="connsiteX73" fmla="*/ 561001 w 630488"/>
                  <a:gd name="connsiteY73" fmla="*/ 359551 h 524026"/>
                  <a:gd name="connsiteX74" fmla="*/ 559726 w 630488"/>
                  <a:gd name="connsiteY74" fmla="*/ 360826 h 524026"/>
                  <a:gd name="connsiteX75" fmla="*/ 560364 w 630488"/>
                  <a:gd name="connsiteY75" fmla="*/ 360826 h 524026"/>
                  <a:gd name="connsiteX76" fmla="*/ 561001 w 630488"/>
                  <a:gd name="connsiteY76" fmla="*/ 359551 h 524026"/>
                  <a:gd name="connsiteX77" fmla="*/ 561001 w 630488"/>
                  <a:gd name="connsiteY77" fmla="*/ 359551 h 524026"/>
                  <a:gd name="connsiteX78" fmla="*/ 323851 w 630488"/>
                  <a:gd name="connsiteY78" fmla="*/ 0 h 524026"/>
                  <a:gd name="connsiteX79" fmla="*/ 322576 w 630488"/>
                  <a:gd name="connsiteY79" fmla="*/ 0 h 524026"/>
                  <a:gd name="connsiteX80" fmla="*/ 80325 w 630488"/>
                  <a:gd name="connsiteY80" fmla="*/ 22313 h 524026"/>
                  <a:gd name="connsiteX81" fmla="*/ 19763 w 630488"/>
                  <a:gd name="connsiteY81" fmla="*/ 26775 h 524026"/>
                  <a:gd name="connsiteX82" fmla="*/ 0 w 630488"/>
                  <a:gd name="connsiteY82" fmla="*/ 28688 h 524026"/>
                  <a:gd name="connsiteX83" fmla="*/ 638 w 630488"/>
                  <a:gd name="connsiteY83" fmla="*/ 43987 h 524026"/>
                  <a:gd name="connsiteX84" fmla="*/ 13388 w 630488"/>
                  <a:gd name="connsiteY84" fmla="*/ 167663 h 524026"/>
                  <a:gd name="connsiteX85" fmla="*/ 34425 w 630488"/>
                  <a:gd name="connsiteY85" fmla="*/ 197625 h 524026"/>
                  <a:gd name="connsiteX86" fmla="*/ 35063 w 630488"/>
                  <a:gd name="connsiteY86" fmla="*/ 214838 h 524026"/>
                  <a:gd name="connsiteX87" fmla="*/ 55463 w 630488"/>
                  <a:gd name="connsiteY87" fmla="*/ 250538 h 524026"/>
                  <a:gd name="connsiteX88" fmla="*/ 72038 w 630488"/>
                  <a:gd name="connsiteY88" fmla="*/ 303450 h 524026"/>
                  <a:gd name="connsiteX89" fmla="*/ 66300 w 630488"/>
                  <a:gd name="connsiteY89" fmla="*/ 333413 h 524026"/>
                  <a:gd name="connsiteX90" fmla="*/ 61838 w 630488"/>
                  <a:gd name="connsiteY90" fmla="*/ 406726 h 524026"/>
                  <a:gd name="connsiteX91" fmla="*/ 51638 w 630488"/>
                  <a:gd name="connsiteY91" fmla="*/ 430313 h 524026"/>
                  <a:gd name="connsiteX92" fmla="*/ 52913 w 630488"/>
                  <a:gd name="connsiteY92" fmla="*/ 430313 h 524026"/>
                  <a:gd name="connsiteX93" fmla="*/ 54825 w 630488"/>
                  <a:gd name="connsiteY93" fmla="*/ 446888 h 524026"/>
                  <a:gd name="connsiteX94" fmla="*/ 43350 w 630488"/>
                  <a:gd name="connsiteY94" fmla="*/ 462188 h 524026"/>
                  <a:gd name="connsiteX95" fmla="*/ 123038 w 630488"/>
                  <a:gd name="connsiteY95" fmla="*/ 452626 h 524026"/>
                  <a:gd name="connsiteX96" fmla="*/ 185513 w 630488"/>
                  <a:gd name="connsiteY96" fmla="*/ 469839 h 524026"/>
                  <a:gd name="connsiteX97" fmla="*/ 230138 w 630488"/>
                  <a:gd name="connsiteY97" fmla="*/ 475576 h 524026"/>
                  <a:gd name="connsiteX98" fmla="*/ 252451 w 630488"/>
                  <a:gd name="connsiteY98" fmla="*/ 459638 h 524026"/>
                  <a:gd name="connsiteX99" fmla="*/ 240338 w 630488"/>
                  <a:gd name="connsiteY99" fmla="*/ 443701 h 524026"/>
                  <a:gd name="connsiteX100" fmla="*/ 281138 w 630488"/>
                  <a:gd name="connsiteY100" fmla="*/ 430951 h 524026"/>
                  <a:gd name="connsiteX101" fmla="*/ 279863 w 630488"/>
                  <a:gd name="connsiteY101" fmla="*/ 444976 h 524026"/>
                  <a:gd name="connsiteX102" fmla="*/ 300901 w 630488"/>
                  <a:gd name="connsiteY102" fmla="*/ 439876 h 524026"/>
                  <a:gd name="connsiteX103" fmla="*/ 318113 w 630488"/>
                  <a:gd name="connsiteY103" fmla="*/ 467288 h 524026"/>
                  <a:gd name="connsiteX104" fmla="*/ 332776 w 630488"/>
                  <a:gd name="connsiteY104" fmla="*/ 462188 h 524026"/>
                  <a:gd name="connsiteX105" fmla="*/ 371026 w 630488"/>
                  <a:gd name="connsiteY105" fmla="*/ 488964 h 524026"/>
                  <a:gd name="connsiteX106" fmla="*/ 347438 w 630488"/>
                  <a:gd name="connsiteY106" fmla="*/ 497251 h 524026"/>
                  <a:gd name="connsiteX107" fmla="*/ 402264 w 630488"/>
                  <a:gd name="connsiteY107" fmla="*/ 513189 h 524026"/>
                  <a:gd name="connsiteX108" fmla="*/ 422663 w 630488"/>
                  <a:gd name="connsiteY108" fmla="*/ 513189 h 524026"/>
                  <a:gd name="connsiteX109" fmla="*/ 434776 w 630488"/>
                  <a:gd name="connsiteY109" fmla="*/ 498526 h 524026"/>
                  <a:gd name="connsiteX110" fmla="*/ 461551 w 630488"/>
                  <a:gd name="connsiteY110" fmla="*/ 484501 h 524026"/>
                  <a:gd name="connsiteX111" fmla="*/ 480038 w 630488"/>
                  <a:gd name="connsiteY111" fmla="*/ 511913 h 524026"/>
                  <a:gd name="connsiteX112" fmla="*/ 492788 w 630488"/>
                  <a:gd name="connsiteY112" fmla="*/ 487688 h 524026"/>
                  <a:gd name="connsiteX113" fmla="*/ 488964 w 630488"/>
                  <a:gd name="connsiteY113" fmla="*/ 449438 h 524026"/>
                  <a:gd name="connsiteX114" fmla="*/ 523389 w 630488"/>
                  <a:gd name="connsiteY114" fmla="*/ 462826 h 524026"/>
                  <a:gd name="connsiteX115" fmla="*/ 527214 w 630488"/>
                  <a:gd name="connsiteY115" fmla="*/ 474301 h 524026"/>
                  <a:gd name="connsiteX116" fmla="*/ 568014 w 630488"/>
                  <a:gd name="connsiteY116" fmla="*/ 479401 h 524026"/>
                  <a:gd name="connsiteX117" fmla="*/ 588414 w 630488"/>
                  <a:gd name="connsiteY117" fmla="*/ 495976 h 524026"/>
                  <a:gd name="connsiteX118" fmla="*/ 585864 w 630488"/>
                  <a:gd name="connsiteY118" fmla="*/ 509363 h 524026"/>
                  <a:gd name="connsiteX119" fmla="*/ 615189 w 630488"/>
                  <a:gd name="connsiteY119" fmla="*/ 481951 h 524026"/>
                  <a:gd name="connsiteX120" fmla="*/ 603714 w 630488"/>
                  <a:gd name="connsiteY120" fmla="*/ 467926 h 524026"/>
                  <a:gd name="connsiteX121" fmla="*/ 555264 w 630488"/>
                  <a:gd name="connsiteY121" fmla="*/ 455813 h 524026"/>
                  <a:gd name="connsiteX122" fmla="*/ 537414 w 630488"/>
                  <a:gd name="connsiteY122" fmla="*/ 444976 h 524026"/>
                  <a:gd name="connsiteX123" fmla="*/ 536776 w 630488"/>
                  <a:gd name="connsiteY123" fmla="*/ 425851 h 524026"/>
                  <a:gd name="connsiteX124" fmla="*/ 556539 w 630488"/>
                  <a:gd name="connsiteY124" fmla="*/ 428401 h 524026"/>
                  <a:gd name="connsiteX125" fmla="*/ 571839 w 630488"/>
                  <a:gd name="connsiteY125" fmla="*/ 396526 h 524026"/>
                  <a:gd name="connsiteX126" fmla="*/ 552076 w 630488"/>
                  <a:gd name="connsiteY126" fmla="*/ 368476 h 524026"/>
                  <a:gd name="connsiteX127" fmla="*/ 540601 w 630488"/>
                  <a:gd name="connsiteY127" fmla="*/ 395251 h 524026"/>
                  <a:gd name="connsiteX128" fmla="*/ 515739 w 630488"/>
                  <a:gd name="connsiteY128" fmla="*/ 390788 h 524026"/>
                  <a:gd name="connsiteX129" fmla="*/ 532951 w 630488"/>
                  <a:gd name="connsiteY129" fmla="*/ 362101 h 524026"/>
                  <a:gd name="connsiteX130" fmla="*/ 521476 w 630488"/>
                  <a:gd name="connsiteY130" fmla="*/ 358913 h 524026"/>
                  <a:gd name="connsiteX131" fmla="*/ 492788 w 630488"/>
                  <a:gd name="connsiteY131" fmla="*/ 378676 h 524026"/>
                  <a:gd name="connsiteX132" fmla="*/ 452626 w 630488"/>
                  <a:gd name="connsiteY132" fmla="*/ 381226 h 524026"/>
                  <a:gd name="connsiteX133" fmla="*/ 441151 w 630488"/>
                  <a:gd name="connsiteY133" fmla="*/ 371663 h 524026"/>
                  <a:gd name="connsiteX134" fmla="*/ 459639 w 630488"/>
                  <a:gd name="connsiteY134" fmla="*/ 338513 h 524026"/>
                  <a:gd name="connsiteX135" fmla="*/ 481313 w 630488"/>
                  <a:gd name="connsiteY135" fmla="*/ 337876 h 524026"/>
                  <a:gd name="connsiteX136" fmla="*/ 518288 w 630488"/>
                  <a:gd name="connsiteY136" fmla="*/ 349988 h 524026"/>
                  <a:gd name="connsiteX137" fmla="*/ 545701 w 630488"/>
                  <a:gd name="connsiteY137" fmla="*/ 352538 h 524026"/>
                  <a:gd name="connsiteX138" fmla="*/ 545701 w 630488"/>
                  <a:gd name="connsiteY138" fmla="*/ 352538 h 524026"/>
                  <a:gd name="connsiteX139" fmla="*/ 531039 w 630488"/>
                  <a:gd name="connsiteY139" fmla="*/ 334050 h 524026"/>
                  <a:gd name="connsiteX140" fmla="*/ 502351 w 630488"/>
                  <a:gd name="connsiteY140" fmla="*/ 279225 h 524026"/>
                  <a:gd name="connsiteX141" fmla="*/ 510001 w 630488"/>
                  <a:gd name="connsiteY141" fmla="*/ 247988 h 524026"/>
                  <a:gd name="connsiteX142" fmla="*/ 288151 w 630488"/>
                  <a:gd name="connsiteY142" fmla="*/ 272213 h 524026"/>
                  <a:gd name="connsiteX143" fmla="*/ 296438 w 630488"/>
                  <a:gd name="connsiteY143" fmla="*/ 263925 h 524026"/>
                  <a:gd name="connsiteX144" fmla="*/ 286876 w 630488"/>
                  <a:gd name="connsiteY144" fmla="*/ 240975 h 524026"/>
                  <a:gd name="connsiteX145" fmla="*/ 300263 w 630488"/>
                  <a:gd name="connsiteY145" fmla="*/ 221213 h 524026"/>
                  <a:gd name="connsiteX146" fmla="*/ 307913 w 630488"/>
                  <a:gd name="connsiteY146" fmla="*/ 170850 h 524026"/>
                  <a:gd name="connsiteX147" fmla="*/ 357001 w 630488"/>
                  <a:gd name="connsiteY147" fmla="*/ 87338 h 524026"/>
                  <a:gd name="connsiteX148" fmla="*/ 333413 w 630488"/>
                  <a:gd name="connsiteY148" fmla="*/ 58012 h 524026"/>
                  <a:gd name="connsiteX149" fmla="*/ 334688 w 630488"/>
                  <a:gd name="connsiteY149" fmla="*/ 36975 h 524026"/>
                  <a:gd name="connsiteX150" fmla="*/ 320026 w 630488"/>
                  <a:gd name="connsiteY150" fmla="*/ 2550 h 524026"/>
                  <a:gd name="connsiteX151" fmla="*/ 323851 w 630488"/>
                  <a:gd name="connsiteY151" fmla="*/ 0 h 524026"/>
                  <a:gd name="connsiteX152" fmla="*/ 323851 w 630488"/>
                  <a:gd name="connsiteY152" fmla="*/ 0 h 5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30488" h="524026">
                    <a:moveTo>
                      <a:pt x="432864" y="518288"/>
                    </a:moveTo>
                    <a:lnTo>
                      <a:pt x="424576" y="520201"/>
                    </a:lnTo>
                    <a:lnTo>
                      <a:pt x="420751" y="524026"/>
                    </a:lnTo>
                    <a:lnTo>
                      <a:pt x="432864" y="518288"/>
                    </a:lnTo>
                    <a:lnTo>
                      <a:pt x="432864" y="518288"/>
                    </a:lnTo>
                    <a:close/>
                    <a:moveTo>
                      <a:pt x="459639" y="518288"/>
                    </a:moveTo>
                    <a:lnTo>
                      <a:pt x="455176" y="516376"/>
                    </a:lnTo>
                    <a:lnTo>
                      <a:pt x="453901" y="518288"/>
                    </a:lnTo>
                    <a:lnTo>
                      <a:pt x="459639" y="518288"/>
                    </a:lnTo>
                    <a:close/>
                    <a:moveTo>
                      <a:pt x="474938" y="513189"/>
                    </a:moveTo>
                    <a:lnTo>
                      <a:pt x="470476" y="513189"/>
                    </a:lnTo>
                    <a:lnTo>
                      <a:pt x="467926" y="516376"/>
                    </a:lnTo>
                    <a:lnTo>
                      <a:pt x="474938" y="513189"/>
                    </a:lnTo>
                    <a:close/>
                    <a:moveTo>
                      <a:pt x="467288" y="508726"/>
                    </a:moveTo>
                    <a:lnTo>
                      <a:pt x="466014" y="506814"/>
                    </a:lnTo>
                    <a:lnTo>
                      <a:pt x="465376" y="508726"/>
                    </a:lnTo>
                    <a:lnTo>
                      <a:pt x="467288" y="508726"/>
                    </a:lnTo>
                    <a:lnTo>
                      <a:pt x="467288" y="508726"/>
                    </a:lnTo>
                    <a:close/>
                    <a:moveTo>
                      <a:pt x="518926" y="474938"/>
                    </a:moveTo>
                    <a:lnTo>
                      <a:pt x="517014" y="476214"/>
                    </a:lnTo>
                    <a:lnTo>
                      <a:pt x="520201" y="476214"/>
                    </a:lnTo>
                    <a:lnTo>
                      <a:pt x="518926" y="474938"/>
                    </a:lnTo>
                    <a:lnTo>
                      <a:pt x="518926" y="474938"/>
                    </a:lnTo>
                    <a:close/>
                    <a:moveTo>
                      <a:pt x="608814" y="436688"/>
                    </a:moveTo>
                    <a:lnTo>
                      <a:pt x="612639" y="431588"/>
                    </a:lnTo>
                    <a:lnTo>
                      <a:pt x="608814" y="436688"/>
                    </a:lnTo>
                    <a:lnTo>
                      <a:pt x="608814" y="436688"/>
                    </a:lnTo>
                    <a:lnTo>
                      <a:pt x="608814" y="436688"/>
                    </a:lnTo>
                    <a:close/>
                    <a:moveTo>
                      <a:pt x="620926" y="419476"/>
                    </a:moveTo>
                    <a:lnTo>
                      <a:pt x="619651" y="420113"/>
                    </a:lnTo>
                    <a:lnTo>
                      <a:pt x="619651" y="420751"/>
                    </a:lnTo>
                    <a:lnTo>
                      <a:pt x="620926" y="419476"/>
                    </a:lnTo>
                    <a:lnTo>
                      <a:pt x="620926" y="419476"/>
                    </a:lnTo>
                    <a:close/>
                    <a:moveTo>
                      <a:pt x="290701" y="476851"/>
                    </a:moveTo>
                    <a:lnTo>
                      <a:pt x="300901" y="464738"/>
                    </a:lnTo>
                    <a:lnTo>
                      <a:pt x="274126" y="457726"/>
                    </a:lnTo>
                    <a:lnTo>
                      <a:pt x="262651" y="467926"/>
                    </a:lnTo>
                    <a:lnTo>
                      <a:pt x="290701" y="476851"/>
                    </a:lnTo>
                    <a:lnTo>
                      <a:pt x="290701" y="476851"/>
                    </a:lnTo>
                    <a:close/>
                    <a:moveTo>
                      <a:pt x="557814" y="420113"/>
                    </a:moveTo>
                    <a:lnTo>
                      <a:pt x="555264" y="417563"/>
                    </a:lnTo>
                    <a:lnTo>
                      <a:pt x="554626" y="418838"/>
                    </a:lnTo>
                    <a:lnTo>
                      <a:pt x="557814" y="420113"/>
                    </a:lnTo>
                    <a:lnTo>
                      <a:pt x="557814" y="420113"/>
                    </a:lnTo>
                    <a:close/>
                    <a:moveTo>
                      <a:pt x="564826" y="409276"/>
                    </a:moveTo>
                    <a:lnTo>
                      <a:pt x="558451" y="407363"/>
                    </a:lnTo>
                    <a:lnTo>
                      <a:pt x="560364" y="413738"/>
                    </a:lnTo>
                    <a:lnTo>
                      <a:pt x="564826" y="409276"/>
                    </a:lnTo>
                    <a:close/>
                    <a:moveTo>
                      <a:pt x="617739" y="397801"/>
                    </a:moveTo>
                    <a:lnTo>
                      <a:pt x="617739" y="395888"/>
                    </a:lnTo>
                    <a:lnTo>
                      <a:pt x="617739" y="396526"/>
                    </a:lnTo>
                    <a:lnTo>
                      <a:pt x="617739" y="397801"/>
                    </a:lnTo>
                    <a:lnTo>
                      <a:pt x="617739" y="397801"/>
                    </a:lnTo>
                    <a:close/>
                    <a:moveTo>
                      <a:pt x="630489" y="390151"/>
                    </a:moveTo>
                    <a:lnTo>
                      <a:pt x="630489" y="390151"/>
                    </a:lnTo>
                    <a:lnTo>
                      <a:pt x="630489" y="390151"/>
                    </a:lnTo>
                    <a:lnTo>
                      <a:pt x="630489" y="390151"/>
                    </a:lnTo>
                    <a:lnTo>
                      <a:pt x="630489" y="390151"/>
                    </a:lnTo>
                    <a:close/>
                    <a:moveTo>
                      <a:pt x="625389" y="388876"/>
                    </a:moveTo>
                    <a:lnTo>
                      <a:pt x="624114" y="388238"/>
                    </a:lnTo>
                    <a:lnTo>
                      <a:pt x="623476" y="390151"/>
                    </a:lnTo>
                    <a:lnTo>
                      <a:pt x="625389" y="388876"/>
                    </a:lnTo>
                    <a:lnTo>
                      <a:pt x="625389" y="388876"/>
                    </a:lnTo>
                    <a:close/>
                    <a:moveTo>
                      <a:pt x="580126" y="386963"/>
                    </a:moveTo>
                    <a:lnTo>
                      <a:pt x="585864" y="385051"/>
                    </a:lnTo>
                    <a:lnTo>
                      <a:pt x="585864" y="383138"/>
                    </a:lnTo>
                    <a:lnTo>
                      <a:pt x="580126" y="386963"/>
                    </a:lnTo>
                    <a:lnTo>
                      <a:pt x="580126" y="386963"/>
                    </a:lnTo>
                    <a:close/>
                    <a:moveTo>
                      <a:pt x="583314" y="383138"/>
                    </a:moveTo>
                    <a:lnTo>
                      <a:pt x="586501" y="379951"/>
                    </a:lnTo>
                    <a:lnTo>
                      <a:pt x="585864" y="379313"/>
                    </a:lnTo>
                    <a:lnTo>
                      <a:pt x="583314" y="383138"/>
                    </a:lnTo>
                    <a:lnTo>
                      <a:pt x="583314" y="383138"/>
                    </a:lnTo>
                    <a:close/>
                    <a:moveTo>
                      <a:pt x="561001" y="359551"/>
                    </a:moveTo>
                    <a:lnTo>
                      <a:pt x="559726" y="360826"/>
                    </a:lnTo>
                    <a:lnTo>
                      <a:pt x="560364" y="360826"/>
                    </a:lnTo>
                    <a:lnTo>
                      <a:pt x="561001" y="359551"/>
                    </a:lnTo>
                    <a:lnTo>
                      <a:pt x="561001" y="359551"/>
                    </a:lnTo>
                    <a:close/>
                    <a:moveTo>
                      <a:pt x="323851" y="0"/>
                    </a:moveTo>
                    <a:lnTo>
                      <a:pt x="322576" y="0"/>
                    </a:lnTo>
                    <a:lnTo>
                      <a:pt x="80325" y="22313"/>
                    </a:lnTo>
                    <a:lnTo>
                      <a:pt x="19763" y="26775"/>
                    </a:lnTo>
                    <a:lnTo>
                      <a:pt x="0" y="28688"/>
                    </a:lnTo>
                    <a:lnTo>
                      <a:pt x="638" y="43987"/>
                    </a:lnTo>
                    <a:lnTo>
                      <a:pt x="13388" y="167663"/>
                    </a:lnTo>
                    <a:lnTo>
                      <a:pt x="34425" y="197625"/>
                    </a:lnTo>
                    <a:lnTo>
                      <a:pt x="35063" y="214838"/>
                    </a:lnTo>
                    <a:lnTo>
                      <a:pt x="55463" y="250538"/>
                    </a:lnTo>
                    <a:lnTo>
                      <a:pt x="72038" y="303450"/>
                    </a:lnTo>
                    <a:lnTo>
                      <a:pt x="66300" y="333413"/>
                    </a:lnTo>
                    <a:lnTo>
                      <a:pt x="61838" y="406726"/>
                    </a:lnTo>
                    <a:lnTo>
                      <a:pt x="51638" y="430313"/>
                    </a:lnTo>
                    <a:lnTo>
                      <a:pt x="52913" y="430313"/>
                    </a:lnTo>
                    <a:lnTo>
                      <a:pt x="54825" y="446888"/>
                    </a:lnTo>
                    <a:lnTo>
                      <a:pt x="43350" y="462188"/>
                    </a:lnTo>
                    <a:lnTo>
                      <a:pt x="123038" y="452626"/>
                    </a:lnTo>
                    <a:lnTo>
                      <a:pt x="185513" y="469839"/>
                    </a:lnTo>
                    <a:lnTo>
                      <a:pt x="230138" y="475576"/>
                    </a:lnTo>
                    <a:lnTo>
                      <a:pt x="252451" y="459638"/>
                    </a:lnTo>
                    <a:lnTo>
                      <a:pt x="240338" y="443701"/>
                    </a:lnTo>
                    <a:lnTo>
                      <a:pt x="281138" y="430951"/>
                    </a:lnTo>
                    <a:lnTo>
                      <a:pt x="279863" y="444976"/>
                    </a:lnTo>
                    <a:lnTo>
                      <a:pt x="300901" y="439876"/>
                    </a:lnTo>
                    <a:lnTo>
                      <a:pt x="318113" y="467288"/>
                    </a:lnTo>
                    <a:lnTo>
                      <a:pt x="332776" y="462188"/>
                    </a:lnTo>
                    <a:lnTo>
                      <a:pt x="371026" y="488964"/>
                    </a:lnTo>
                    <a:lnTo>
                      <a:pt x="347438" y="497251"/>
                    </a:lnTo>
                    <a:lnTo>
                      <a:pt x="402264" y="513189"/>
                    </a:lnTo>
                    <a:lnTo>
                      <a:pt x="422663" y="513189"/>
                    </a:lnTo>
                    <a:lnTo>
                      <a:pt x="434776" y="498526"/>
                    </a:lnTo>
                    <a:lnTo>
                      <a:pt x="461551" y="484501"/>
                    </a:lnTo>
                    <a:lnTo>
                      <a:pt x="480038" y="511913"/>
                    </a:lnTo>
                    <a:lnTo>
                      <a:pt x="492788" y="487688"/>
                    </a:lnTo>
                    <a:lnTo>
                      <a:pt x="488964" y="449438"/>
                    </a:lnTo>
                    <a:lnTo>
                      <a:pt x="523389" y="462826"/>
                    </a:lnTo>
                    <a:lnTo>
                      <a:pt x="527214" y="474301"/>
                    </a:lnTo>
                    <a:lnTo>
                      <a:pt x="568014" y="479401"/>
                    </a:lnTo>
                    <a:lnTo>
                      <a:pt x="588414" y="495976"/>
                    </a:lnTo>
                    <a:lnTo>
                      <a:pt x="585864" y="509363"/>
                    </a:lnTo>
                    <a:lnTo>
                      <a:pt x="615189" y="481951"/>
                    </a:lnTo>
                    <a:lnTo>
                      <a:pt x="603714" y="467926"/>
                    </a:lnTo>
                    <a:lnTo>
                      <a:pt x="555264" y="455813"/>
                    </a:lnTo>
                    <a:lnTo>
                      <a:pt x="537414" y="444976"/>
                    </a:lnTo>
                    <a:lnTo>
                      <a:pt x="536776" y="425851"/>
                    </a:lnTo>
                    <a:lnTo>
                      <a:pt x="556539" y="428401"/>
                    </a:lnTo>
                    <a:lnTo>
                      <a:pt x="571839" y="396526"/>
                    </a:lnTo>
                    <a:lnTo>
                      <a:pt x="552076" y="368476"/>
                    </a:lnTo>
                    <a:lnTo>
                      <a:pt x="540601" y="395251"/>
                    </a:lnTo>
                    <a:lnTo>
                      <a:pt x="515739" y="390788"/>
                    </a:lnTo>
                    <a:lnTo>
                      <a:pt x="532951" y="362101"/>
                    </a:lnTo>
                    <a:lnTo>
                      <a:pt x="521476" y="358913"/>
                    </a:lnTo>
                    <a:lnTo>
                      <a:pt x="492788" y="378676"/>
                    </a:lnTo>
                    <a:lnTo>
                      <a:pt x="452626" y="381226"/>
                    </a:lnTo>
                    <a:lnTo>
                      <a:pt x="441151" y="371663"/>
                    </a:lnTo>
                    <a:lnTo>
                      <a:pt x="459639" y="338513"/>
                    </a:lnTo>
                    <a:lnTo>
                      <a:pt x="481313" y="337876"/>
                    </a:lnTo>
                    <a:lnTo>
                      <a:pt x="518288" y="349988"/>
                    </a:lnTo>
                    <a:lnTo>
                      <a:pt x="545701" y="352538"/>
                    </a:lnTo>
                    <a:lnTo>
                      <a:pt x="545701" y="352538"/>
                    </a:lnTo>
                    <a:lnTo>
                      <a:pt x="531039" y="334050"/>
                    </a:lnTo>
                    <a:lnTo>
                      <a:pt x="502351" y="279225"/>
                    </a:lnTo>
                    <a:lnTo>
                      <a:pt x="510001" y="247988"/>
                    </a:lnTo>
                    <a:lnTo>
                      <a:pt x="288151" y="272213"/>
                    </a:lnTo>
                    <a:lnTo>
                      <a:pt x="296438" y="263925"/>
                    </a:lnTo>
                    <a:lnTo>
                      <a:pt x="286876" y="240975"/>
                    </a:lnTo>
                    <a:lnTo>
                      <a:pt x="300263" y="221213"/>
                    </a:lnTo>
                    <a:lnTo>
                      <a:pt x="307913" y="170850"/>
                    </a:lnTo>
                    <a:lnTo>
                      <a:pt x="357001" y="87338"/>
                    </a:lnTo>
                    <a:lnTo>
                      <a:pt x="333413" y="58012"/>
                    </a:lnTo>
                    <a:lnTo>
                      <a:pt x="334688" y="36975"/>
                    </a:lnTo>
                    <a:lnTo>
                      <a:pt x="320026" y="2550"/>
                    </a:lnTo>
                    <a:lnTo>
                      <a:pt x="323851" y="0"/>
                    </a:lnTo>
                    <a:lnTo>
                      <a:pt x="323851" y="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6" name="Freeform 41">
                <a:extLst>
                  <a:ext uri="{FF2B5EF4-FFF2-40B4-BE49-F238E27FC236}">
                    <a16:creationId xmlns:a16="http://schemas.microsoft.com/office/drawing/2014/main" id="{637E9751-5B39-4658-6BE0-159E864B8CCE}"/>
                  </a:ext>
                </a:extLst>
              </p:cNvPr>
              <p:cNvSpPr/>
              <p:nvPr/>
            </p:nvSpPr>
            <p:spPr>
              <a:xfrm>
                <a:off x="3595062" y="3024925"/>
                <a:ext cx="1514065" cy="1418440"/>
              </a:xfrm>
              <a:custGeom>
                <a:avLst/>
                <a:gdLst>
                  <a:gd name="connsiteX0" fmla="*/ 1111165 w 1514065"/>
                  <a:gd name="connsiteY0" fmla="*/ 1389115 h 1418440"/>
                  <a:gd name="connsiteX1" fmla="*/ 1079927 w 1514065"/>
                  <a:gd name="connsiteY1" fmla="*/ 1272453 h 1418440"/>
                  <a:gd name="connsiteX2" fmla="*/ 1079927 w 1514065"/>
                  <a:gd name="connsiteY2" fmla="*/ 1294128 h 1418440"/>
                  <a:gd name="connsiteX3" fmla="*/ 1111165 w 1514065"/>
                  <a:gd name="connsiteY3" fmla="*/ 1389115 h 1418440"/>
                  <a:gd name="connsiteX4" fmla="*/ 1103515 w 1514065"/>
                  <a:gd name="connsiteY4" fmla="*/ 1185115 h 1418440"/>
                  <a:gd name="connsiteX5" fmla="*/ 1081840 w 1514065"/>
                  <a:gd name="connsiteY5" fmla="*/ 1225915 h 1418440"/>
                  <a:gd name="connsiteX6" fmla="*/ 1079290 w 1514065"/>
                  <a:gd name="connsiteY6" fmla="*/ 1239303 h 1418440"/>
                  <a:gd name="connsiteX7" fmla="*/ 1103515 w 1514065"/>
                  <a:gd name="connsiteY7" fmla="*/ 1185115 h 1418440"/>
                  <a:gd name="connsiteX8" fmla="*/ 1103515 w 1514065"/>
                  <a:gd name="connsiteY8" fmla="*/ 1185115 h 1418440"/>
                  <a:gd name="connsiteX9" fmla="*/ 1120727 w 1514065"/>
                  <a:gd name="connsiteY9" fmla="*/ 1154515 h 1418440"/>
                  <a:gd name="connsiteX10" fmla="*/ 1141127 w 1514065"/>
                  <a:gd name="connsiteY10" fmla="*/ 1127102 h 1418440"/>
                  <a:gd name="connsiteX11" fmla="*/ 1126465 w 1514065"/>
                  <a:gd name="connsiteY11" fmla="*/ 1136665 h 1418440"/>
                  <a:gd name="connsiteX12" fmla="*/ 1120727 w 1514065"/>
                  <a:gd name="connsiteY12" fmla="*/ 1154515 h 1418440"/>
                  <a:gd name="connsiteX13" fmla="*/ 1194040 w 1514065"/>
                  <a:gd name="connsiteY13" fmla="*/ 1089490 h 1418440"/>
                  <a:gd name="connsiteX14" fmla="*/ 1145590 w 1514065"/>
                  <a:gd name="connsiteY14" fmla="*/ 1114352 h 1418440"/>
                  <a:gd name="connsiteX15" fmla="*/ 1158977 w 1514065"/>
                  <a:gd name="connsiteY15" fmla="*/ 1111802 h 1418440"/>
                  <a:gd name="connsiteX16" fmla="*/ 1194040 w 1514065"/>
                  <a:gd name="connsiteY16" fmla="*/ 1089490 h 1418440"/>
                  <a:gd name="connsiteX17" fmla="*/ 1200415 w 1514065"/>
                  <a:gd name="connsiteY17" fmla="*/ 1079927 h 1418440"/>
                  <a:gd name="connsiteX18" fmla="*/ 1213803 w 1514065"/>
                  <a:gd name="connsiteY18" fmla="*/ 1068452 h 1418440"/>
                  <a:gd name="connsiteX19" fmla="*/ 1208702 w 1514065"/>
                  <a:gd name="connsiteY19" fmla="*/ 1069727 h 1418440"/>
                  <a:gd name="connsiteX20" fmla="*/ 1200415 w 1514065"/>
                  <a:gd name="connsiteY20" fmla="*/ 1079927 h 1418440"/>
                  <a:gd name="connsiteX21" fmla="*/ 438601 w 1514065"/>
                  <a:gd name="connsiteY21" fmla="*/ 2550 h 1418440"/>
                  <a:gd name="connsiteX22" fmla="*/ 434138 w 1514065"/>
                  <a:gd name="connsiteY22" fmla="*/ 1912 h 1418440"/>
                  <a:gd name="connsiteX23" fmla="*/ 412463 w 1514065"/>
                  <a:gd name="connsiteY23" fmla="*/ 604351 h 1418440"/>
                  <a:gd name="connsiteX24" fmla="*/ 285601 w 1514065"/>
                  <a:gd name="connsiteY24" fmla="*/ 598614 h 1418440"/>
                  <a:gd name="connsiteX25" fmla="*/ 81600 w 1514065"/>
                  <a:gd name="connsiteY25" fmla="*/ 587139 h 1418440"/>
                  <a:gd name="connsiteX26" fmla="*/ 0 w 1514065"/>
                  <a:gd name="connsiteY26" fmla="*/ 581401 h 1418440"/>
                  <a:gd name="connsiteX27" fmla="*/ 15938 w 1514065"/>
                  <a:gd name="connsiteY27" fmla="*/ 613276 h 1418440"/>
                  <a:gd name="connsiteX28" fmla="*/ 16575 w 1514065"/>
                  <a:gd name="connsiteY28" fmla="*/ 613914 h 1418440"/>
                  <a:gd name="connsiteX29" fmla="*/ 86063 w 1514065"/>
                  <a:gd name="connsiteY29" fmla="*/ 683401 h 1418440"/>
                  <a:gd name="connsiteX30" fmla="*/ 125588 w 1514065"/>
                  <a:gd name="connsiteY30" fmla="*/ 730577 h 1418440"/>
                  <a:gd name="connsiteX31" fmla="*/ 178500 w 1514065"/>
                  <a:gd name="connsiteY31" fmla="*/ 769464 h 1418440"/>
                  <a:gd name="connsiteX32" fmla="*/ 215475 w 1514065"/>
                  <a:gd name="connsiteY32" fmla="*/ 837677 h 1418440"/>
                  <a:gd name="connsiteX33" fmla="*/ 229500 w 1514065"/>
                  <a:gd name="connsiteY33" fmla="*/ 909077 h 1418440"/>
                  <a:gd name="connsiteX34" fmla="*/ 260100 w 1514065"/>
                  <a:gd name="connsiteY34" fmla="*/ 928839 h 1418440"/>
                  <a:gd name="connsiteX35" fmla="*/ 283688 w 1514065"/>
                  <a:gd name="connsiteY35" fmla="*/ 955615 h 1418440"/>
                  <a:gd name="connsiteX36" fmla="*/ 317476 w 1514065"/>
                  <a:gd name="connsiteY36" fmla="*/ 967727 h 1418440"/>
                  <a:gd name="connsiteX37" fmla="*/ 367201 w 1514065"/>
                  <a:gd name="connsiteY37" fmla="*/ 999602 h 1418440"/>
                  <a:gd name="connsiteX38" fmla="*/ 389513 w 1514065"/>
                  <a:gd name="connsiteY38" fmla="*/ 1007890 h 1418440"/>
                  <a:gd name="connsiteX39" fmla="*/ 420751 w 1514065"/>
                  <a:gd name="connsiteY39" fmla="*/ 976652 h 1418440"/>
                  <a:gd name="connsiteX40" fmla="*/ 430951 w 1514065"/>
                  <a:gd name="connsiteY40" fmla="*/ 943502 h 1418440"/>
                  <a:gd name="connsiteX41" fmla="*/ 446888 w 1514065"/>
                  <a:gd name="connsiteY41" fmla="*/ 911627 h 1418440"/>
                  <a:gd name="connsiteX42" fmla="*/ 497251 w 1514065"/>
                  <a:gd name="connsiteY42" fmla="*/ 891864 h 1418440"/>
                  <a:gd name="connsiteX43" fmla="*/ 516376 w 1514065"/>
                  <a:gd name="connsiteY43" fmla="*/ 902064 h 1418440"/>
                  <a:gd name="connsiteX44" fmla="*/ 571839 w 1514065"/>
                  <a:gd name="connsiteY44" fmla="*/ 906527 h 1418440"/>
                  <a:gd name="connsiteX45" fmla="*/ 622839 w 1514065"/>
                  <a:gd name="connsiteY45" fmla="*/ 938402 h 1418440"/>
                  <a:gd name="connsiteX46" fmla="*/ 657264 w 1514065"/>
                  <a:gd name="connsiteY46" fmla="*/ 944777 h 1418440"/>
                  <a:gd name="connsiteX47" fmla="*/ 647064 w 1514065"/>
                  <a:gd name="connsiteY47" fmla="*/ 962627 h 1418440"/>
                  <a:gd name="connsiteX48" fmla="*/ 666826 w 1514065"/>
                  <a:gd name="connsiteY48" fmla="*/ 975377 h 1418440"/>
                  <a:gd name="connsiteX49" fmla="*/ 685314 w 1514065"/>
                  <a:gd name="connsiteY49" fmla="*/ 997690 h 1418440"/>
                  <a:gd name="connsiteX50" fmla="*/ 689139 w 1514065"/>
                  <a:gd name="connsiteY50" fmla="*/ 1021277 h 1418440"/>
                  <a:gd name="connsiteX51" fmla="*/ 701251 w 1514065"/>
                  <a:gd name="connsiteY51" fmla="*/ 1037215 h 1418440"/>
                  <a:gd name="connsiteX52" fmla="*/ 729939 w 1514065"/>
                  <a:gd name="connsiteY52" fmla="*/ 1105427 h 1418440"/>
                  <a:gd name="connsiteX53" fmla="*/ 758627 w 1514065"/>
                  <a:gd name="connsiteY53" fmla="*/ 1129015 h 1418440"/>
                  <a:gd name="connsiteX54" fmla="*/ 780302 w 1514065"/>
                  <a:gd name="connsiteY54" fmla="*/ 1164715 h 1418440"/>
                  <a:gd name="connsiteX55" fmla="*/ 808352 w 1514065"/>
                  <a:gd name="connsiteY55" fmla="*/ 1193403 h 1418440"/>
                  <a:gd name="connsiteX56" fmla="*/ 820464 w 1514065"/>
                  <a:gd name="connsiteY56" fmla="*/ 1197227 h 1418440"/>
                  <a:gd name="connsiteX57" fmla="*/ 831302 w 1514065"/>
                  <a:gd name="connsiteY57" fmla="*/ 1270540 h 1418440"/>
                  <a:gd name="connsiteX58" fmla="*/ 861902 w 1514065"/>
                  <a:gd name="connsiteY58" fmla="*/ 1287115 h 1418440"/>
                  <a:gd name="connsiteX59" fmla="*/ 863177 w 1514065"/>
                  <a:gd name="connsiteY59" fmla="*/ 1310065 h 1418440"/>
                  <a:gd name="connsiteX60" fmla="*/ 870827 w 1514065"/>
                  <a:gd name="connsiteY60" fmla="*/ 1308153 h 1418440"/>
                  <a:gd name="connsiteX61" fmla="*/ 923740 w 1514065"/>
                  <a:gd name="connsiteY61" fmla="*/ 1372540 h 1418440"/>
                  <a:gd name="connsiteX62" fmla="*/ 950514 w 1514065"/>
                  <a:gd name="connsiteY62" fmla="*/ 1378278 h 1418440"/>
                  <a:gd name="connsiteX63" fmla="*/ 983664 w 1514065"/>
                  <a:gd name="connsiteY63" fmla="*/ 1398040 h 1418440"/>
                  <a:gd name="connsiteX64" fmla="*/ 1035302 w 1514065"/>
                  <a:gd name="connsiteY64" fmla="*/ 1398040 h 1418440"/>
                  <a:gd name="connsiteX65" fmla="*/ 1072277 w 1514065"/>
                  <a:gd name="connsiteY65" fmla="*/ 1418440 h 1418440"/>
                  <a:gd name="connsiteX66" fmla="*/ 1116902 w 1514065"/>
                  <a:gd name="connsiteY66" fmla="*/ 1408241 h 1418440"/>
                  <a:gd name="connsiteX67" fmla="*/ 1097140 w 1514065"/>
                  <a:gd name="connsiteY67" fmla="*/ 1389753 h 1418440"/>
                  <a:gd name="connsiteX68" fmla="*/ 1079290 w 1514065"/>
                  <a:gd name="connsiteY68" fmla="*/ 1335565 h 1418440"/>
                  <a:gd name="connsiteX69" fmla="*/ 1072277 w 1514065"/>
                  <a:gd name="connsiteY69" fmla="*/ 1288390 h 1418440"/>
                  <a:gd name="connsiteX70" fmla="*/ 1061440 w 1514065"/>
                  <a:gd name="connsiteY70" fmla="*/ 1273090 h 1418440"/>
                  <a:gd name="connsiteX71" fmla="*/ 1065902 w 1514065"/>
                  <a:gd name="connsiteY71" fmla="*/ 1241215 h 1418440"/>
                  <a:gd name="connsiteX72" fmla="*/ 1052515 w 1514065"/>
                  <a:gd name="connsiteY72" fmla="*/ 1239940 h 1418440"/>
                  <a:gd name="connsiteX73" fmla="*/ 1034665 w 1514065"/>
                  <a:gd name="connsiteY73" fmla="*/ 1209977 h 1418440"/>
                  <a:gd name="connsiteX74" fmla="*/ 1055065 w 1514065"/>
                  <a:gd name="connsiteY74" fmla="*/ 1231653 h 1418440"/>
                  <a:gd name="connsiteX75" fmla="*/ 1078652 w 1514065"/>
                  <a:gd name="connsiteY75" fmla="*/ 1223365 h 1418440"/>
                  <a:gd name="connsiteX76" fmla="*/ 1091402 w 1514065"/>
                  <a:gd name="connsiteY76" fmla="*/ 1189578 h 1418440"/>
                  <a:gd name="connsiteX77" fmla="*/ 1065902 w 1514065"/>
                  <a:gd name="connsiteY77" fmla="*/ 1155152 h 1418440"/>
                  <a:gd name="connsiteX78" fmla="*/ 1104152 w 1514065"/>
                  <a:gd name="connsiteY78" fmla="*/ 1159615 h 1418440"/>
                  <a:gd name="connsiteX79" fmla="*/ 1122002 w 1514065"/>
                  <a:gd name="connsiteY79" fmla="*/ 1131565 h 1418440"/>
                  <a:gd name="connsiteX80" fmla="*/ 1119452 w 1514065"/>
                  <a:gd name="connsiteY80" fmla="*/ 1121365 h 1418440"/>
                  <a:gd name="connsiteX81" fmla="*/ 1135390 w 1514065"/>
                  <a:gd name="connsiteY81" fmla="*/ 1100327 h 1418440"/>
                  <a:gd name="connsiteX82" fmla="*/ 1131565 w 1514065"/>
                  <a:gd name="connsiteY82" fmla="*/ 1118815 h 1418440"/>
                  <a:gd name="connsiteX83" fmla="*/ 1149415 w 1514065"/>
                  <a:gd name="connsiteY83" fmla="*/ 1104790 h 1418440"/>
                  <a:gd name="connsiteX84" fmla="*/ 1142402 w 1514065"/>
                  <a:gd name="connsiteY84" fmla="*/ 1079927 h 1418440"/>
                  <a:gd name="connsiteX85" fmla="*/ 1165352 w 1514065"/>
                  <a:gd name="connsiteY85" fmla="*/ 1092040 h 1418440"/>
                  <a:gd name="connsiteX86" fmla="*/ 1195315 w 1514065"/>
                  <a:gd name="connsiteY86" fmla="*/ 1075465 h 1418440"/>
                  <a:gd name="connsiteX87" fmla="*/ 1165990 w 1514065"/>
                  <a:gd name="connsiteY87" fmla="*/ 1044865 h 1418440"/>
                  <a:gd name="connsiteX88" fmla="*/ 1183840 w 1514065"/>
                  <a:gd name="connsiteY88" fmla="*/ 1051877 h 1418440"/>
                  <a:gd name="connsiteX89" fmla="*/ 1216990 w 1514065"/>
                  <a:gd name="connsiteY89" fmla="*/ 1053790 h 1418440"/>
                  <a:gd name="connsiteX90" fmla="*/ 1260978 w 1514065"/>
                  <a:gd name="connsiteY90" fmla="*/ 1043590 h 1418440"/>
                  <a:gd name="connsiteX91" fmla="*/ 1310065 w 1514065"/>
                  <a:gd name="connsiteY91" fmla="*/ 1010440 h 1418440"/>
                  <a:gd name="connsiteX92" fmla="*/ 1340028 w 1514065"/>
                  <a:gd name="connsiteY92" fmla="*/ 986215 h 1418440"/>
                  <a:gd name="connsiteX93" fmla="*/ 1344490 w 1514065"/>
                  <a:gd name="connsiteY93" fmla="*/ 968365 h 1418440"/>
                  <a:gd name="connsiteX94" fmla="*/ 1362340 w 1514065"/>
                  <a:gd name="connsiteY94" fmla="*/ 949877 h 1418440"/>
                  <a:gd name="connsiteX95" fmla="*/ 1352140 w 1514065"/>
                  <a:gd name="connsiteY95" fmla="*/ 918640 h 1418440"/>
                  <a:gd name="connsiteX96" fmla="*/ 1354053 w 1514065"/>
                  <a:gd name="connsiteY96" fmla="*/ 899515 h 1418440"/>
                  <a:gd name="connsiteX97" fmla="*/ 1386565 w 1514065"/>
                  <a:gd name="connsiteY97" fmla="*/ 885489 h 1418440"/>
                  <a:gd name="connsiteX98" fmla="*/ 1384015 w 1514065"/>
                  <a:gd name="connsiteY98" fmla="*/ 919277 h 1418440"/>
                  <a:gd name="connsiteX99" fmla="*/ 1403140 w 1514065"/>
                  <a:gd name="connsiteY99" fmla="*/ 919277 h 1418440"/>
                  <a:gd name="connsiteX100" fmla="*/ 1382103 w 1514065"/>
                  <a:gd name="connsiteY100" fmla="*/ 937127 h 1418440"/>
                  <a:gd name="connsiteX101" fmla="*/ 1467528 w 1514065"/>
                  <a:gd name="connsiteY101" fmla="*/ 891864 h 1418440"/>
                  <a:gd name="connsiteX102" fmla="*/ 1481553 w 1514065"/>
                  <a:gd name="connsiteY102" fmla="*/ 891227 h 1418440"/>
                  <a:gd name="connsiteX103" fmla="*/ 1491116 w 1514065"/>
                  <a:gd name="connsiteY103" fmla="*/ 850427 h 1418440"/>
                  <a:gd name="connsiteX104" fmla="*/ 1493665 w 1514065"/>
                  <a:gd name="connsiteY104" fmla="*/ 850427 h 1418440"/>
                  <a:gd name="connsiteX105" fmla="*/ 1503866 w 1514065"/>
                  <a:gd name="connsiteY105" fmla="*/ 826839 h 1418440"/>
                  <a:gd name="connsiteX106" fmla="*/ 1508328 w 1514065"/>
                  <a:gd name="connsiteY106" fmla="*/ 753527 h 1418440"/>
                  <a:gd name="connsiteX107" fmla="*/ 1514066 w 1514065"/>
                  <a:gd name="connsiteY107" fmla="*/ 723564 h 1418440"/>
                  <a:gd name="connsiteX108" fmla="*/ 1497491 w 1514065"/>
                  <a:gd name="connsiteY108" fmla="*/ 670651 h 1418440"/>
                  <a:gd name="connsiteX109" fmla="*/ 1477091 w 1514065"/>
                  <a:gd name="connsiteY109" fmla="*/ 634952 h 1418440"/>
                  <a:gd name="connsiteX110" fmla="*/ 1476453 w 1514065"/>
                  <a:gd name="connsiteY110" fmla="*/ 617739 h 1418440"/>
                  <a:gd name="connsiteX111" fmla="*/ 1455415 w 1514065"/>
                  <a:gd name="connsiteY111" fmla="*/ 587776 h 1418440"/>
                  <a:gd name="connsiteX112" fmla="*/ 1442665 w 1514065"/>
                  <a:gd name="connsiteY112" fmla="*/ 464101 h 1418440"/>
                  <a:gd name="connsiteX113" fmla="*/ 1442028 w 1514065"/>
                  <a:gd name="connsiteY113" fmla="*/ 448801 h 1418440"/>
                  <a:gd name="connsiteX114" fmla="*/ 1440753 w 1514065"/>
                  <a:gd name="connsiteY114" fmla="*/ 432864 h 1418440"/>
                  <a:gd name="connsiteX115" fmla="*/ 1436928 w 1514065"/>
                  <a:gd name="connsiteY115" fmla="*/ 376764 h 1418440"/>
                  <a:gd name="connsiteX116" fmla="*/ 1398678 w 1514065"/>
                  <a:gd name="connsiteY116" fmla="*/ 378038 h 1418440"/>
                  <a:gd name="connsiteX117" fmla="*/ 1388478 w 1514065"/>
                  <a:gd name="connsiteY117" fmla="*/ 367201 h 1418440"/>
                  <a:gd name="connsiteX118" fmla="*/ 1386565 w 1514065"/>
                  <a:gd name="connsiteY118" fmla="*/ 366563 h 1418440"/>
                  <a:gd name="connsiteX119" fmla="*/ 1385928 w 1514065"/>
                  <a:gd name="connsiteY119" fmla="*/ 366563 h 1418440"/>
                  <a:gd name="connsiteX120" fmla="*/ 1361065 w 1514065"/>
                  <a:gd name="connsiteY120" fmla="*/ 362101 h 1418440"/>
                  <a:gd name="connsiteX121" fmla="*/ 1331740 w 1514065"/>
                  <a:gd name="connsiteY121" fmla="*/ 343613 h 1418440"/>
                  <a:gd name="connsiteX122" fmla="*/ 1299228 w 1514065"/>
                  <a:gd name="connsiteY122" fmla="*/ 330226 h 1418440"/>
                  <a:gd name="connsiteX123" fmla="*/ 1239303 w 1514065"/>
                  <a:gd name="connsiteY123" fmla="*/ 348713 h 1418440"/>
                  <a:gd name="connsiteX124" fmla="*/ 1223365 w 1514065"/>
                  <a:gd name="connsiteY124" fmla="*/ 344888 h 1418440"/>
                  <a:gd name="connsiteX125" fmla="*/ 1203602 w 1514065"/>
                  <a:gd name="connsiteY125" fmla="*/ 352538 h 1418440"/>
                  <a:gd name="connsiteX126" fmla="*/ 1179377 w 1514065"/>
                  <a:gd name="connsiteY126" fmla="*/ 372301 h 1418440"/>
                  <a:gd name="connsiteX127" fmla="*/ 1113715 w 1514065"/>
                  <a:gd name="connsiteY127" fmla="*/ 341063 h 1418440"/>
                  <a:gd name="connsiteX128" fmla="*/ 1093315 w 1514065"/>
                  <a:gd name="connsiteY128" fmla="*/ 369751 h 1418440"/>
                  <a:gd name="connsiteX129" fmla="*/ 1062715 w 1514065"/>
                  <a:gd name="connsiteY129" fmla="*/ 358276 h 1418440"/>
                  <a:gd name="connsiteX130" fmla="*/ 1030202 w 1514065"/>
                  <a:gd name="connsiteY130" fmla="*/ 337876 h 1418440"/>
                  <a:gd name="connsiteX131" fmla="*/ 1012990 w 1514065"/>
                  <a:gd name="connsiteY131" fmla="*/ 352538 h 1418440"/>
                  <a:gd name="connsiteX132" fmla="*/ 996414 w 1514065"/>
                  <a:gd name="connsiteY132" fmla="*/ 353176 h 1418440"/>
                  <a:gd name="connsiteX133" fmla="*/ 996414 w 1514065"/>
                  <a:gd name="connsiteY133" fmla="*/ 341063 h 1418440"/>
                  <a:gd name="connsiteX134" fmla="*/ 951152 w 1514065"/>
                  <a:gd name="connsiteY134" fmla="*/ 320026 h 1418440"/>
                  <a:gd name="connsiteX135" fmla="*/ 933302 w 1514065"/>
                  <a:gd name="connsiteY135" fmla="*/ 328313 h 1418440"/>
                  <a:gd name="connsiteX136" fmla="*/ 923740 w 1514065"/>
                  <a:gd name="connsiteY136" fmla="*/ 317476 h 1418440"/>
                  <a:gd name="connsiteX137" fmla="*/ 874014 w 1514065"/>
                  <a:gd name="connsiteY137" fmla="*/ 312376 h 1418440"/>
                  <a:gd name="connsiteX138" fmla="*/ 836402 w 1514065"/>
                  <a:gd name="connsiteY138" fmla="*/ 277951 h 1418440"/>
                  <a:gd name="connsiteX139" fmla="*/ 830664 w 1514065"/>
                  <a:gd name="connsiteY139" fmla="*/ 289426 h 1418440"/>
                  <a:gd name="connsiteX140" fmla="*/ 802614 w 1514065"/>
                  <a:gd name="connsiteY140" fmla="*/ 288151 h 1418440"/>
                  <a:gd name="connsiteX141" fmla="*/ 777114 w 1514065"/>
                  <a:gd name="connsiteY141" fmla="*/ 263926 h 1418440"/>
                  <a:gd name="connsiteX142" fmla="*/ 765639 w 1514065"/>
                  <a:gd name="connsiteY142" fmla="*/ 225676 h 1418440"/>
                  <a:gd name="connsiteX143" fmla="*/ 763726 w 1514065"/>
                  <a:gd name="connsiteY143" fmla="*/ 5738 h 1418440"/>
                  <a:gd name="connsiteX144" fmla="*/ 599889 w 1514065"/>
                  <a:gd name="connsiteY144" fmla="*/ 3825 h 1418440"/>
                  <a:gd name="connsiteX145" fmla="*/ 444338 w 1514065"/>
                  <a:gd name="connsiteY145" fmla="*/ 0 h 1418440"/>
                  <a:gd name="connsiteX146" fmla="*/ 438601 w 1514065"/>
                  <a:gd name="connsiteY146" fmla="*/ 2550 h 1418440"/>
                  <a:gd name="connsiteX147" fmla="*/ 438601 w 1514065"/>
                  <a:gd name="connsiteY147" fmla="*/ 2550 h 14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14065" h="1418440">
                    <a:moveTo>
                      <a:pt x="1111165" y="1389115"/>
                    </a:moveTo>
                    <a:lnTo>
                      <a:pt x="1079927" y="1272453"/>
                    </a:lnTo>
                    <a:lnTo>
                      <a:pt x="1079927" y="1294128"/>
                    </a:lnTo>
                    <a:lnTo>
                      <a:pt x="1111165" y="1389115"/>
                    </a:lnTo>
                    <a:close/>
                    <a:moveTo>
                      <a:pt x="1103515" y="1185115"/>
                    </a:moveTo>
                    <a:lnTo>
                      <a:pt x="1081840" y="1225915"/>
                    </a:lnTo>
                    <a:lnTo>
                      <a:pt x="1079290" y="1239303"/>
                    </a:lnTo>
                    <a:lnTo>
                      <a:pt x="1103515" y="1185115"/>
                    </a:lnTo>
                    <a:lnTo>
                      <a:pt x="1103515" y="1185115"/>
                    </a:lnTo>
                    <a:close/>
                    <a:moveTo>
                      <a:pt x="1120727" y="1154515"/>
                    </a:moveTo>
                    <a:lnTo>
                      <a:pt x="1141127" y="1127102"/>
                    </a:lnTo>
                    <a:lnTo>
                      <a:pt x="1126465" y="1136665"/>
                    </a:lnTo>
                    <a:lnTo>
                      <a:pt x="1120727" y="1154515"/>
                    </a:lnTo>
                    <a:close/>
                    <a:moveTo>
                      <a:pt x="1194040" y="1089490"/>
                    </a:moveTo>
                    <a:lnTo>
                      <a:pt x="1145590" y="1114352"/>
                    </a:lnTo>
                    <a:lnTo>
                      <a:pt x="1158977" y="1111802"/>
                    </a:lnTo>
                    <a:lnTo>
                      <a:pt x="1194040" y="1089490"/>
                    </a:lnTo>
                    <a:close/>
                    <a:moveTo>
                      <a:pt x="1200415" y="1079927"/>
                    </a:moveTo>
                    <a:lnTo>
                      <a:pt x="1213803" y="1068452"/>
                    </a:lnTo>
                    <a:lnTo>
                      <a:pt x="1208702" y="1069727"/>
                    </a:lnTo>
                    <a:lnTo>
                      <a:pt x="1200415" y="1079927"/>
                    </a:lnTo>
                    <a:close/>
                    <a:moveTo>
                      <a:pt x="438601" y="2550"/>
                    </a:moveTo>
                    <a:lnTo>
                      <a:pt x="434138" y="1912"/>
                    </a:lnTo>
                    <a:lnTo>
                      <a:pt x="412463" y="604351"/>
                    </a:lnTo>
                    <a:lnTo>
                      <a:pt x="285601" y="598614"/>
                    </a:lnTo>
                    <a:lnTo>
                      <a:pt x="81600" y="587139"/>
                    </a:lnTo>
                    <a:lnTo>
                      <a:pt x="0" y="581401"/>
                    </a:lnTo>
                    <a:lnTo>
                      <a:pt x="15938" y="613276"/>
                    </a:lnTo>
                    <a:lnTo>
                      <a:pt x="16575" y="613914"/>
                    </a:lnTo>
                    <a:lnTo>
                      <a:pt x="86063" y="683401"/>
                    </a:lnTo>
                    <a:lnTo>
                      <a:pt x="125588" y="730577"/>
                    </a:lnTo>
                    <a:lnTo>
                      <a:pt x="178500" y="769464"/>
                    </a:lnTo>
                    <a:lnTo>
                      <a:pt x="215475" y="837677"/>
                    </a:lnTo>
                    <a:lnTo>
                      <a:pt x="229500" y="909077"/>
                    </a:lnTo>
                    <a:lnTo>
                      <a:pt x="260100" y="928839"/>
                    </a:lnTo>
                    <a:lnTo>
                      <a:pt x="283688" y="955615"/>
                    </a:lnTo>
                    <a:lnTo>
                      <a:pt x="317476" y="967727"/>
                    </a:lnTo>
                    <a:lnTo>
                      <a:pt x="367201" y="999602"/>
                    </a:lnTo>
                    <a:lnTo>
                      <a:pt x="389513" y="1007890"/>
                    </a:lnTo>
                    <a:lnTo>
                      <a:pt x="420751" y="976652"/>
                    </a:lnTo>
                    <a:lnTo>
                      <a:pt x="430951" y="943502"/>
                    </a:lnTo>
                    <a:lnTo>
                      <a:pt x="446888" y="911627"/>
                    </a:lnTo>
                    <a:lnTo>
                      <a:pt x="497251" y="891864"/>
                    </a:lnTo>
                    <a:lnTo>
                      <a:pt x="516376" y="902064"/>
                    </a:lnTo>
                    <a:lnTo>
                      <a:pt x="571839" y="906527"/>
                    </a:lnTo>
                    <a:lnTo>
                      <a:pt x="622839" y="938402"/>
                    </a:lnTo>
                    <a:lnTo>
                      <a:pt x="657264" y="944777"/>
                    </a:lnTo>
                    <a:lnTo>
                      <a:pt x="647064" y="962627"/>
                    </a:lnTo>
                    <a:lnTo>
                      <a:pt x="666826" y="975377"/>
                    </a:lnTo>
                    <a:lnTo>
                      <a:pt x="685314" y="997690"/>
                    </a:lnTo>
                    <a:lnTo>
                      <a:pt x="689139" y="1021277"/>
                    </a:lnTo>
                    <a:lnTo>
                      <a:pt x="701251" y="1037215"/>
                    </a:lnTo>
                    <a:lnTo>
                      <a:pt x="729939" y="1105427"/>
                    </a:lnTo>
                    <a:lnTo>
                      <a:pt x="758627" y="1129015"/>
                    </a:lnTo>
                    <a:lnTo>
                      <a:pt x="780302" y="1164715"/>
                    </a:lnTo>
                    <a:lnTo>
                      <a:pt x="808352" y="1193403"/>
                    </a:lnTo>
                    <a:lnTo>
                      <a:pt x="820464" y="1197227"/>
                    </a:lnTo>
                    <a:lnTo>
                      <a:pt x="831302" y="1270540"/>
                    </a:lnTo>
                    <a:lnTo>
                      <a:pt x="861902" y="1287115"/>
                    </a:lnTo>
                    <a:lnTo>
                      <a:pt x="863177" y="1310065"/>
                    </a:lnTo>
                    <a:lnTo>
                      <a:pt x="870827" y="1308153"/>
                    </a:lnTo>
                    <a:lnTo>
                      <a:pt x="923740" y="1372540"/>
                    </a:lnTo>
                    <a:lnTo>
                      <a:pt x="950514" y="1378278"/>
                    </a:lnTo>
                    <a:lnTo>
                      <a:pt x="983664" y="1398040"/>
                    </a:lnTo>
                    <a:lnTo>
                      <a:pt x="1035302" y="1398040"/>
                    </a:lnTo>
                    <a:lnTo>
                      <a:pt x="1072277" y="1418440"/>
                    </a:lnTo>
                    <a:lnTo>
                      <a:pt x="1116902" y="1408241"/>
                    </a:lnTo>
                    <a:lnTo>
                      <a:pt x="1097140" y="1389753"/>
                    </a:lnTo>
                    <a:lnTo>
                      <a:pt x="1079290" y="1335565"/>
                    </a:lnTo>
                    <a:lnTo>
                      <a:pt x="1072277" y="1288390"/>
                    </a:lnTo>
                    <a:lnTo>
                      <a:pt x="1061440" y="1273090"/>
                    </a:lnTo>
                    <a:lnTo>
                      <a:pt x="1065902" y="1241215"/>
                    </a:lnTo>
                    <a:lnTo>
                      <a:pt x="1052515" y="1239940"/>
                    </a:lnTo>
                    <a:lnTo>
                      <a:pt x="1034665" y="1209977"/>
                    </a:lnTo>
                    <a:lnTo>
                      <a:pt x="1055065" y="1231653"/>
                    </a:lnTo>
                    <a:lnTo>
                      <a:pt x="1078652" y="1223365"/>
                    </a:lnTo>
                    <a:lnTo>
                      <a:pt x="1091402" y="1189578"/>
                    </a:lnTo>
                    <a:lnTo>
                      <a:pt x="1065902" y="1155152"/>
                    </a:lnTo>
                    <a:lnTo>
                      <a:pt x="1104152" y="1159615"/>
                    </a:lnTo>
                    <a:lnTo>
                      <a:pt x="1122002" y="1131565"/>
                    </a:lnTo>
                    <a:lnTo>
                      <a:pt x="1119452" y="1121365"/>
                    </a:lnTo>
                    <a:lnTo>
                      <a:pt x="1135390" y="1100327"/>
                    </a:lnTo>
                    <a:lnTo>
                      <a:pt x="1131565" y="1118815"/>
                    </a:lnTo>
                    <a:lnTo>
                      <a:pt x="1149415" y="1104790"/>
                    </a:lnTo>
                    <a:lnTo>
                      <a:pt x="1142402" y="1079927"/>
                    </a:lnTo>
                    <a:lnTo>
                      <a:pt x="1165352" y="1092040"/>
                    </a:lnTo>
                    <a:lnTo>
                      <a:pt x="1195315" y="1075465"/>
                    </a:lnTo>
                    <a:lnTo>
                      <a:pt x="1165990" y="1044865"/>
                    </a:lnTo>
                    <a:lnTo>
                      <a:pt x="1183840" y="1051877"/>
                    </a:lnTo>
                    <a:lnTo>
                      <a:pt x="1216990" y="1053790"/>
                    </a:lnTo>
                    <a:lnTo>
                      <a:pt x="1260978" y="1043590"/>
                    </a:lnTo>
                    <a:lnTo>
                      <a:pt x="1310065" y="1010440"/>
                    </a:lnTo>
                    <a:lnTo>
                      <a:pt x="1340028" y="986215"/>
                    </a:lnTo>
                    <a:lnTo>
                      <a:pt x="1344490" y="968365"/>
                    </a:lnTo>
                    <a:lnTo>
                      <a:pt x="1362340" y="949877"/>
                    </a:lnTo>
                    <a:lnTo>
                      <a:pt x="1352140" y="918640"/>
                    </a:lnTo>
                    <a:lnTo>
                      <a:pt x="1354053" y="899515"/>
                    </a:lnTo>
                    <a:lnTo>
                      <a:pt x="1386565" y="885489"/>
                    </a:lnTo>
                    <a:lnTo>
                      <a:pt x="1384015" y="919277"/>
                    </a:lnTo>
                    <a:lnTo>
                      <a:pt x="1403140" y="919277"/>
                    </a:lnTo>
                    <a:lnTo>
                      <a:pt x="1382103" y="937127"/>
                    </a:lnTo>
                    <a:lnTo>
                      <a:pt x="1467528" y="891864"/>
                    </a:lnTo>
                    <a:lnTo>
                      <a:pt x="1481553" y="891227"/>
                    </a:lnTo>
                    <a:lnTo>
                      <a:pt x="1491116" y="850427"/>
                    </a:lnTo>
                    <a:lnTo>
                      <a:pt x="1493665" y="850427"/>
                    </a:lnTo>
                    <a:lnTo>
                      <a:pt x="1503866" y="826839"/>
                    </a:lnTo>
                    <a:lnTo>
                      <a:pt x="1508328" y="753527"/>
                    </a:lnTo>
                    <a:lnTo>
                      <a:pt x="1514066" y="723564"/>
                    </a:lnTo>
                    <a:lnTo>
                      <a:pt x="1497491" y="670651"/>
                    </a:lnTo>
                    <a:lnTo>
                      <a:pt x="1477091" y="634952"/>
                    </a:lnTo>
                    <a:lnTo>
                      <a:pt x="1476453" y="617739"/>
                    </a:lnTo>
                    <a:lnTo>
                      <a:pt x="1455415" y="587776"/>
                    </a:lnTo>
                    <a:lnTo>
                      <a:pt x="1442665" y="464101"/>
                    </a:lnTo>
                    <a:lnTo>
                      <a:pt x="1442028" y="448801"/>
                    </a:lnTo>
                    <a:lnTo>
                      <a:pt x="1440753" y="432864"/>
                    </a:lnTo>
                    <a:lnTo>
                      <a:pt x="1436928" y="376764"/>
                    </a:lnTo>
                    <a:lnTo>
                      <a:pt x="1398678" y="378038"/>
                    </a:lnTo>
                    <a:lnTo>
                      <a:pt x="1388478" y="367201"/>
                    </a:lnTo>
                    <a:lnTo>
                      <a:pt x="1386565" y="366563"/>
                    </a:lnTo>
                    <a:lnTo>
                      <a:pt x="1385928" y="366563"/>
                    </a:lnTo>
                    <a:lnTo>
                      <a:pt x="1361065" y="362101"/>
                    </a:lnTo>
                    <a:lnTo>
                      <a:pt x="1331740" y="343613"/>
                    </a:lnTo>
                    <a:lnTo>
                      <a:pt x="1299228" y="330226"/>
                    </a:lnTo>
                    <a:lnTo>
                      <a:pt x="1239303" y="348713"/>
                    </a:lnTo>
                    <a:lnTo>
                      <a:pt x="1223365" y="344888"/>
                    </a:lnTo>
                    <a:lnTo>
                      <a:pt x="1203602" y="352538"/>
                    </a:lnTo>
                    <a:lnTo>
                      <a:pt x="1179377" y="372301"/>
                    </a:lnTo>
                    <a:lnTo>
                      <a:pt x="1113715" y="341063"/>
                    </a:lnTo>
                    <a:lnTo>
                      <a:pt x="1093315" y="369751"/>
                    </a:lnTo>
                    <a:lnTo>
                      <a:pt x="1062715" y="358276"/>
                    </a:lnTo>
                    <a:lnTo>
                      <a:pt x="1030202" y="337876"/>
                    </a:lnTo>
                    <a:lnTo>
                      <a:pt x="1012990" y="352538"/>
                    </a:lnTo>
                    <a:lnTo>
                      <a:pt x="996414" y="353176"/>
                    </a:lnTo>
                    <a:lnTo>
                      <a:pt x="996414" y="341063"/>
                    </a:lnTo>
                    <a:lnTo>
                      <a:pt x="951152" y="320026"/>
                    </a:lnTo>
                    <a:lnTo>
                      <a:pt x="933302" y="328313"/>
                    </a:lnTo>
                    <a:lnTo>
                      <a:pt x="923740" y="317476"/>
                    </a:lnTo>
                    <a:lnTo>
                      <a:pt x="874014" y="312376"/>
                    </a:lnTo>
                    <a:lnTo>
                      <a:pt x="836402" y="277951"/>
                    </a:lnTo>
                    <a:lnTo>
                      <a:pt x="830664" y="289426"/>
                    </a:lnTo>
                    <a:lnTo>
                      <a:pt x="802614" y="288151"/>
                    </a:lnTo>
                    <a:lnTo>
                      <a:pt x="777114" y="263926"/>
                    </a:lnTo>
                    <a:lnTo>
                      <a:pt x="765639" y="225676"/>
                    </a:lnTo>
                    <a:lnTo>
                      <a:pt x="763726" y="5738"/>
                    </a:lnTo>
                    <a:lnTo>
                      <a:pt x="599889" y="3825"/>
                    </a:lnTo>
                    <a:lnTo>
                      <a:pt x="444338" y="0"/>
                    </a:lnTo>
                    <a:lnTo>
                      <a:pt x="438601" y="2550"/>
                    </a:lnTo>
                    <a:lnTo>
                      <a:pt x="438601" y="2550"/>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7" name="Freeform 42">
                <a:extLst>
                  <a:ext uri="{FF2B5EF4-FFF2-40B4-BE49-F238E27FC236}">
                    <a16:creationId xmlns:a16="http://schemas.microsoft.com/office/drawing/2014/main" id="{15AE7D66-9C0E-B939-5260-042ED6B9F2E6}"/>
                  </a:ext>
                </a:extLst>
              </p:cNvPr>
              <p:cNvSpPr/>
              <p:nvPr/>
            </p:nvSpPr>
            <p:spPr>
              <a:xfrm>
                <a:off x="6950869" y="1809210"/>
                <a:ext cx="184237" cy="193162"/>
              </a:xfrm>
              <a:custGeom>
                <a:avLst/>
                <a:gdLst>
                  <a:gd name="connsiteX0" fmla="*/ 157463 w 184237"/>
                  <a:gd name="connsiteY0" fmla="*/ 0 h 193162"/>
                  <a:gd name="connsiteX1" fmla="*/ 65025 w 184237"/>
                  <a:gd name="connsiteY1" fmla="*/ 35063 h 193162"/>
                  <a:gd name="connsiteX2" fmla="*/ 63750 w 184237"/>
                  <a:gd name="connsiteY2" fmla="*/ 31875 h 193162"/>
                  <a:gd name="connsiteX3" fmla="*/ 11475 w 184237"/>
                  <a:gd name="connsiteY3" fmla="*/ 47175 h 193162"/>
                  <a:gd name="connsiteX4" fmla="*/ 0 w 184237"/>
                  <a:gd name="connsiteY4" fmla="*/ 50363 h 193162"/>
                  <a:gd name="connsiteX5" fmla="*/ 1275 w 184237"/>
                  <a:gd name="connsiteY5" fmla="*/ 56738 h 193162"/>
                  <a:gd name="connsiteX6" fmla="*/ 25500 w 184237"/>
                  <a:gd name="connsiteY6" fmla="*/ 151088 h 193162"/>
                  <a:gd name="connsiteX7" fmla="*/ 33150 w 184237"/>
                  <a:gd name="connsiteY7" fmla="*/ 161288 h 193162"/>
                  <a:gd name="connsiteX8" fmla="*/ 16575 w 184237"/>
                  <a:gd name="connsiteY8" fmla="*/ 181688 h 193162"/>
                  <a:gd name="connsiteX9" fmla="*/ 28050 w 184237"/>
                  <a:gd name="connsiteY9" fmla="*/ 193163 h 193162"/>
                  <a:gd name="connsiteX10" fmla="*/ 28050 w 184237"/>
                  <a:gd name="connsiteY10" fmla="*/ 193163 h 193162"/>
                  <a:gd name="connsiteX11" fmla="*/ 65025 w 184237"/>
                  <a:gd name="connsiteY11" fmla="*/ 157463 h 193162"/>
                  <a:gd name="connsiteX12" fmla="*/ 84788 w 184237"/>
                  <a:gd name="connsiteY12" fmla="*/ 129413 h 193162"/>
                  <a:gd name="connsiteX13" fmla="*/ 88612 w 184237"/>
                  <a:gd name="connsiteY13" fmla="*/ 137063 h 193162"/>
                  <a:gd name="connsiteX14" fmla="*/ 182325 w 184237"/>
                  <a:gd name="connsiteY14" fmla="*/ 95625 h 193162"/>
                  <a:gd name="connsiteX15" fmla="*/ 184238 w 184237"/>
                  <a:gd name="connsiteY15" fmla="*/ 93713 h 193162"/>
                  <a:gd name="connsiteX16" fmla="*/ 183600 w 184237"/>
                  <a:gd name="connsiteY16" fmla="*/ 78413 h 193162"/>
                  <a:gd name="connsiteX17" fmla="*/ 179775 w 184237"/>
                  <a:gd name="connsiteY17" fmla="*/ 65025 h 193162"/>
                  <a:gd name="connsiteX18" fmla="*/ 160013 w 184237"/>
                  <a:gd name="connsiteY18" fmla="*/ 9563 h 193162"/>
                  <a:gd name="connsiteX19" fmla="*/ 157463 w 184237"/>
                  <a:gd name="connsiteY19" fmla="*/ 2550 h 193162"/>
                  <a:gd name="connsiteX20" fmla="*/ 157463 w 184237"/>
                  <a:gd name="connsiteY20" fmla="*/ 0 h 193162"/>
                  <a:gd name="connsiteX21" fmla="*/ 157463 w 184237"/>
                  <a:gd name="connsiteY21" fmla="*/ 0 h 19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237" h="193162">
                    <a:moveTo>
                      <a:pt x="157463" y="0"/>
                    </a:moveTo>
                    <a:lnTo>
                      <a:pt x="65025" y="35063"/>
                    </a:lnTo>
                    <a:lnTo>
                      <a:pt x="63750" y="31875"/>
                    </a:lnTo>
                    <a:lnTo>
                      <a:pt x="11475" y="47175"/>
                    </a:lnTo>
                    <a:lnTo>
                      <a:pt x="0" y="50363"/>
                    </a:lnTo>
                    <a:lnTo>
                      <a:pt x="1275" y="56738"/>
                    </a:lnTo>
                    <a:lnTo>
                      <a:pt x="25500" y="151088"/>
                    </a:lnTo>
                    <a:lnTo>
                      <a:pt x="33150" y="161288"/>
                    </a:lnTo>
                    <a:lnTo>
                      <a:pt x="16575" y="181688"/>
                    </a:lnTo>
                    <a:lnTo>
                      <a:pt x="28050" y="193163"/>
                    </a:lnTo>
                    <a:lnTo>
                      <a:pt x="28050" y="193163"/>
                    </a:lnTo>
                    <a:lnTo>
                      <a:pt x="65025" y="157463"/>
                    </a:lnTo>
                    <a:lnTo>
                      <a:pt x="84788" y="129413"/>
                    </a:lnTo>
                    <a:lnTo>
                      <a:pt x="88612" y="137063"/>
                    </a:lnTo>
                    <a:lnTo>
                      <a:pt x="182325" y="95625"/>
                    </a:lnTo>
                    <a:lnTo>
                      <a:pt x="184238" y="93713"/>
                    </a:lnTo>
                    <a:lnTo>
                      <a:pt x="183600" y="78413"/>
                    </a:lnTo>
                    <a:lnTo>
                      <a:pt x="179775" y="65025"/>
                    </a:lnTo>
                    <a:lnTo>
                      <a:pt x="160013" y="9563"/>
                    </a:lnTo>
                    <a:lnTo>
                      <a:pt x="157463" y="2550"/>
                    </a:lnTo>
                    <a:lnTo>
                      <a:pt x="157463" y="0"/>
                    </a:lnTo>
                    <a:lnTo>
                      <a:pt x="157463" y="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8" name="Freeform 43">
                <a:extLst>
                  <a:ext uri="{FF2B5EF4-FFF2-40B4-BE49-F238E27FC236}">
                    <a16:creationId xmlns:a16="http://schemas.microsoft.com/office/drawing/2014/main" id="{BF054858-4B8B-E89A-7534-CA1030284637}"/>
                  </a:ext>
                </a:extLst>
              </p:cNvPr>
              <p:cNvSpPr/>
              <p:nvPr/>
            </p:nvSpPr>
            <p:spPr>
              <a:xfrm>
                <a:off x="6984019" y="1364234"/>
                <a:ext cx="177225" cy="374850"/>
              </a:xfrm>
              <a:custGeom>
                <a:avLst/>
                <a:gdLst>
                  <a:gd name="connsiteX0" fmla="*/ 37613 w 177225"/>
                  <a:gd name="connsiteY0" fmla="*/ 0 h 374850"/>
                  <a:gd name="connsiteX1" fmla="*/ 29325 w 177225"/>
                  <a:gd name="connsiteY1" fmla="*/ 10838 h 374850"/>
                  <a:gd name="connsiteX2" fmla="*/ 19125 w 177225"/>
                  <a:gd name="connsiteY2" fmla="*/ 8925 h 374850"/>
                  <a:gd name="connsiteX3" fmla="*/ 14025 w 177225"/>
                  <a:gd name="connsiteY3" fmla="*/ 51000 h 374850"/>
                  <a:gd name="connsiteX4" fmla="*/ 14025 w 177225"/>
                  <a:gd name="connsiteY4" fmla="*/ 51638 h 374850"/>
                  <a:gd name="connsiteX5" fmla="*/ 29325 w 177225"/>
                  <a:gd name="connsiteY5" fmla="*/ 109013 h 374850"/>
                  <a:gd name="connsiteX6" fmla="*/ 28050 w 177225"/>
                  <a:gd name="connsiteY6" fmla="*/ 120488 h 374850"/>
                  <a:gd name="connsiteX7" fmla="*/ 0 w 177225"/>
                  <a:gd name="connsiteY7" fmla="*/ 156825 h 374850"/>
                  <a:gd name="connsiteX8" fmla="*/ 7013 w 177225"/>
                  <a:gd name="connsiteY8" fmla="*/ 189976 h 374850"/>
                  <a:gd name="connsiteX9" fmla="*/ 7013 w 177225"/>
                  <a:gd name="connsiteY9" fmla="*/ 231413 h 374850"/>
                  <a:gd name="connsiteX10" fmla="*/ 1913 w 177225"/>
                  <a:gd name="connsiteY10" fmla="*/ 269663 h 374850"/>
                  <a:gd name="connsiteX11" fmla="*/ 31238 w 177225"/>
                  <a:gd name="connsiteY11" fmla="*/ 374851 h 374850"/>
                  <a:gd name="connsiteX12" fmla="*/ 31238 w 177225"/>
                  <a:gd name="connsiteY12" fmla="*/ 374851 h 374850"/>
                  <a:gd name="connsiteX13" fmla="*/ 31238 w 177225"/>
                  <a:gd name="connsiteY13" fmla="*/ 374851 h 374850"/>
                  <a:gd name="connsiteX14" fmla="*/ 58013 w 177225"/>
                  <a:gd name="connsiteY14" fmla="*/ 366563 h 374850"/>
                  <a:gd name="connsiteX15" fmla="*/ 138976 w 177225"/>
                  <a:gd name="connsiteY15" fmla="*/ 339151 h 374850"/>
                  <a:gd name="connsiteX16" fmla="*/ 175313 w 177225"/>
                  <a:gd name="connsiteY16" fmla="*/ 299626 h 374850"/>
                  <a:gd name="connsiteX17" fmla="*/ 175313 w 177225"/>
                  <a:gd name="connsiteY17" fmla="*/ 299626 h 374850"/>
                  <a:gd name="connsiteX18" fmla="*/ 175313 w 177225"/>
                  <a:gd name="connsiteY18" fmla="*/ 291338 h 374850"/>
                  <a:gd name="connsiteX19" fmla="*/ 177226 w 177225"/>
                  <a:gd name="connsiteY19" fmla="*/ 274763 h 374850"/>
                  <a:gd name="connsiteX20" fmla="*/ 172763 w 177225"/>
                  <a:gd name="connsiteY20" fmla="*/ 276676 h 374850"/>
                  <a:gd name="connsiteX21" fmla="*/ 172125 w 177225"/>
                  <a:gd name="connsiteY21" fmla="*/ 272851 h 374850"/>
                  <a:gd name="connsiteX22" fmla="*/ 131963 w 177225"/>
                  <a:gd name="connsiteY22" fmla="*/ 223125 h 374850"/>
                  <a:gd name="connsiteX23" fmla="*/ 131963 w 177225"/>
                  <a:gd name="connsiteY23" fmla="*/ 218663 h 374850"/>
                  <a:gd name="connsiteX24" fmla="*/ 37613 w 177225"/>
                  <a:gd name="connsiteY24" fmla="*/ 0 h 374850"/>
                  <a:gd name="connsiteX25" fmla="*/ 37613 w 177225"/>
                  <a:gd name="connsiteY25" fmla="*/ 0 h 3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7225" h="374850">
                    <a:moveTo>
                      <a:pt x="37613" y="0"/>
                    </a:moveTo>
                    <a:lnTo>
                      <a:pt x="29325" y="10838"/>
                    </a:lnTo>
                    <a:lnTo>
                      <a:pt x="19125" y="8925"/>
                    </a:lnTo>
                    <a:lnTo>
                      <a:pt x="14025" y="51000"/>
                    </a:lnTo>
                    <a:lnTo>
                      <a:pt x="14025" y="51638"/>
                    </a:lnTo>
                    <a:lnTo>
                      <a:pt x="29325" y="109013"/>
                    </a:lnTo>
                    <a:lnTo>
                      <a:pt x="28050" y="120488"/>
                    </a:lnTo>
                    <a:lnTo>
                      <a:pt x="0" y="156825"/>
                    </a:lnTo>
                    <a:lnTo>
                      <a:pt x="7013" y="189976"/>
                    </a:lnTo>
                    <a:lnTo>
                      <a:pt x="7013" y="231413"/>
                    </a:lnTo>
                    <a:lnTo>
                      <a:pt x="1913" y="269663"/>
                    </a:lnTo>
                    <a:lnTo>
                      <a:pt x="31238" y="374851"/>
                    </a:lnTo>
                    <a:lnTo>
                      <a:pt x="31238" y="374851"/>
                    </a:lnTo>
                    <a:lnTo>
                      <a:pt x="31238" y="374851"/>
                    </a:lnTo>
                    <a:lnTo>
                      <a:pt x="58013" y="366563"/>
                    </a:lnTo>
                    <a:lnTo>
                      <a:pt x="138976" y="339151"/>
                    </a:lnTo>
                    <a:lnTo>
                      <a:pt x="175313" y="299626"/>
                    </a:lnTo>
                    <a:lnTo>
                      <a:pt x="175313" y="299626"/>
                    </a:lnTo>
                    <a:lnTo>
                      <a:pt x="175313" y="291338"/>
                    </a:lnTo>
                    <a:lnTo>
                      <a:pt x="177226" y="274763"/>
                    </a:lnTo>
                    <a:lnTo>
                      <a:pt x="172763" y="276676"/>
                    </a:lnTo>
                    <a:lnTo>
                      <a:pt x="172125" y="272851"/>
                    </a:lnTo>
                    <a:lnTo>
                      <a:pt x="131963" y="223125"/>
                    </a:lnTo>
                    <a:lnTo>
                      <a:pt x="131963" y="218663"/>
                    </a:lnTo>
                    <a:lnTo>
                      <a:pt x="37613" y="0"/>
                    </a:lnTo>
                    <a:lnTo>
                      <a:pt x="37613"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39" name="Freeform 44">
                <a:extLst>
                  <a:ext uri="{FF2B5EF4-FFF2-40B4-BE49-F238E27FC236}">
                    <a16:creationId xmlns:a16="http://schemas.microsoft.com/office/drawing/2014/main" id="{2A8CE5DB-CDAA-8D7B-A9FC-7B8CC09A0D95}"/>
                  </a:ext>
                </a:extLst>
              </p:cNvPr>
              <p:cNvSpPr/>
              <p:nvPr/>
            </p:nvSpPr>
            <p:spPr>
              <a:xfrm>
                <a:off x="7108969" y="1795185"/>
                <a:ext cx="85424" cy="106462"/>
              </a:xfrm>
              <a:custGeom>
                <a:avLst/>
                <a:gdLst>
                  <a:gd name="connsiteX0" fmla="*/ 62475 w 85424"/>
                  <a:gd name="connsiteY0" fmla="*/ 72038 h 106462"/>
                  <a:gd name="connsiteX1" fmla="*/ 61838 w 85424"/>
                  <a:gd name="connsiteY1" fmla="*/ 58650 h 106462"/>
                  <a:gd name="connsiteX2" fmla="*/ 59925 w 85424"/>
                  <a:gd name="connsiteY2" fmla="*/ 63750 h 106462"/>
                  <a:gd name="connsiteX3" fmla="*/ 62475 w 85424"/>
                  <a:gd name="connsiteY3" fmla="*/ 72038 h 106462"/>
                  <a:gd name="connsiteX4" fmla="*/ 62475 w 85424"/>
                  <a:gd name="connsiteY4" fmla="*/ 72038 h 106462"/>
                  <a:gd name="connsiteX5" fmla="*/ 74588 w 85424"/>
                  <a:gd name="connsiteY5" fmla="*/ 61838 h 106462"/>
                  <a:gd name="connsiteX6" fmla="*/ 66300 w 85424"/>
                  <a:gd name="connsiteY6" fmla="*/ 45900 h 106462"/>
                  <a:gd name="connsiteX7" fmla="*/ 65663 w 85424"/>
                  <a:gd name="connsiteY7" fmla="*/ 62475 h 106462"/>
                  <a:gd name="connsiteX8" fmla="*/ 74588 w 85424"/>
                  <a:gd name="connsiteY8" fmla="*/ 61838 h 106462"/>
                  <a:gd name="connsiteX9" fmla="*/ 74588 w 85424"/>
                  <a:gd name="connsiteY9" fmla="*/ 61838 h 106462"/>
                  <a:gd name="connsiteX10" fmla="*/ 71400 w 85424"/>
                  <a:gd name="connsiteY10" fmla="*/ 42075 h 106462"/>
                  <a:gd name="connsiteX11" fmla="*/ 75862 w 85424"/>
                  <a:gd name="connsiteY11" fmla="*/ 53550 h 106462"/>
                  <a:gd name="connsiteX12" fmla="*/ 81600 w 85424"/>
                  <a:gd name="connsiteY12" fmla="*/ 64388 h 106462"/>
                  <a:gd name="connsiteX13" fmla="*/ 85425 w 85424"/>
                  <a:gd name="connsiteY13" fmla="*/ 56738 h 106462"/>
                  <a:gd name="connsiteX14" fmla="*/ 79688 w 85424"/>
                  <a:gd name="connsiteY14" fmla="*/ 45263 h 106462"/>
                  <a:gd name="connsiteX15" fmla="*/ 77775 w 85424"/>
                  <a:gd name="connsiteY15" fmla="*/ 37613 h 106462"/>
                  <a:gd name="connsiteX16" fmla="*/ 71400 w 85424"/>
                  <a:gd name="connsiteY16" fmla="*/ 37613 h 106462"/>
                  <a:gd name="connsiteX17" fmla="*/ 71400 w 85424"/>
                  <a:gd name="connsiteY17" fmla="*/ 42075 h 106462"/>
                  <a:gd name="connsiteX18" fmla="*/ 0 w 85424"/>
                  <a:gd name="connsiteY18" fmla="*/ 15300 h 106462"/>
                  <a:gd name="connsiteX19" fmla="*/ 2550 w 85424"/>
                  <a:gd name="connsiteY19" fmla="*/ 22313 h 106462"/>
                  <a:gd name="connsiteX20" fmla="*/ 22313 w 85424"/>
                  <a:gd name="connsiteY20" fmla="*/ 77775 h 106462"/>
                  <a:gd name="connsiteX21" fmla="*/ 26137 w 85424"/>
                  <a:gd name="connsiteY21" fmla="*/ 91163 h 106462"/>
                  <a:gd name="connsiteX22" fmla="*/ 26775 w 85424"/>
                  <a:gd name="connsiteY22" fmla="*/ 106463 h 106462"/>
                  <a:gd name="connsiteX23" fmla="*/ 28050 w 85424"/>
                  <a:gd name="connsiteY23" fmla="*/ 104550 h 106462"/>
                  <a:gd name="connsiteX24" fmla="*/ 59288 w 85424"/>
                  <a:gd name="connsiteY24" fmla="*/ 80325 h 106462"/>
                  <a:gd name="connsiteX25" fmla="*/ 53550 w 85424"/>
                  <a:gd name="connsiteY25" fmla="*/ 36338 h 106462"/>
                  <a:gd name="connsiteX26" fmla="*/ 66300 w 85424"/>
                  <a:gd name="connsiteY26" fmla="*/ 33788 h 106462"/>
                  <a:gd name="connsiteX27" fmla="*/ 66300 w 85424"/>
                  <a:gd name="connsiteY27" fmla="*/ 33788 h 106462"/>
                  <a:gd name="connsiteX28" fmla="*/ 37612 w 85424"/>
                  <a:gd name="connsiteY28" fmla="*/ 0 h 106462"/>
                  <a:gd name="connsiteX29" fmla="*/ 7650 w 85424"/>
                  <a:gd name="connsiteY29" fmla="*/ 11475 h 106462"/>
                  <a:gd name="connsiteX30" fmla="*/ 0 w 85424"/>
                  <a:gd name="connsiteY30" fmla="*/ 15300 h 106462"/>
                  <a:gd name="connsiteX31" fmla="*/ 0 w 85424"/>
                  <a:gd name="connsiteY31" fmla="*/ 15300 h 10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424" h="106462">
                    <a:moveTo>
                      <a:pt x="62475" y="72038"/>
                    </a:moveTo>
                    <a:lnTo>
                      <a:pt x="61838" y="58650"/>
                    </a:lnTo>
                    <a:lnTo>
                      <a:pt x="59925" y="63750"/>
                    </a:lnTo>
                    <a:lnTo>
                      <a:pt x="62475" y="72038"/>
                    </a:lnTo>
                    <a:lnTo>
                      <a:pt x="62475" y="72038"/>
                    </a:lnTo>
                    <a:close/>
                    <a:moveTo>
                      <a:pt x="74588" y="61838"/>
                    </a:moveTo>
                    <a:lnTo>
                      <a:pt x="66300" y="45900"/>
                    </a:lnTo>
                    <a:lnTo>
                      <a:pt x="65663" y="62475"/>
                    </a:lnTo>
                    <a:lnTo>
                      <a:pt x="74588" y="61838"/>
                    </a:lnTo>
                    <a:lnTo>
                      <a:pt x="74588" y="61838"/>
                    </a:lnTo>
                    <a:close/>
                    <a:moveTo>
                      <a:pt x="71400" y="42075"/>
                    </a:moveTo>
                    <a:lnTo>
                      <a:pt x="75862" y="53550"/>
                    </a:lnTo>
                    <a:lnTo>
                      <a:pt x="81600" y="64388"/>
                    </a:lnTo>
                    <a:lnTo>
                      <a:pt x="85425" y="56738"/>
                    </a:lnTo>
                    <a:lnTo>
                      <a:pt x="79688" y="45263"/>
                    </a:lnTo>
                    <a:lnTo>
                      <a:pt x="77775" y="37613"/>
                    </a:lnTo>
                    <a:lnTo>
                      <a:pt x="71400" y="37613"/>
                    </a:lnTo>
                    <a:lnTo>
                      <a:pt x="71400" y="42075"/>
                    </a:lnTo>
                    <a:close/>
                    <a:moveTo>
                      <a:pt x="0" y="15300"/>
                    </a:moveTo>
                    <a:lnTo>
                      <a:pt x="2550" y="22313"/>
                    </a:lnTo>
                    <a:lnTo>
                      <a:pt x="22313" y="77775"/>
                    </a:lnTo>
                    <a:lnTo>
                      <a:pt x="26137" y="91163"/>
                    </a:lnTo>
                    <a:lnTo>
                      <a:pt x="26775" y="106463"/>
                    </a:lnTo>
                    <a:lnTo>
                      <a:pt x="28050" y="104550"/>
                    </a:lnTo>
                    <a:lnTo>
                      <a:pt x="59288" y="80325"/>
                    </a:lnTo>
                    <a:lnTo>
                      <a:pt x="53550" y="36338"/>
                    </a:lnTo>
                    <a:lnTo>
                      <a:pt x="66300" y="33788"/>
                    </a:lnTo>
                    <a:lnTo>
                      <a:pt x="66300" y="33788"/>
                    </a:lnTo>
                    <a:lnTo>
                      <a:pt x="37612" y="0"/>
                    </a:lnTo>
                    <a:lnTo>
                      <a:pt x="7650" y="11475"/>
                    </a:lnTo>
                    <a:lnTo>
                      <a:pt x="0" y="15300"/>
                    </a:lnTo>
                    <a:lnTo>
                      <a:pt x="0" y="1530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0" name="Freeform 45">
                <a:extLst>
                  <a:ext uri="{FF2B5EF4-FFF2-40B4-BE49-F238E27FC236}">
                    <a16:creationId xmlns:a16="http://schemas.microsoft.com/office/drawing/2014/main" id="{247EB84D-433D-5776-6324-9E44FB778046}"/>
                  </a:ext>
                </a:extLst>
              </p:cNvPr>
              <p:cNvSpPr/>
              <p:nvPr/>
            </p:nvSpPr>
            <p:spPr>
              <a:xfrm>
                <a:off x="6836756" y="1417147"/>
                <a:ext cx="179137" cy="349988"/>
              </a:xfrm>
              <a:custGeom>
                <a:avLst/>
                <a:gdLst>
                  <a:gd name="connsiteX0" fmla="*/ 179138 w 179137"/>
                  <a:gd name="connsiteY0" fmla="*/ 323213 h 349988"/>
                  <a:gd name="connsiteX1" fmla="*/ 149813 w 179137"/>
                  <a:gd name="connsiteY1" fmla="*/ 218025 h 349988"/>
                  <a:gd name="connsiteX2" fmla="*/ 154913 w 179137"/>
                  <a:gd name="connsiteY2" fmla="*/ 179775 h 349988"/>
                  <a:gd name="connsiteX3" fmla="*/ 154913 w 179137"/>
                  <a:gd name="connsiteY3" fmla="*/ 138338 h 349988"/>
                  <a:gd name="connsiteX4" fmla="*/ 147900 w 179137"/>
                  <a:gd name="connsiteY4" fmla="*/ 105188 h 349988"/>
                  <a:gd name="connsiteX5" fmla="*/ 175950 w 179137"/>
                  <a:gd name="connsiteY5" fmla="*/ 68850 h 349988"/>
                  <a:gd name="connsiteX6" fmla="*/ 177225 w 179137"/>
                  <a:gd name="connsiteY6" fmla="*/ 57375 h 349988"/>
                  <a:gd name="connsiteX7" fmla="*/ 161925 w 179137"/>
                  <a:gd name="connsiteY7" fmla="*/ 0 h 349988"/>
                  <a:gd name="connsiteX8" fmla="*/ 153638 w 179137"/>
                  <a:gd name="connsiteY8" fmla="*/ 3188 h 349988"/>
                  <a:gd name="connsiteX9" fmla="*/ 118575 w 179137"/>
                  <a:gd name="connsiteY9" fmla="*/ 15938 h 349988"/>
                  <a:gd name="connsiteX10" fmla="*/ 84150 w 179137"/>
                  <a:gd name="connsiteY10" fmla="*/ 29325 h 349988"/>
                  <a:gd name="connsiteX11" fmla="*/ 4463 w 179137"/>
                  <a:gd name="connsiteY11" fmla="*/ 58650 h 349988"/>
                  <a:gd name="connsiteX12" fmla="*/ 0 w 179137"/>
                  <a:gd name="connsiteY12" fmla="*/ 59925 h 349988"/>
                  <a:gd name="connsiteX13" fmla="*/ 29325 w 179137"/>
                  <a:gd name="connsiteY13" fmla="*/ 127500 h 349988"/>
                  <a:gd name="connsiteX14" fmla="*/ 39525 w 179137"/>
                  <a:gd name="connsiteY14" fmla="*/ 191250 h 349988"/>
                  <a:gd name="connsiteX15" fmla="*/ 73313 w 179137"/>
                  <a:gd name="connsiteY15" fmla="*/ 244800 h 349988"/>
                  <a:gd name="connsiteX16" fmla="*/ 105825 w 179137"/>
                  <a:gd name="connsiteY16" fmla="*/ 349988 h 349988"/>
                  <a:gd name="connsiteX17" fmla="*/ 107100 w 179137"/>
                  <a:gd name="connsiteY17" fmla="*/ 349351 h 349988"/>
                  <a:gd name="connsiteX18" fmla="*/ 112200 w 179137"/>
                  <a:gd name="connsiteY18" fmla="*/ 347438 h 349988"/>
                  <a:gd name="connsiteX19" fmla="*/ 126863 w 179137"/>
                  <a:gd name="connsiteY19" fmla="*/ 342976 h 349988"/>
                  <a:gd name="connsiteX20" fmla="*/ 139613 w 179137"/>
                  <a:gd name="connsiteY20" fmla="*/ 338513 h 349988"/>
                  <a:gd name="connsiteX21" fmla="*/ 175950 w 179137"/>
                  <a:gd name="connsiteY21" fmla="*/ 327038 h 349988"/>
                  <a:gd name="connsiteX22" fmla="*/ 179138 w 179137"/>
                  <a:gd name="connsiteY22" fmla="*/ 323213 h 349988"/>
                  <a:gd name="connsiteX23" fmla="*/ 179138 w 179137"/>
                  <a:gd name="connsiteY23" fmla="*/ 323213 h 349988"/>
                  <a:gd name="connsiteX24" fmla="*/ 179138 w 179137"/>
                  <a:gd name="connsiteY24" fmla="*/ 323213 h 34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9137" h="349988">
                    <a:moveTo>
                      <a:pt x="179138" y="323213"/>
                    </a:moveTo>
                    <a:lnTo>
                      <a:pt x="149813" y="218025"/>
                    </a:lnTo>
                    <a:lnTo>
                      <a:pt x="154913" y="179775"/>
                    </a:lnTo>
                    <a:lnTo>
                      <a:pt x="154913" y="138338"/>
                    </a:lnTo>
                    <a:lnTo>
                      <a:pt x="147900" y="105188"/>
                    </a:lnTo>
                    <a:lnTo>
                      <a:pt x="175950" y="68850"/>
                    </a:lnTo>
                    <a:lnTo>
                      <a:pt x="177225" y="57375"/>
                    </a:lnTo>
                    <a:lnTo>
                      <a:pt x="161925" y="0"/>
                    </a:lnTo>
                    <a:lnTo>
                      <a:pt x="153638" y="3188"/>
                    </a:lnTo>
                    <a:lnTo>
                      <a:pt x="118575" y="15938"/>
                    </a:lnTo>
                    <a:lnTo>
                      <a:pt x="84150" y="29325"/>
                    </a:lnTo>
                    <a:lnTo>
                      <a:pt x="4463" y="58650"/>
                    </a:lnTo>
                    <a:lnTo>
                      <a:pt x="0" y="59925"/>
                    </a:lnTo>
                    <a:lnTo>
                      <a:pt x="29325" y="127500"/>
                    </a:lnTo>
                    <a:lnTo>
                      <a:pt x="39525" y="191250"/>
                    </a:lnTo>
                    <a:lnTo>
                      <a:pt x="73313" y="244800"/>
                    </a:lnTo>
                    <a:lnTo>
                      <a:pt x="105825" y="349988"/>
                    </a:lnTo>
                    <a:lnTo>
                      <a:pt x="107100" y="349351"/>
                    </a:lnTo>
                    <a:lnTo>
                      <a:pt x="112200" y="347438"/>
                    </a:lnTo>
                    <a:lnTo>
                      <a:pt x="126863" y="342976"/>
                    </a:lnTo>
                    <a:lnTo>
                      <a:pt x="139613" y="338513"/>
                    </a:lnTo>
                    <a:lnTo>
                      <a:pt x="175950" y="327038"/>
                    </a:lnTo>
                    <a:lnTo>
                      <a:pt x="179138" y="323213"/>
                    </a:lnTo>
                    <a:lnTo>
                      <a:pt x="179138" y="323213"/>
                    </a:lnTo>
                    <a:lnTo>
                      <a:pt x="179138" y="3232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1" name="Freeform 46">
                <a:extLst>
                  <a:ext uri="{FF2B5EF4-FFF2-40B4-BE49-F238E27FC236}">
                    <a16:creationId xmlns:a16="http://schemas.microsoft.com/office/drawing/2014/main" id="{4B3F85AF-5E53-58B8-A4CB-FACFB2BE1219}"/>
                  </a:ext>
                </a:extLst>
              </p:cNvPr>
              <p:cNvSpPr/>
              <p:nvPr/>
            </p:nvSpPr>
            <p:spPr>
              <a:xfrm>
                <a:off x="5660566" y="3099513"/>
                <a:ext cx="429676" cy="664276"/>
              </a:xfrm>
              <a:custGeom>
                <a:avLst/>
                <a:gdLst>
                  <a:gd name="connsiteX0" fmla="*/ 637 w 429676"/>
                  <a:gd name="connsiteY0" fmla="*/ 43350 h 664276"/>
                  <a:gd name="connsiteX1" fmla="*/ 3188 w 429676"/>
                  <a:gd name="connsiteY1" fmla="*/ 48450 h 664276"/>
                  <a:gd name="connsiteX2" fmla="*/ 12750 w 429676"/>
                  <a:gd name="connsiteY2" fmla="*/ 54188 h 664276"/>
                  <a:gd name="connsiteX3" fmla="*/ 16575 w 429676"/>
                  <a:gd name="connsiteY3" fmla="*/ 317476 h 664276"/>
                  <a:gd name="connsiteX4" fmla="*/ 17850 w 429676"/>
                  <a:gd name="connsiteY4" fmla="*/ 461551 h 664276"/>
                  <a:gd name="connsiteX5" fmla="*/ 51000 w 429676"/>
                  <a:gd name="connsiteY5" fmla="*/ 659177 h 664276"/>
                  <a:gd name="connsiteX6" fmla="*/ 53550 w 429676"/>
                  <a:gd name="connsiteY6" fmla="*/ 658539 h 664276"/>
                  <a:gd name="connsiteX7" fmla="*/ 82875 w 429676"/>
                  <a:gd name="connsiteY7" fmla="*/ 664276 h 664276"/>
                  <a:gd name="connsiteX8" fmla="*/ 90525 w 429676"/>
                  <a:gd name="connsiteY8" fmla="*/ 607539 h 664276"/>
                  <a:gd name="connsiteX9" fmla="*/ 103275 w 429676"/>
                  <a:gd name="connsiteY9" fmla="*/ 640051 h 664276"/>
                  <a:gd name="connsiteX10" fmla="*/ 124950 w 429676"/>
                  <a:gd name="connsiteY10" fmla="*/ 659814 h 664276"/>
                  <a:gd name="connsiteX11" fmla="*/ 166388 w 429676"/>
                  <a:gd name="connsiteY11" fmla="*/ 635589 h 664276"/>
                  <a:gd name="connsiteX12" fmla="*/ 161925 w 429676"/>
                  <a:gd name="connsiteY12" fmla="*/ 631764 h 664276"/>
                  <a:gd name="connsiteX13" fmla="*/ 163200 w 429676"/>
                  <a:gd name="connsiteY13" fmla="*/ 632401 h 664276"/>
                  <a:gd name="connsiteX14" fmla="*/ 133875 w 429676"/>
                  <a:gd name="connsiteY14" fmla="*/ 566101 h 664276"/>
                  <a:gd name="connsiteX15" fmla="*/ 411188 w 429676"/>
                  <a:gd name="connsiteY15" fmla="*/ 520839 h 664276"/>
                  <a:gd name="connsiteX16" fmla="*/ 429676 w 429676"/>
                  <a:gd name="connsiteY16" fmla="*/ 517651 h 664276"/>
                  <a:gd name="connsiteX17" fmla="*/ 429676 w 429676"/>
                  <a:gd name="connsiteY17" fmla="*/ 517013 h 664276"/>
                  <a:gd name="connsiteX18" fmla="*/ 412463 w 429676"/>
                  <a:gd name="connsiteY18" fmla="*/ 483864 h 664276"/>
                  <a:gd name="connsiteX19" fmla="*/ 411188 w 429676"/>
                  <a:gd name="connsiteY19" fmla="*/ 436688 h 664276"/>
                  <a:gd name="connsiteX20" fmla="*/ 397163 w 429676"/>
                  <a:gd name="connsiteY20" fmla="*/ 411188 h 664276"/>
                  <a:gd name="connsiteX21" fmla="*/ 404176 w 429676"/>
                  <a:gd name="connsiteY21" fmla="*/ 360826 h 664276"/>
                  <a:gd name="connsiteX22" fmla="*/ 415651 w 429676"/>
                  <a:gd name="connsiteY22" fmla="*/ 348076 h 664276"/>
                  <a:gd name="connsiteX23" fmla="*/ 367838 w 429676"/>
                  <a:gd name="connsiteY23" fmla="*/ 263288 h 664276"/>
                  <a:gd name="connsiteX24" fmla="*/ 281776 w 429676"/>
                  <a:gd name="connsiteY24" fmla="*/ 1275 h 664276"/>
                  <a:gd name="connsiteX25" fmla="*/ 281138 w 429676"/>
                  <a:gd name="connsiteY25" fmla="*/ 0 h 664276"/>
                  <a:gd name="connsiteX26" fmla="*/ 262013 w 429676"/>
                  <a:gd name="connsiteY26" fmla="*/ 3188 h 664276"/>
                  <a:gd name="connsiteX27" fmla="*/ 159375 w 429676"/>
                  <a:gd name="connsiteY27" fmla="*/ 19762 h 664276"/>
                  <a:gd name="connsiteX28" fmla="*/ 107738 w 429676"/>
                  <a:gd name="connsiteY28" fmla="*/ 26137 h 664276"/>
                  <a:gd name="connsiteX29" fmla="*/ 0 w 429676"/>
                  <a:gd name="connsiteY29" fmla="*/ 40800 h 664276"/>
                  <a:gd name="connsiteX30" fmla="*/ 637 w 429676"/>
                  <a:gd name="connsiteY30" fmla="*/ 43350 h 664276"/>
                  <a:gd name="connsiteX31" fmla="*/ 637 w 429676"/>
                  <a:gd name="connsiteY31" fmla="*/ 43350 h 66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9676" h="664276">
                    <a:moveTo>
                      <a:pt x="637" y="43350"/>
                    </a:moveTo>
                    <a:lnTo>
                      <a:pt x="3188" y="48450"/>
                    </a:lnTo>
                    <a:lnTo>
                      <a:pt x="12750" y="54188"/>
                    </a:lnTo>
                    <a:lnTo>
                      <a:pt x="16575" y="317476"/>
                    </a:lnTo>
                    <a:lnTo>
                      <a:pt x="17850" y="461551"/>
                    </a:lnTo>
                    <a:lnTo>
                      <a:pt x="51000" y="659177"/>
                    </a:lnTo>
                    <a:lnTo>
                      <a:pt x="53550" y="658539"/>
                    </a:lnTo>
                    <a:lnTo>
                      <a:pt x="82875" y="664276"/>
                    </a:lnTo>
                    <a:lnTo>
                      <a:pt x="90525" y="607539"/>
                    </a:lnTo>
                    <a:lnTo>
                      <a:pt x="103275" y="640051"/>
                    </a:lnTo>
                    <a:lnTo>
                      <a:pt x="124950" y="659814"/>
                    </a:lnTo>
                    <a:lnTo>
                      <a:pt x="166388" y="635589"/>
                    </a:lnTo>
                    <a:lnTo>
                      <a:pt x="161925" y="631764"/>
                    </a:lnTo>
                    <a:lnTo>
                      <a:pt x="163200" y="632401"/>
                    </a:lnTo>
                    <a:lnTo>
                      <a:pt x="133875" y="566101"/>
                    </a:lnTo>
                    <a:lnTo>
                      <a:pt x="411188" y="520839"/>
                    </a:lnTo>
                    <a:lnTo>
                      <a:pt x="429676" y="517651"/>
                    </a:lnTo>
                    <a:lnTo>
                      <a:pt x="429676" y="517013"/>
                    </a:lnTo>
                    <a:lnTo>
                      <a:pt x="412463" y="483864"/>
                    </a:lnTo>
                    <a:lnTo>
                      <a:pt x="411188" y="436688"/>
                    </a:lnTo>
                    <a:lnTo>
                      <a:pt x="397163" y="411188"/>
                    </a:lnTo>
                    <a:lnTo>
                      <a:pt x="404176" y="360826"/>
                    </a:lnTo>
                    <a:lnTo>
                      <a:pt x="415651" y="348076"/>
                    </a:lnTo>
                    <a:lnTo>
                      <a:pt x="367838" y="263288"/>
                    </a:lnTo>
                    <a:lnTo>
                      <a:pt x="281776" y="1275"/>
                    </a:lnTo>
                    <a:lnTo>
                      <a:pt x="281138" y="0"/>
                    </a:lnTo>
                    <a:lnTo>
                      <a:pt x="262013" y="3188"/>
                    </a:lnTo>
                    <a:lnTo>
                      <a:pt x="159375" y="19762"/>
                    </a:lnTo>
                    <a:lnTo>
                      <a:pt x="107738" y="26137"/>
                    </a:lnTo>
                    <a:lnTo>
                      <a:pt x="0" y="40800"/>
                    </a:lnTo>
                    <a:lnTo>
                      <a:pt x="637" y="43350"/>
                    </a:lnTo>
                    <a:lnTo>
                      <a:pt x="637" y="433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2" name="Freeform 47">
                <a:extLst>
                  <a:ext uri="{FF2B5EF4-FFF2-40B4-BE49-F238E27FC236}">
                    <a16:creationId xmlns:a16="http://schemas.microsoft.com/office/drawing/2014/main" id="{00F2497D-12D3-4193-8CB4-4FDD80DA2BFE}"/>
                  </a:ext>
                </a:extLst>
              </p:cNvPr>
              <p:cNvSpPr/>
              <p:nvPr/>
            </p:nvSpPr>
            <p:spPr>
              <a:xfrm>
                <a:off x="5794442" y="3573814"/>
                <a:ext cx="981751" cy="838314"/>
              </a:xfrm>
              <a:custGeom>
                <a:avLst/>
                <a:gdLst>
                  <a:gd name="connsiteX0" fmla="*/ 769464 w 981751"/>
                  <a:gd name="connsiteY0" fmla="*/ 829389 h 838314"/>
                  <a:gd name="connsiteX1" fmla="*/ 768189 w 981751"/>
                  <a:gd name="connsiteY1" fmla="*/ 829389 h 838314"/>
                  <a:gd name="connsiteX2" fmla="*/ 769464 w 981751"/>
                  <a:gd name="connsiteY2" fmla="*/ 829389 h 838314"/>
                  <a:gd name="connsiteX3" fmla="*/ 769464 w 981751"/>
                  <a:gd name="connsiteY3" fmla="*/ 829389 h 838314"/>
                  <a:gd name="connsiteX4" fmla="*/ 769464 w 981751"/>
                  <a:gd name="connsiteY4" fmla="*/ 829389 h 838314"/>
                  <a:gd name="connsiteX5" fmla="*/ 763089 w 981751"/>
                  <a:gd name="connsiteY5" fmla="*/ 828752 h 838314"/>
                  <a:gd name="connsiteX6" fmla="*/ 763089 w 981751"/>
                  <a:gd name="connsiteY6" fmla="*/ 828752 h 838314"/>
                  <a:gd name="connsiteX7" fmla="*/ 763089 w 981751"/>
                  <a:gd name="connsiteY7" fmla="*/ 828752 h 838314"/>
                  <a:gd name="connsiteX8" fmla="*/ 763089 w 981751"/>
                  <a:gd name="connsiteY8" fmla="*/ 828752 h 838314"/>
                  <a:gd name="connsiteX9" fmla="*/ 764364 w 981751"/>
                  <a:gd name="connsiteY9" fmla="*/ 828114 h 838314"/>
                  <a:gd name="connsiteX10" fmla="*/ 764364 w 981751"/>
                  <a:gd name="connsiteY10" fmla="*/ 828114 h 838314"/>
                  <a:gd name="connsiteX11" fmla="*/ 764364 w 981751"/>
                  <a:gd name="connsiteY11" fmla="*/ 828114 h 838314"/>
                  <a:gd name="connsiteX12" fmla="*/ 764364 w 981751"/>
                  <a:gd name="connsiteY12" fmla="*/ 828114 h 838314"/>
                  <a:gd name="connsiteX13" fmla="*/ 677026 w 981751"/>
                  <a:gd name="connsiteY13" fmla="*/ 837676 h 838314"/>
                  <a:gd name="connsiteX14" fmla="*/ 677026 w 981751"/>
                  <a:gd name="connsiteY14" fmla="*/ 837676 h 838314"/>
                  <a:gd name="connsiteX15" fmla="*/ 677026 w 981751"/>
                  <a:gd name="connsiteY15" fmla="*/ 837676 h 838314"/>
                  <a:gd name="connsiteX16" fmla="*/ 677026 w 981751"/>
                  <a:gd name="connsiteY16" fmla="*/ 837676 h 838314"/>
                  <a:gd name="connsiteX17" fmla="*/ 675751 w 981751"/>
                  <a:gd name="connsiteY17" fmla="*/ 838314 h 838314"/>
                  <a:gd name="connsiteX18" fmla="*/ 675751 w 981751"/>
                  <a:gd name="connsiteY18" fmla="*/ 838314 h 838314"/>
                  <a:gd name="connsiteX19" fmla="*/ 675751 w 981751"/>
                  <a:gd name="connsiteY19" fmla="*/ 838314 h 838314"/>
                  <a:gd name="connsiteX20" fmla="*/ 675751 w 981751"/>
                  <a:gd name="connsiteY20" fmla="*/ 838314 h 838314"/>
                  <a:gd name="connsiteX21" fmla="*/ 676389 w 981751"/>
                  <a:gd name="connsiteY21" fmla="*/ 837676 h 838314"/>
                  <a:gd name="connsiteX22" fmla="*/ 676389 w 981751"/>
                  <a:gd name="connsiteY22" fmla="*/ 837676 h 838314"/>
                  <a:gd name="connsiteX23" fmla="*/ 676389 w 981751"/>
                  <a:gd name="connsiteY23" fmla="*/ 837676 h 838314"/>
                  <a:gd name="connsiteX24" fmla="*/ 676389 w 981751"/>
                  <a:gd name="connsiteY24" fmla="*/ 837676 h 838314"/>
                  <a:gd name="connsiteX25" fmla="*/ 670014 w 981751"/>
                  <a:gd name="connsiteY25" fmla="*/ 838314 h 838314"/>
                  <a:gd name="connsiteX26" fmla="*/ 670014 w 981751"/>
                  <a:gd name="connsiteY26" fmla="*/ 838314 h 838314"/>
                  <a:gd name="connsiteX27" fmla="*/ 670014 w 981751"/>
                  <a:gd name="connsiteY27" fmla="*/ 838314 h 838314"/>
                  <a:gd name="connsiteX28" fmla="*/ 670014 w 981751"/>
                  <a:gd name="connsiteY28" fmla="*/ 838314 h 838314"/>
                  <a:gd name="connsiteX29" fmla="*/ 852339 w 981751"/>
                  <a:gd name="connsiteY29" fmla="*/ 797514 h 838314"/>
                  <a:gd name="connsiteX30" fmla="*/ 852339 w 981751"/>
                  <a:gd name="connsiteY30" fmla="*/ 797514 h 838314"/>
                  <a:gd name="connsiteX31" fmla="*/ 852339 w 981751"/>
                  <a:gd name="connsiteY31" fmla="*/ 798789 h 838314"/>
                  <a:gd name="connsiteX32" fmla="*/ 852339 w 981751"/>
                  <a:gd name="connsiteY32" fmla="*/ 797514 h 838314"/>
                  <a:gd name="connsiteX33" fmla="*/ 869552 w 981751"/>
                  <a:gd name="connsiteY33" fmla="*/ 793051 h 838314"/>
                  <a:gd name="connsiteX34" fmla="*/ 869552 w 981751"/>
                  <a:gd name="connsiteY34" fmla="*/ 791776 h 838314"/>
                  <a:gd name="connsiteX35" fmla="*/ 868277 w 981751"/>
                  <a:gd name="connsiteY35" fmla="*/ 793689 h 838314"/>
                  <a:gd name="connsiteX36" fmla="*/ 869552 w 981751"/>
                  <a:gd name="connsiteY36" fmla="*/ 793051 h 838314"/>
                  <a:gd name="connsiteX37" fmla="*/ 869552 w 981751"/>
                  <a:gd name="connsiteY37" fmla="*/ 793051 h 838314"/>
                  <a:gd name="connsiteX38" fmla="*/ 863814 w 981751"/>
                  <a:gd name="connsiteY38" fmla="*/ 792414 h 838314"/>
                  <a:gd name="connsiteX39" fmla="*/ 861264 w 981751"/>
                  <a:gd name="connsiteY39" fmla="*/ 789864 h 838314"/>
                  <a:gd name="connsiteX40" fmla="*/ 860627 w 981751"/>
                  <a:gd name="connsiteY40" fmla="*/ 790502 h 838314"/>
                  <a:gd name="connsiteX41" fmla="*/ 863814 w 981751"/>
                  <a:gd name="connsiteY41" fmla="*/ 792414 h 838314"/>
                  <a:gd name="connsiteX42" fmla="*/ 863814 w 981751"/>
                  <a:gd name="connsiteY42" fmla="*/ 792414 h 838314"/>
                  <a:gd name="connsiteX43" fmla="*/ 861902 w 981751"/>
                  <a:gd name="connsiteY43" fmla="*/ 796877 h 838314"/>
                  <a:gd name="connsiteX44" fmla="*/ 854252 w 981751"/>
                  <a:gd name="connsiteY44" fmla="*/ 786676 h 838314"/>
                  <a:gd name="connsiteX45" fmla="*/ 858714 w 981751"/>
                  <a:gd name="connsiteY45" fmla="*/ 794964 h 838314"/>
                  <a:gd name="connsiteX46" fmla="*/ 861902 w 981751"/>
                  <a:gd name="connsiteY46" fmla="*/ 796877 h 838314"/>
                  <a:gd name="connsiteX47" fmla="*/ 861902 w 981751"/>
                  <a:gd name="connsiteY47" fmla="*/ 796877 h 838314"/>
                  <a:gd name="connsiteX48" fmla="*/ 922464 w 981751"/>
                  <a:gd name="connsiteY48" fmla="*/ 759264 h 838314"/>
                  <a:gd name="connsiteX49" fmla="*/ 922464 w 981751"/>
                  <a:gd name="connsiteY49" fmla="*/ 761814 h 838314"/>
                  <a:gd name="connsiteX50" fmla="*/ 923740 w 981751"/>
                  <a:gd name="connsiteY50" fmla="*/ 760539 h 838314"/>
                  <a:gd name="connsiteX51" fmla="*/ 922464 w 981751"/>
                  <a:gd name="connsiteY51" fmla="*/ 759264 h 838314"/>
                  <a:gd name="connsiteX52" fmla="*/ 931389 w 981751"/>
                  <a:gd name="connsiteY52" fmla="*/ 752889 h 838314"/>
                  <a:gd name="connsiteX53" fmla="*/ 933302 w 981751"/>
                  <a:gd name="connsiteY53" fmla="*/ 749701 h 838314"/>
                  <a:gd name="connsiteX54" fmla="*/ 931389 w 981751"/>
                  <a:gd name="connsiteY54" fmla="*/ 752889 h 838314"/>
                  <a:gd name="connsiteX55" fmla="*/ 931389 w 981751"/>
                  <a:gd name="connsiteY55" fmla="*/ 752889 h 838314"/>
                  <a:gd name="connsiteX56" fmla="*/ 931389 w 981751"/>
                  <a:gd name="connsiteY56" fmla="*/ 752889 h 838314"/>
                  <a:gd name="connsiteX57" fmla="*/ 933302 w 981751"/>
                  <a:gd name="connsiteY57" fmla="*/ 746514 h 838314"/>
                  <a:gd name="connsiteX58" fmla="*/ 933302 w 981751"/>
                  <a:gd name="connsiteY58" fmla="*/ 746514 h 838314"/>
                  <a:gd name="connsiteX59" fmla="*/ 933302 w 981751"/>
                  <a:gd name="connsiteY59" fmla="*/ 746514 h 838314"/>
                  <a:gd name="connsiteX60" fmla="*/ 933302 w 981751"/>
                  <a:gd name="connsiteY60" fmla="*/ 746514 h 838314"/>
                  <a:gd name="connsiteX61" fmla="*/ 921827 w 981751"/>
                  <a:gd name="connsiteY61" fmla="*/ 744601 h 838314"/>
                  <a:gd name="connsiteX62" fmla="*/ 921827 w 981751"/>
                  <a:gd name="connsiteY62" fmla="*/ 744601 h 838314"/>
                  <a:gd name="connsiteX63" fmla="*/ 921827 w 981751"/>
                  <a:gd name="connsiteY63" fmla="*/ 744601 h 838314"/>
                  <a:gd name="connsiteX64" fmla="*/ 921827 w 981751"/>
                  <a:gd name="connsiteY64" fmla="*/ 744601 h 838314"/>
                  <a:gd name="connsiteX65" fmla="*/ 928202 w 981751"/>
                  <a:gd name="connsiteY65" fmla="*/ 735039 h 838314"/>
                  <a:gd name="connsiteX66" fmla="*/ 928202 w 981751"/>
                  <a:gd name="connsiteY66" fmla="*/ 735039 h 838314"/>
                  <a:gd name="connsiteX67" fmla="*/ 928202 w 981751"/>
                  <a:gd name="connsiteY67" fmla="*/ 735039 h 838314"/>
                  <a:gd name="connsiteX68" fmla="*/ 928202 w 981751"/>
                  <a:gd name="connsiteY68" fmla="*/ 735039 h 838314"/>
                  <a:gd name="connsiteX69" fmla="*/ 928202 w 981751"/>
                  <a:gd name="connsiteY69" fmla="*/ 735039 h 838314"/>
                  <a:gd name="connsiteX70" fmla="*/ 910352 w 981751"/>
                  <a:gd name="connsiteY70" fmla="*/ 734401 h 838314"/>
                  <a:gd name="connsiteX71" fmla="*/ 910352 w 981751"/>
                  <a:gd name="connsiteY71" fmla="*/ 734401 h 838314"/>
                  <a:gd name="connsiteX72" fmla="*/ 910352 w 981751"/>
                  <a:gd name="connsiteY72" fmla="*/ 734401 h 838314"/>
                  <a:gd name="connsiteX73" fmla="*/ 910352 w 981751"/>
                  <a:gd name="connsiteY73" fmla="*/ 734401 h 838314"/>
                  <a:gd name="connsiteX74" fmla="*/ 932027 w 981751"/>
                  <a:gd name="connsiteY74" fmla="*/ 719739 h 838314"/>
                  <a:gd name="connsiteX75" fmla="*/ 930752 w 981751"/>
                  <a:gd name="connsiteY75" fmla="*/ 720376 h 838314"/>
                  <a:gd name="connsiteX76" fmla="*/ 932664 w 981751"/>
                  <a:gd name="connsiteY76" fmla="*/ 721014 h 838314"/>
                  <a:gd name="connsiteX77" fmla="*/ 932027 w 981751"/>
                  <a:gd name="connsiteY77" fmla="*/ 719739 h 838314"/>
                  <a:gd name="connsiteX78" fmla="*/ 932027 w 981751"/>
                  <a:gd name="connsiteY78" fmla="*/ 719739 h 838314"/>
                  <a:gd name="connsiteX79" fmla="*/ 934577 w 981751"/>
                  <a:gd name="connsiteY79" fmla="*/ 719739 h 838314"/>
                  <a:gd name="connsiteX80" fmla="*/ 933302 w 981751"/>
                  <a:gd name="connsiteY80" fmla="*/ 718464 h 838314"/>
                  <a:gd name="connsiteX81" fmla="*/ 934577 w 981751"/>
                  <a:gd name="connsiteY81" fmla="*/ 719739 h 838314"/>
                  <a:gd name="connsiteX82" fmla="*/ 934577 w 981751"/>
                  <a:gd name="connsiteY82" fmla="*/ 719739 h 838314"/>
                  <a:gd name="connsiteX83" fmla="*/ 934577 w 981751"/>
                  <a:gd name="connsiteY83" fmla="*/ 719739 h 838314"/>
                  <a:gd name="connsiteX84" fmla="*/ 930115 w 981751"/>
                  <a:gd name="connsiteY84" fmla="*/ 718464 h 838314"/>
                  <a:gd name="connsiteX85" fmla="*/ 930115 w 981751"/>
                  <a:gd name="connsiteY85" fmla="*/ 718464 h 838314"/>
                  <a:gd name="connsiteX86" fmla="*/ 930115 w 981751"/>
                  <a:gd name="connsiteY86" fmla="*/ 718464 h 838314"/>
                  <a:gd name="connsiteX87" fmla="*/ 930115 w 981751"/>
                  <a:gd name="connsiteY87" fmla="*/ 718464 h 838314"/>
                  <a:gd name="connsiteX88" fmla="*/ 930115 w 981751"/>
                  <a:gd name="connsiteY88" fmla="*/ 718464 h 838314"/>
                  <a:gd name="connsiteX89" fmla="*/ 953702 w 981751"/>
                  <a:gd name="connsiteY89" fmla="*/ 714001 h 838314"/>
                  <a:gd name="connsiteX90" fmla="*/ 953702 w 981751"/>
                  <a:gd name="connsiteY90" fmla="*/ 714001 h 838314"/>
                  <a:gd name="connsiteX91" fmla="*/ 952427 w 981751"/>
                  <a:gd name="connsiteY91" fmla="*/ 715914 h 838314"/>
                  <a:gd name="connsiteX92" fmla="*/ 953702 w 981751"/>
                  <a:gd name="connsiteY92" fmla="*/ 714001 h 838314"/>
                  <a:gd name="connsiteX93" fmla="*/ 953702 w 981751"/>
                  <a:gd name="connsiteY93" fmla="*/ 714001 h 838314"/>
                  <a:gd name="connsiteX94" fmla="*/ 927564 w 981751"/>
                  <a:gd name="connsiteY94" fmla="*/ 716551 h 838314"/>
                  <a:gd name="connsiteX95" fmla="*/ 926289 w 981751"/>
                  <a:gd name="connsiteY95" fmla="*/ 716551 h 838314"/>
                  <a:gd name="connsiteX96" fmla="*/ 927564 w 981751"/>
                  <a:gd name="connsiteY96" fmla="*/ 716551 h 838314"/>
                  <a:gd name="connsiteX97" fmla="*/ 927564 w 981751"/>
                  <a:gd name="connsiteY97" fmla="*/ 716551 h 838314"/>
                  <a:gd name="connsiteX98" fmla="*/ 940952 w 981751"/>
                  <a:gd name="connsiteY98" fmla="*/ 708264 h 838314"/>
                  <a:gd name="connsiteX99" fmla="*/ 939039 w 981751"/>
                  <a:gd name="connsiteY99" fmla="*/ 708264 h 838314"/>
                  <a:gd name="connsiteX100" fmla="*/ 938402 w 981751"/>
                  <a:gd name="connsiteY100" fmla="*/ 708901 h 838314"/>
                  <a:gd name="connsiteX101" fmla="*/ 940952 w 981751"/>
                  <a:gd name="connsiteY101" fmla="*/ 708264 h 838314"/>
                  <a:gd name="connsiteX102" fmla="*/ 940952 w 981751"/>
                  <a:gd name="connsiteY102" fmla="*/ 708264 h 838314"/>
                  <a:gd name="connsiteX103" fmla="*/ 946052 w 981751"/>
                  <a:gd name="connsiteY103" fmla="*/ 705714 h 838314"/>
                  <a:gd name="connsiteX104" fmla="*/ 946052 w 981751"/>
                  <a:gd name="connsiteY104" fmla="*/ 705714 h 838314"/>
                  <a:gd name="connsiteX105" fmla="*/ 946052 w 981751"/>
                  <a:gd name="connsiteY105" fmla="*/ 705714 h 838314"/>
                  <a:gd name="connsiteX106" fmla="*/ 946052 w 981751"/>
                  <a:gd name="connsiteY106" fmla="*/ 705714 h 838314"/>
                  <a:gd name="connsiteX107" fmla="*/ 891864 w 981751"/>
                  <a:gd name="connsiteY107" fmla="*/ 707626 h 838314"/>
                  <a:gd name="connsiteX108" fmla="*/ 891864 w 981751"/>
                  <a:gd name="connsiteY108" fmla="*/ 706351 h 838314"/>
                  <a:gd name="connsiteX109" fmla="*/ 891864 w 981751"/>
                  <a:gd name="connsiteY109" fmla="*/ 707626 h 838314"/>
                  <a:gd name="connsiteX110" fmla="*/ 891864 w 981751"/>
                  <a:gd name="connsiteY110" fmla="*/ 707626 h 838314"/>
                  <a:gd name="connsiteX111" fmla="*/ 897602 w 981751"/>
                  <a:gd name="connsiteY111" fmla="*/ 705714 h 838314"/>
                  <a:gd name="connsiteX112" fmla="*/ 895689 w 981751"/>
                  <a:gd name="connsiteY112" fmla="*/ 705714 h 838314"/>
                  <a:gd name="connsiteX113" fmla="*/ 897602 w 981751"/>
                  <a:gd name="connsiteY113" fmla="*/ 709539 h 838314"/>
                  <a:gd name="connsiteX114" fmla="*/ 897602 w 981751"/>
                  <a:gd name="connsiteY114" fmla="*/ 705714 h 838314"/>
                  <a:gd name="connsiteX115" fmla="*/ 882302 w 981751"/>
                  <a:gd name="connsiteY115" fmla="*/ 706351 h 838314"/>
                  <a:gd name="connsiteX116" fmla="*/ 882302 w 981751"/>
                  <a:gd name="connsiteY116" fmla="*/ 702526 h 838314"/>
                  <a:gd name="connsiteX117" fmla="*/ 879114 w 981751"/>
                  <a:gd name="connsiteY117" fmla="*/ 703164 h 838314"/>
                  <a:gd name="connsiteX118" fmla="*/ 882302 w 981751"/>
                  <a:gd name="connsiteY118" fmla="*/ 706351 h 838314"/>
                  <a:gd name="connsiteX119" fmla="*/ 873377 w 981751"/>
                  <a:gd name="connsiteY119" fmla="*/ 700614 h 838314"/>
                  <a:gd name="connsiteX120" fmla="*/ 876564 w 981751"/>
                  <a:gd name="connsiteY120" fmla="*/ 703801 h 838314"/>
                  <a:gd name="connsiteX121" fmla="*/ 876564 w 981751"/>
                  <a:gd name="connsiteY121" fmla="*/ 702526 h 838314"/>
                  <a:gd name="connsiteX122" fmla="*/ 873377 w 981751"/>
                  <a:gd name="connsiteY122" fmla="*/ 700614 h 838314"/>
                  <a:gd name="connsiteX123" fmla="*/ 873377 w 981751"/>
                  <a:gd name="connsiteY123" fmla="*/ 700614 h 838314"/>
                  <a:gd name="connsiteX124" fmla="*/ 967727 w 981751"/>
                  <a:gd name="connsiteY124" fmla="*/ 704439 h 838314"/>
                  <a:gd name="connsiteX125" fmla="*/ 956252 w 981751"/>
                  <a:gd name="connsiteY125" fmla="*/ 709539 h 838314"/>
                  <a:gd name="connsiteX126" fmla="*/ 960077 w 981751"/>
                  <a:gd name="connsiteY126" fmla="*/ 710176 h 838314"/>
                  <a:gd name="connsiteX127" fmla="*/ 967727 w 981751"/>
                  <a:gd name="connsiteY127" fmla="*/ 704439 h 838314"/>
                  <a:gd name="connsiteX128" fmla="*/ 877839 w 981751"/>
                  <a:gd name="connsiteY128" fmla="*/ 698701 h 838314"/>
                  <a:gd name="connsiteX129" fmla="*/ 874014 w 981751"/>
                  <a:gd name="connsiteY129" fmla="*/ 698701 h 838314"/>
                  <a:gd name="connsiteX130" fmla="*/ 874014 w 981751"/>
                  <a:gd name="connsiteY130" fmla="*/ 699976 h 838314"/>
                  <a:gd name="connsiteX131" fmla="*/ 877839 w 981751"/>
                  <a:gd name="connsiteY131" fmla="*/ 698701 h 838314"/>
                  <a:gd name="connsiteX132" fmla="*/ 979202 w 981751"/>
                  <a:gd name="connsiteY132" fmla="*/ 666189 h 838314"/>
                  <a:gd name="connsiteX133" fmla="*/ 979840 w 981751"/>
                  <a:gd name="connsiteY133" fmla="*/ 663001 h 838314"/>
                  <a:gd name="connsiteX134" fmla="*/ 980477 w 981751"/>
                  <a:gd name="connsiteY134" fmla="*/ 654714 h 838314"/>
                  <a:gd name="connsiteX135" fmla="*/ 979202 w 981751"/>
                  <a:gd name="connsiteY135" fmla="*/ 666189 h 838314"/>
                  <a:gd name="connsiteX136" fmla="*/ 979202 w 981751"/>
                  <a:gd name="connsiteY136" fmla="*/ 666189 h 838314"/>
                  <a:gd name="connsiteX137" fmla="*/ 979840 w 981751"/>
                  <a:gd name="connsiteY137" fmla="*/ 630489 h 838314"/>
                  <a:gd name="connsiteX138" fmla="*/ 977289 w 981751"/>
                  <a:gd name="connsiteY138" fmla="*/ 624114 h 838314"/>
                  <a:gd name="connsiteX139" fmla="*/ 976014 w 981751"/>
                  <a:gd name="connsiteY139" fmla="*/ 626664 h 838314"/>
                  <a:gd name="connsiteX140" fmla="*/ 979840 w 981751"/>
                  <a:gd name="connsiteY140" fmla="*/ 630489 h 838314"/>
                  <a:gd name="connsiteX141" fmla="*/ 831302 w 981751"/>
                  <a:gd name="connsiteY141" fmla="*/ 646426 h 838314"/>
                  <a:gd name="connsiteX142" fmla="*/ 830027 w 981751"/>
                  <a:gd name="connsiteY142" fmla="*/ 648339 h 838314"/>
                  <a:gd name="connsiteX143" fmla="*/ 833214 w 981751"/>
                  <a:gd name="connsiteY143" fmla="*/ 648976 h 838314"/>
                  <a:gd name="connsiteX144" fmla="*/ 831302 w 981751"/>
                  <a:gd name="connsiteY144" fmla="*/ 646426 h 838314"/>
                  <a:gd name="connsiteX145" fmla="*/ 831302 w 981751"/>
                  <a:gd name="connsiteY145" fmla="*/ 646426 h 838314"/>
                  <a:gd name="connsiteX146" fmla="*/ 819827 w 981751"/>
                  <a:gd name="connsiteY146" fmla="*/ 640051 h 838314"/>
                  <a:gd name="connsiteX147" fmla="*/ 814089 w 981751"/>
                  <a:gd name="connsiteY147" fmla="*/ 641964 h 838314"/>
                  <a:gd name="connsiteX148" fmla="*/ 818552 w 981751"/>
                  <a:gd name="connsiteY148" fmla="*/ 642601 h 838314"/>
                  <a:gd name="connsiteX149" fmla="*/ 819827 w 981751"/>
                  <a:gd name="connsiteY149" fmla="*/ 640051 h 838314"/>
                  <a:gd name="connsiteX150" fmla="*/ 819827 w 981751"/>
                  <a:gd name="connsiteY150" fmla="*/ 640051 h 838314"/>
                  <a:gd name="connsiteX151" fmla="*/ 806439 w 981751"/>
                  <a:gd name="connsiteY151" fmla="*/ 641326 h 838314"/>
                  <a:gd name="connsiteX152" fmla="*/ 806439 w 981751"/>
                  <a:gd name="connsiteY152" fmla="*/ 639414 h 838314"/>
                  <a:gd name="connsiteX153" fmla="*/ 805802 w 981751"/>
                  <a:gd name="connsiteY153" fmla="*/ 640051 h 838314"/>
                  <a:gd name="connsiteX154" fmla="*/ 806439 w 981751"/>
                  <a:gd name="connsiteY154" fmla="*/ 641326 h 838314"/>
                  <a:gd name="connsiteX155" fmla="*/ 806439 w 981751"/>
                  <a:gd name="connsiteY155" fmla="*/ 641326 h 838314"/>
                  <a:gd name="connsiteX156" fmla="*/ 793052 w 981751"/>
                  <a:gd name="connsiteY156" fmla="*/ 640689 h 838314"/>
                  <a:gd name="connsiteX157" fmla="*/ 789227 w 981751"/>
                  <a:gd name="connsiteY157" fmla="*/ 643239 h 838314"/>
                  <a:gd name="connsiteX158" fmla="*/ 794326 w 981751"/>
                  <a:gd name="connsiteY158" fmla="*/ 645789 h 838314"/>
                  <a:gd name="connsiteX159" fmla="*/ 793052 w 981751"/>
                  <a:gd name="connsiteY159" fmla="*/ 640689 h 838314"/>
                  <a:gd name="connsiteX160" fmla="*/ 793052 w 981751"/>
                  <a:gd name="connsiteY160" fmla="*/ 640689 h 838314"/>
                  <a:gd name="connsiteX161" fmla="*/ 810902 w 981751"/>
                  <a:gd name="connsiteY161" fmla="*/ 641326 h 838314"/>
                  <a:gd name="connsiteX162" fmla="*/ 810264 w 981751"/>
                  <a:gd name="connsiteY162" fmla="*/ 639414 h 838314"/>
                  <a:gd name="connsiteX163" fmla="*/ 807076 w 981751"/>
                  <a:gd name="connsiteY163" fmla="*/ 638776 h 838314"/>
                  <a:gd name="connsiteX164" fmla="*/ 810902 w 981751"/>
                  <a:gd name="connsiteY164" fmla="*/ 641326 h 838314"/>
                  <a:gd name="connsiteX165" fmla="*/ 810902 w 981751"/>
                  <a:gd name="connsiteY165" fmla="*/ 641326 h 838314"/>
                  <a:gd name="connsiteX166" fmla="*/ 726751 w 981751"/>
                  <a:gd name="connsiteY166" fmla="*/ 578851 h 838314"/>
                  <a:gd name="connsiteX167" fmla="*/ 722927 w 981751"/>
                  <a:gd name="connsiteY167" fmla="*/ 580764 h 838314"/>
                  <a:gd name="connsiteX168" fmla="*/ 730576 w 981751"/>
                  <a:gd name="connsiteY168" fmla="*/ 583314 h 838314"/>
                  <a:gd name="connsiteX169" fmla="*/ 726751 w 981751"/>
                  <a:gd name="connsiteY169" fmla="*/ 578851 h 838314"/>
                  <a:gd name="connsiteX170" fmla="*/ 726751 w 981751"/>
                  <a:gd name="connsiteY170" fmla="*/ 578851 h 838314"/>
                  <a:gd name="connsiteX171" fmla="*/ 711451 w 981751"/>
                  <a:gd name="connsiteY171" fmla="*/ 558451 h 838314"/>
                  <a:gd name="connsiteX172" fmla="*/ 706351 w 981751"/>
                  <a:gd name="connsiteY172" fmla="*/ 550801 h 838314"/>
                  <a:gd name="connsiteX173" fmla="*/ 708264 w 981751"/>
                  <a:gd name="connsiteY173" fmla="*/ 556539 h 838314"/>
                  <a:gd name="connsiteX174" fmla="*/ 711451 w 981751"/>
                  <a:gd name="connsiteY174" fmla="*/ 558451 h 838314"/>
                  <a:gd name="connsiteX175" fmla="*/ 711451 w 981751"/>
                  <a:gd name="connsiteY175" fmla="*/ 558451 h 838314"/>
                  <a:gd name="connsiteX176" fmla="*/ 731214 w 981751"/>
                  <a:gd name="connsiteY176" fmla="*/ 571201 h 838314"/>
                  <a:gd name="connsiteX177" fmla="*/ 721652 w 981751"/>
                  <a:gd name="connsiteY177" fmla="*/ 550801 h 838314"/>
                  <a:gd name="connsiteX178" fmla="*/ 715277 w 981751"/>
                  <a:gd name="connsiteY178" fmla="*/ 548888 h 838314"/>
                  <a:gd name="connsiteX179" fmla="*/ 731214 w 981751"/>
                  <a:gd name="connsiteY179" fmla="*/ 571201 h 838314"/>
                  <a:gd name="connsiteX180" fmla="*/ 705714 w 981751"/>
                  <a:gd name="connsiteY180" fmla="*/ 545701 h 838314"/>
                  <a:gd name="connsiteX181" fmla="*/ 703802 w 981751"/>
                  <a:gd name="connsiteY181" fmla="*/ 540601 h 838314"/>
                  <a:gd name="connsiteX182" fmla="*/ 702527 w 981751"/>
                  <a:gd name="connsiteY182" fmla="*/ 537414 h 838314"/>
                  <a:gd name="connsiteX183" fmla="*/ 705714 w 981751"/>
                  <a:gd name="connsiteY183" fmla="*/ 545701 h 838314"/>
                  <a:gd name="connsiteX184" fmla="*/ 705714 w 981751"/>
                  <a:gd name="connsiteY184" fmla="*/ 545701 h 838314"/>
                  <a:gd name="connsiteX185" fmla="*/ 652164 w 981751"/>
                  <a:gd name="connsiteY185" fmla="*/ 474301 h 838314"/>
                  <a:gd name="connsiteX186" fmla="*/ 640689 w 981751"/>
                  <a:gd name="connsiteY186" fmla="*/ 466013 h 838314"/>
                  <a:gd name="connsiteX187" fmla="*/ 645151 w 981751"/>
                  <a:gd name="connsiteY187" fmla="*/ 470476 h 838314"/>
                  <a:gd name="connsiteX188" fmla="*/ 652164 w 981751"/>
                  <a:gd name="connsiteY188" fmla="*/ 474301 h 838314"/>
                  <a:gd name="connsiteX189" fmla="*/ 941589 w 981751"/>
                  <a:gd name="connsiteY189" fmla="*/ 430951 h 838314"/>
                  <a:gd name="connsiteX190" fmla="*/ 894414 w 981751"/>
                  <a:gd name="connsiteY190" fmla="*/ 353175 h 838314"/>
                  <a:gd name="connsiteX191" fmla="*/ 891864 w 981751"/>
                  <a:gd name="connsiteY191" fmla="*/ 353175 h 838314"/>
                  <a:gd name="connsiteX192" fmla="*/ 941589 w 981751"/>
                  <a:gd name="connsiteY192" fmla="*/ 430951 h 838314"/>
                  <a:gd name="connsiteX193" fmla="*/ 941589 w 981751"/>
                  <a:gd name="connsiteY193" fmla="*/ 430951 h 838314"/>
                  <a:gd name="connsiteX194" fmla="*/ 617101 w 981751"/>
                  <a:gd name="connsiteY194" fmla="*/ 306001 h 838314"/>
                  <a:gd name="connsiteX195" fmla="*/ 615189 w 981751"/>
                  <a:gd name="connsiteY195" fmla="*/ 305363 h 838314"/>
                  <a:gd name="connsiteX196" fmla="*/ 617101 w 981751"/>
                  <a:gd name="connsiteY196" fmla="*/ 306001 h 838314"/>
                  <a:gd name="connsiteX197" fmla="*/ 617101 w 981751"/>
                  <a:gd name="connsiteY197" fmla="*/ 306001 h 838314"/>
                  <a:gd name="connsiteX198" fmla="*/ 617101 w 981751"/>
                  <a:gd name="connsiteY198" fmla="*/ 306001 h 838314"/>
                  <a:gd name="connsiteX199" fmla="*/ 613276 w 981751"/>
                  <a:gd name="connsiteY199" fmla="*/ 301538 h 838314"/>
                  <a:gd name="connsiteX200" fmla="*/ 613276 w 981751"/>
                  <a:gd name="connsiteY200" fmla="*/ 301538 h 838314"/>
                  <a:gd name="connsiteX201" fmla="*/ 613276 w 981751"/>
                  <a:gd name="connsiteY201" fmla="*/ 302813 h 838314"/>
                  <a:gd name="connsiteX202" fmla="*/ 613276 w 981751"/>
                  <a:gd name="connsiteY202" fmla="*/ 301538 h 838314"/>
                  <a:gd name="connsiteX203" fmla="*/ 613276 w 981751"/>
                  <a:gd name="connsiteY203" fmla="*/ 301538 h 838314"/>
                  <a:gd name="connsiteX204" fmla="*/ 608176 w 981751"/>
                  <a:gd name="connsiteY204" fmla="*/ 294525 h 838314"/>
                  <a:gd name="connsiteX205" fmla="*/ 608176 w 981751"/>
                  <a:gd name="connsiteY205" fmla="*/ 294525 h 838314"/>
                  <a:gd name="connsiteX206" fmla="*/ 608176 w 981751"/>
                  <a:gd name="connsiteY206" fmla="*/ 294525 h 838314"/>
                  <a:gd name="connsiteX207" fmla="*/ 608176 w 981751"/>
                  <a:gd name="connsiteY207" fmla="*/ 294525 h 838314"/>
                  <a:gd name="connsiteX208" fmla="*/ 611364 w 981751"/>
                  <a:gd name="connsiteY208" fmla="*/ 291976 h 838314"/>
                  <a:gd name="connsiteX209" fmla="*/ 613276 w 981751"/>
                  <a:gd name="connsiteY209" fmla="*/ 293251 h 838314"/>
                  <a:gd name="connsiteX210" fmla="*/ 613276 w 981751"/>
                  <a:gd name="connsiteY210" fmla="*/ 291976 h 838314"/>
                  <a:gd name="connsiteX211" fmla="*/ 611364 w 981751"/>
                  <a:gd name="connsiteY211" fmla="*/ 291976 h 838314"/>
                  <a:gd name="connsiteX212" fmla="*/ 615189 w 981751"/>
                  <a:gd name="connsiteY212" fmla="*/ 290063 h 838314"/>
                  <a:gd name="connsiteX213" fmla="*/ 612639 w 981751"/>
                  <a:gd name="connsiteY213" fmla="*/ 290700 h 838314"/>
                  <a:gd name="connsiteX214" fmla="*/ 613276 w 981751"/>
                  <a:gd name="connsiteY214" fmla="*/ 290700 h 838314"/>
                  <a:gd name="connsiteX215" fmla="*/ 615189 w 981751"/>
                  <a:gd name="connsiteY215" fmla="*/ 290063 h 838314"/>
                  <a:gd name="connsiteX216" fmla="*/ 615189 w 981751"/>
                  <a:gd name="connsiteY216" fmla="*/ 290063 h 838314"/>
                  <a:gd name="connsiteX217" fmla="*/ 610726 w 981751"/>
                  <a:gd name="connsiteY217" fmla="*/ 289425 h 838314"/>
                  <a:gd name="connsiteX218" fmla="*/ 608814 w 981751"/>
                  <a:gd name="connsiteY218" fmla="*/ 287513 h 838314"/>
                  <a:gd name="connsiteX219" fmla="*/ 609451 w 981751"/>
                  <a:gd name="connsiteY219" fmla="*/ 288150 h 838314"/>
                  <a:gd name="connsiteX220" fmla="*/ 610726 w 981751"/>
                  <a:gd name="connsiteY220" fmla="*/ 289425 h 838314"/>
                  <a:gd name="connsiteX221" fmla="*/ 610726 w 981751"/>
                  <a:gd name="connsiteY221" fmla="*/ 289425 h 838314"/>
                  <a:gd name="connsiteX222" fmla="*/ 605626 w 981751"/>
                  <a:gd name="connsiteY222" fmla="*/ 282413 h 838314"/>
                  <a:gd name="connsiteX223" fmla="*/ 604351 w 981751"/>
                  <a:gd name="connsiteY223" fmla="*/ 282413 h 838314"/>
                  <a:gd name="connsiteX224" fmla="*/ 605626 w 981751"/>
                  <a:gd name="connsiteY224" fmla="*/ 282413 h 838314"/>
                  <a:gd name="connsiteX225" fmla="*/ 605626 w 981751"/>
                  <a:gd name="connsiteY225" fmla="*/ 282413 h 838314"/>
                  <a:gd name="connsiteX226" fmla="*/ 605626 w 981751"/>
                  <a:gd name="connsiteY226" fmla="*/ 282413 h 838314"/>
                  <a:gd name="connsiteX227" fmla="*/ 610726 w 981751"/>
                  <a:gd name="connsiteY227" fmla="*/ 274126 h 838314"/>
                  <a:gd name="connsiteX228" fmla="*/ 608176 w 981751"/>
                  <a:gd name="connsiteY228" fmla="*/ 274126 h 838314"/>
                  <a:gd name="connsiteX229" fmla="*/ 607539 w 981751"/>
                  <a:gd name="connsiteY229" fmla="*/ 274763 h 838314"/>
                  <a:gd name="connsiteX230" fmla="*/ 610726 w 981751"/>
                  <a:gd name="connsiteY230" fmla="*/ 274126 h 838314"/>
                  <a:gd name="connsiteX231" fmla="*/ 610726 w 981751"/>
                  <a:gd name="connsiteY231" fmla="*/ 274126 h 838314"/>
                  <a:gd name="connsiteX232" fmla="*/ 613276 w 981751"/>
                  <a:gd name="connsiteY232" fmla="*/ 275400 h 838314"/>
                  <a:gd name="connsiteX233" fmla="*/ 610089 w 981751"/>
                  <a:gd name="connsiteY233" fmla="*/ 272213 h 838314"/>
                  <a:gd name="connsiteX234" fmla="*/ 611364 w 981751"/>
                  <a:gd name="connsiteY234" fmla="*/ 272850 h 838314"/>
                  <a:gd name="connsiteX235" fmla="*/ 613276 w 981751"/>
                  <a:gd name="connsiteY235" fmla="*/ 275400 h 838314"/>
                  <a:gd name="connsiteX236" fmla="*/ 613276 w 981751"/>
                  <a:gd name="connsiteY236" fmla="*/ 275400 h 838314"/>
                  <a:gd name="connsiteX237" fmla="*/ 588414 w 981751"/>
                  <a:gd name="connsiteY237" fmla="*/ 247988 h 838314"/>
                  <a:gd name="connsiteX238" fmla="*/ 587139 w 981751"/>
                  <a:gd name="connsiteY238" fmla="*/ 247350 h 838314"/>
                  <a:gd name="connsiteX239" fmla="*/ 587139 w 981751"/>
                  <a:gd name="connsiteY239" fmla="*/ 247988 h 838314"/>
                  <a:gd name="connsiteX240" fmla="*/ 588414 w 981751"/>
                  <a:gd name="connsiteY240" fmla="*/ 247988 h 838314"/>
                  <a:gd name="connsiteX241" fmla="*/ 561001 w 981751"/>
                  <a:gd name="connsiteY241" fmla="*/ 247988 h 838314"/>
                  <a:gd name="connsiteX242" fmla="*/ 559089 w 981751"/>
                  <a:gd name="connsiteY242" fmla="*/ 245438 h 838314"/>
                  <a:gd name="connsiteX243" fmla="*/ 559726 w 981751"/>
                  <a:gd name="connsiteY243" fmla="*/ 248626 h 838314"/>
                  <a:gd name="connsiteX244" fmla="*/ 561001 w 981751"/>
                  <a:gd name="connsiteY244" fmla="*/ 247988 h 838314"/>
                  <a:gd name="connsiteX245" fmla="*/ 561001 w 981751"/>
                  <a:gd name="connsiteY245" fmla="*/ 247988 h 838314"/>
                  <a:gd name="connsiteX246" fmla="*/ 327038 w 981751"/>
                  <a:gd name="connsiteY246" fmla="*/ 226950 h 838314"/>
                  <a:gd name="connsiteX247" fmla="*/ 346163 w 981751"/>
                  <a:gd name="connsiteY247" fmla="*/ 212288 h 838314"/>
                  <a:gd name="connsiteX248" fmla="*/ 325126 w 981751"/>
                  <a:gd name="connsiteY248" fmla="*/ 226313 h 838314"/>
                  <a:gd name="connsiteX249" fmla="*/ 327038 w 981751"/>
                  <a:gd name="connsiteY249" fmla="*/ 226950 h 838314"/>
                  <a:gd name="connsiteX250" fmla="*/ 327038 w 981751"/>
                  <a:gd name="connsiteY250" fmla="*/ 226950 h 838314"/>
                  <a:gd name="connsiteX251" fmla="*/ 365288 w 981751"/>
                  <a:gd name="connsiteY251" fmla="*/ 196350 h 838314"/>
                  <a:gd name="connsiteX252" fmla="*/ 367201 w 981751"/>
                  <a:gd name="connsiteY252" fmla="*/ 194438 h 838314"/>
                  <a:gd name="connsiteX253" fmla="*/ 359551 w 981751"/>
                  <a:gd name="connsiteY253" fmla="*/ 197625 h 838314"/>
                  <a:gd name="connsiteX254" fmla="*/ 365288 w 981751"/>
                  <a:gd name="connsiteY254" fmla="*/ 196350 h 838314"/>
                  <a:gd name="connsiteX255" fmla="*/ 365288 w 981751"/>
                  <a:gd name="connsiteY255" fmla="*/ 196350 h 838314"/>
                  <a:gd name="connsiteX256" fmla="*/ 121125 w 981751"/>
                  <a:gd name="connsiteY256" fmla="*/ 153000 h 838314"/>
                  <a:gd name="connsiteX257" fmla="*/ 51000 w 981751"/>
                  <a:gd name="connsiteY257" fmla="*/ 175313 h 838314"/>
                  <a:gd name="connsiteX258" fmla="*/ 89250 w 981751"/>
                  <a:gd name="connsiteY258" fmla="*/ 163838 h 838314"/>
                  <a:gd name="connsiteX259" fmla="*/ 121125 w 981751"/>
                  <a:gd name="connsiteY259" fmla="*/ 153000 h 838314"/>
                  <a:gd name="connsiteX260" fmla="*/ 295801 w 981751"/>
                  <a:gd name="connsiteY260" fmla="*/ 43987 h 838314"/>
                  <a:gd name="connsiteX261" fmla="*/ 277313 w 981751"/>
                  <a:gd name="connsiteY261" fmla="*/ 47175 h 838314"/>
                  <a:gd name="connsiteX262" fmla="*/ 0 w 981751"/>
                  <a:gd name="connsiteY262" fmla="*/ 92438 h 838314"/>
                  <a:gd name="connsiteX263" fmla="*/ 29325 w 981751"/>
                  <a:gd name="connsiteY263" fmla="*/ 158738 h 838314"/>
                  <a:gd name="connsiteX264" fmla="*/ 31238 w 981751"/>
                  <a:gd name="connsiteY264" fmla="*/ 159375 h 838314"/>
                  <a:gd name="connsiteX265" fmla="*/ 24225 w 981751"/>
                  <a:gd name="connsiteY265" fmla="*/ 186150 h 838314"/>
                  <a:gd name="connsiteX266" fmla="*/ 44625 w 981751"/>
                  <a:gd name="connsiteY266" fmla="*/ 176588 h 838314"/>
                  <a:gd name="connsiteX267" fmla="*/ 66938 w 981751"/>
                  <a:gd name="connsiteY267" fmla="*/ 156825 h 838314"/>
                  <a:gd name="connsiteX268" fmla="*/ 105188 w 981751"/>
                  <a:gd name="connsiteY268" fmla="*/ 155550 h 838314"/>
                  <a:gd name="connsiteX269" fmla="*/ 149813 w 981751"/>
                  <a:gd name="connsiteY269" fmla="*/ 139613 h 838314"/>
                  <a:gd name="connsiteX270" fmla="*/ 180413 w 981751"/>
                  <a:gd name="connsiteY270" fmla="*/ 144075 h 838314"/>
                  <a:gd name="connsiteX271" fmla="*/ 173400 w 981751"/>
                  <a:gd name="connsiteY271" fmla="*/ 155550 h 838314"/>
                  <a:gd name="connsiteX272" fmla="*/ 228225 w 981751"/>
                  <a:gd name="connsiteY272" fmla="*/ 174038 h 838314"/>
                  <a:gd name="connsiteX273" fmla="*/ 276038 w 981751"/>
                  <a:gd name="connsiteY273" fmla="*/ 196988 h 838314"/>
                  <a:gd name="connsiteX274" fmla="*/ 287513 w 981751"/>
                  <a:gd name="connsiteY274" fmla="*/ 222488 h 838314"/>
                  <a:gd name="connsiteX275" fmla="*/ 322576 w 981751"/>
                  <a:gd name="connsiteY275" fmla="*/ 214838 h 838314"/>
                  <a:gd name="connsiteX276" fmla="*/ 406088 w 981751"/>
                  <a:gd name="connsiteY276" fmla="*/ 146625 h 838314"/>
                  <a:gd name="connsiteX277" fmla="*/ 437326 w 981751"/>
                  <a:gd name="connsiteY277" fmla="*/ 147900 h 838314"/>
                  <a:gd name="connsiteX278" fmla="*/ 562914 w 981751"/>
                  <a:gd name="connsiteY278" fmla="*/ 242888 h 838314"/>
                  <a:gd name="connsiteX279" fmla="*/ 588414 w 981751"/>
                  <a:gd name="connsiteY279" fmla="*/ 237788 h 838314"/>
                  <a:gd name="connsiteX280" fmla="*/ 615826 w 981751"/>
                  <a:gd name="connsiteY280" fmla="*/ 273488 h 838314"/>
                  <a:gd name="connsiteX281" fmla="*/ 620926 w 981751"/>
                  <a:gd name="connsiteY281" fmla="*/ 330226 h 838314"/>
                  <a:gd name="connsiteX282" fmla="*/ 612639 w 981751"/>
                  <a:gd name="connsiteY282" fmla="*/ 365926 h 838314"/>
                  <a:gd name="connsiteX283" fmla="*/ 616464 w 981751"/>
                  <a:gd name="connsiteY283" fmla="*/ 383775 h 838314"/>
                  <a:gd name="connsiteX284" fmla="*/ 638776 w 981751"/>
                  <a:gd name="connsiteY284" fmla="*/ 429038 h 838314"/>
                  <a:gd name="connsiteX285" fmla="*/ 627939 w 981751"/>
                  <a:gd name="connsiteY285" fmla="*/ 393976 h 838314"/>
                  <a:gd name="connsiteX286" fmla="*/ 657264 w 981751"/>
                  <a:gd name="connsiteY286" fmla="*/ 393338 h 838314"/>
                  <a:gd name="connsiteX287" fmla="*/ 659814 w 981751"/>
                  <a:gd name="connsiteY287" fmla="*/ 418838 h 838314"/>
                  <a:gd name="connsiteX288" fmla="*/ 644514 w 981751"/>
                  <a:gd name="connsiteY288" fmla="*/ 458363 h 838314"/>
                  <a:gd name="connsiteX289" fmla="*/ 698064 w 981751"/>
                  <a:gd name="connsiteY289" fmla="*/ 531676 h 838314"/>
                  <a:gd name="connsiteX290" fmla="*/ 717826 w 981751"/>
                  <a:gd name="connsiteY290" fmla="*/ 532314 h 838314"/>
                  <a:gd name="connsiteX291" fmla="*/ 701251 w 981751"/>
                  <a:gd name="connsiteY291" fmla="*/ 510001 h 838314"/>
                  <a:gd name="connsiteX292" fmla="*/ 721652 w 981751"/>
                  <a:gd name="connsiteY292" fmla="*/ 512551 h 838314"/>
                  <a:gd name="connsiteX293" fmla="*/ 733764 w 981751"/>
                  <a:gd name="connsiteY293" fmla="*/ 504901 h 838314"/>
                  <a:gd name="connsiteX294" fmla="*/ 728664 w 981751"/>
                  <a:gd name="connsiteY294" fmla="*/ 545701 h 838314"/>
                  <a:gd name="connsiteX295" fmla="*/ 756714 w 981751"/>
                  <a:gd name="connsiteY295" fmla="*/ 567376 h 838314"/>
                  <a:gd name="connsiteX296" fmla="*/ 775201 w 981751"/>
                  <a:gd name="connsiteY296" fmla="*/ 617739 h 838314"/>
                  <a:gd name="connsiteX297" fmla="*/ 800064 w 981751"/>
                  <a:gd name="connsiteY297" fmla="*/ 633039 h 838314"/>
                  <a:gd name="connsiteX298" fmla="*/ 832577 w 981751"/>
                  <a:gd name="connsiteY298" fmla="*/ 641326 h 838314"/>
                  <a:gd name="connsiteX299" fmla="*/ 877202 w 981751"/>
                  <a:gd name="connsiteY299" fmla="*/ 697426 h 838314"/>
                  <a:gd name="connsiteX300" fmla="*/ 900152 w 981751"/>
                  <a:gd name="connsiteY300" fmla="*/ 709539 h 838314"/>
                  <a:gd name="connsiteX301" fmla="*/ 868914 w 981751"/>
                  <a:gd name="connsiteY301" fmla="*/ 711451 h 838314"/>
                  <a:gd name="connsiteX302" fmla="*/ 882939 w 981751"/>
                  <a:gd name="connsiteY302" fmla="*/ 727389 h 838314"/>
                  <a:gd name="connsiteX303" fmla="*/ 933939 w 981751"/>
                  <a:gd name="connsiteY303" fmla="*/ 710814 h 838314"/>
                  <a:gd name="connsiteX304" fmla="*/ 958802 w 981751"/>
                  <a:gd name="connsiteY304" fmla="*/ 696789 h 838314"/>
                  <a:gd name="connsiteX305" fmla="*/ 981752 w 981751"/>
                  <a:gd name="connsiteY305" fmla="*/ 615826 h 838314"/>
                  <a:gd name="connsiteX306" fmla="*/ 970277 w 981751"/>
                  <a:gd name="connsiteY306" fmla="*/ 490238 h 838314"/>
                  <a:gd name="connsiteX307" fmla="*/ 967727 w 981751"/>
                  <a:gd name="connsiteY307" fmla="*/ 477488 h 838314"/>
                  <a:gd name="connsiteX308" fmla="*/ 905889 w 981751"/>
                  <a:gd name="connsiteY308" fmla="*/ 374851 h 838314"/>
                  <a:gd name="connsiteX309" fmla="*/ 852977 w 981751"/>
                  <a:gd name="connsiteY309" fmla="*/ 300263 h 838314"/>
                  <a:gd name="connsiteX310" fmla="*/ 823014 w 981751"/>
                  <a:gd name="connsiteY310" fmla="*/ 239700 h 838314"/>
                  <a:gd name="connsiteX311" fmla="*/ 847877 w 981751"/>
                  <a:gd name="connsiteY311" fmla="*/ 260738 h 838314"/>
                  <a:gd name="connsiteX312" fmla="*/ 852977 w 981751"/>
                  <a:gd name="connsiteY312" fmla="*/ 256913 h 838314"/>
                  <a:gd name="connsiteX313" fmla="*/ 864452 w 981751"/>
                  <a:gd name="connsiteY313" fmla="*/ 310463 h 838314"/>
                  <a:gd name="connsiteX314" fmla="*/ 893139 w 981751"/>
                  <a:gd name="connsiteY314" fmla="*/ 350626 h 838314"/>
                  <a:gd name="connsiteX315" fmla="*/ 865089 w 981751"/>
                  <a:gd name="connsiteY315" fmla="*/ 296438 h 838314"/>
                  <a:gd name="connsiteX316" fmla="*/ 866364 w 981751"/>
                  <a:gd name="connsiteY316" fmla="*/ 270938 h 838314"/>
                  <a:gd name="connsiteX317" fmla="*/ 783489 w 981751"/>
                  <a:gd name="connsiteY317" fmla="*/ 170213 h 838314"/>
                  <a:gd name="connsiteX318" fmla="*/ 763726 w 981751"/>
                  <a:gd name="connsiteY318" fmla="*/ 138337 h 838314"/>
                  <a:gd name="connsiteX319" fmla="*/ 736951 w 981751"/>
                  <a:gd name="connsiteY319" fmla="*/ 84788 h 838314"/>
                  <a:gd name="connsiteX320" fmla="*/ 719101 w 981751"/>
                  <a:gd name="connsiteY320" fmla="*/ 39525 h 838314"/>
                  <a:gd name="connsiteX321" fmla="*/ 705076 w 981751"/>
                  <a:gd name="connsiteY321" fmla="*/ 23587 h 838314"/>
                  <a:gd name="connsiteX322" fmla="*/ 701889 w 981751"/>
                  <a:gd name="connsiteY322" fmla="*/ 3188 h 838314"/>
                  <a:gd name="connsiteX323" fmla="*/ 701251 w 981751"/>
                  <a:gd name="connsiteY323" fmla="*/ 2550 h 838314"/>
                  <a:gd name="connsiteX324" fmla="*/ 656626 w 981751"/>
                  <a:gd name="connsiteY324" fmla="*/ 0 h 838314"/>
                  <a:gd name="connsiteX325" fmla="*/ 639414 w 981751"/>
                  <a:gd name="connsiteY325" fmla="*/ 13387 h 838314"/>
                  <a:gd name="connsiteX326" fmla="*/ 629214 w 981751"/>
                  <a:gd name="connsiteY326" fmla="*/ 63112 h 838314"/>
                  <a:gd name="connsiteX327" fmla="*/ 619651 w 981751"/>
                  <a:gd name="connsiteY327" fmla="*/ 40163 h 838314"/>
                  <a:gd name="connsiteX328" fmla="*/ 316838 w 981751"/>
                  <a:gd name="connsiteY328" fmla="*/ 77775 h 838314"/>
                  <a:gd name="connsiteX329" fmla="*/ 295801 w 981751"/>
                  <a:gd name="connsiteY329" fmla="*/ 43987 h 838314"/>
                  <a:gd name="connsiteX330" fmla="*/ 295801 w 981751"/>
                  <a:gd name="connsiteY330" fmla="*/ 43987 h 838314"/>
                  <a:gd name="connsiteX331" fmla="*/ 295801 w 981751"/>
                  <a:gd name="connsiteY331" fmla="*/ 43987 h 83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981751" h="838314">
                    <a:moveTo>
                      <a:pt x="769464" y="829389"/>
                    </a:moveTo>
                    <a:lnTo>
                      <a:pt x="768189" y="829389"/>
                    </a:lnTo>
                    <a:lnTo>
                      <a:pt x="769464" y="829389"/>
                    </a:lnTo>
                    <a:lnTo>
                      <a:pt x="769464" y="829389"/>
                    </a:lnTo>
                    <a:lnTo>
                      <a:pt x="769464" y="829389"/>
                    </a:lnTo>
                    <a:close/>
                    <a:moveTo>
                      <a:pt x="763089" y="828752"/>
                    </a:moveTo>
                    <a:lnTo>
                      <a:pt x="763089" y="828752"/>
                    </a:lnTo>
                    <a:lnTo>
                      <a:pt x="763089" y="828752"/>
                    </a:lnTo>
                    <a:lnTo>
                      <a:pt x="763089" y="828752"/>
                    </a:lnTo>
                    <a:close/>
                    <a:moveTo>
                      <a:pt x="764364" y="828114"/>
                    </a:moveTo>
                    <a:lnTo>
                      <a:pt x="764364" y="828114"/>
                    </a:lnTo>
                    <a:lnTo>
                      <a:pt x="764364" y="828114"/>
                    </a:lnTo>
                    <a:lnTo>
                      <a:pt x="764364" y="828114"/>
                    </a:lnTo>
                    <a:close/>
                    <a:moveTo>
                      <a:pt x="677026" y="837676"/>
                    </a:moveTo>
                    <a:lnTo>
                      <a:pt x="677026" y="837676"/>
                    </a:lnTo>
                    <a:lnTo>
                      <a:pt x="677026" y="837676"/>
                    </a:lnTo>
                    <a:lnTo>
                      <a:pt x="677026" y="837676"/>
                    </a:lnTo>
                    <a:close/>
                    <a:moveTo>
                      <a:pt x="675751" y="838314"/>
                    </a:moveTo>
                    <a:lnTo>
                      <a:pt x="675751" y="838314"/>
                    </a:lnTo>
                    <a:lnTo>
                      <a:pt x="675751" y="838314"/>
                    </a:lnTo>
                    <a:lnTo>
                      <a:pt x="675751" y="838314"/>
                    </a:lnTo>
                    <a:close/>
                    <a:moveTo>
                      <a:pt x="676389" y="837676"/>
                    </a:moveTo>
                    <a:lnTo>
                      <a:pt x="676389" y="837676"/>
                    </a:lnTo>
                    <a:lnTo>
                      <a:pt x="676389" y="837676"/>
                    </a:lnTo>
                    <a:lnTo>
                      <a:pt x="676389" y="837676"/>
                    </a:lnTo>
                    <a:close/>
                    <a:moveTo>
                      <a:pt x="670014" y="838314"/>
                    </a:moveTo>
                    <a:lnTo>
                      <a:pt x="670014" y="838314"/>
                    </a:lnTo>
                    <a:lnTo>
                      <a:pt x="670014" y="838314"/>
                    </a:lnTo>
                    <a:lnTo>
                      <a:pt x="670014" y="838314"/>
                    </a:lnTo>
                    <a:close/>
                    <a:moveTo>
                      <a:pt x="852339" y="797514"/>
                    </a:moveTo>
                    <a:lnTo>
                      <a:pt x="852339" y="797514"/>
                    </a:lnTo>
                    <a:lnTo>
                      <a:pt x="852339" y="798789"/>
                    </a:lnTo>
                    <a:lnTo>
                      <a:pt x="852339" y="797514"/>
                    </a:lnTo>
                    <a:close/>
                    <a:moveTo>
                      <a:pt x="869552" y="793051"/>
                    </a:moveTo>
                    <a:lnTo>
                      <a:pt x="869552" y="791776"/>
                    </a:lnTo>
                    <a:lnTo>
                      <a:pt x="868277" y="793689"/>
                    </a:lnTo>
                    <a:lnTo>
                      <a:pt x="869552" y="793051"/>
                    </a:lnTo>
                    <a:lnTo>
                      <a:pt x="869552" y="793051"/>
                    </a:lnTo>
                    <a:close/>
                    <a:moveTo>
                      <a:pt x="863814" y="792414"/>
                    </a:moveTo>
                    <a:lnTo>
                      <a:pt x="861264" y="789864"/>
                    </a:lnTo>
                    <a:lnTo>
                      <a:pt x="860627" y="790502"/>
                    </a:lnTo>
                    <a:lnTo>
                      <a:pt x="863814" y="792414"/>
                    </a:lnTo>
                    <a:lnTo>
                      <a:pt x="863814" y="792414"/>
                    </a:lnTo>
                    <a:close/>
                    <a:moveTo>
                      <a:pt x="861902" y="796877"/>
                    </a:moveTo>
                    <a:lnTo>
                      <a:pt x="854252" y="786676"/>
                    </a:lnTo>
                    <a:lnTo>
                      <a:pt x="858714" y="794964"/>
                    </a:lnTo>
                    <a:lnTo>
                      <a:pt x="861902" y="796877"/>
                    </a:lnTo>
                    <a:lnTo>
                      <a:pt x="861902" y="796877"/>
                    </a:lnTo>
                    <a:close/>
                    <a:moveTo>
                      <a:pt x="922464" y="759264"/>
                    </a:moveTo>
                    <a:lnTo>
                      <a:pt x="922464" y="761814"/>
                    </a:lnTo>
                    <a:lnTo>
                      <a:pt x="923740" y="760539"/>
                    </a:lnTo>
                    <a:lnTo>
                      <a:pt x="922464" y="759264"/>
                    </a:lnTo>
                    <a:close/>
                    <a:moveTo>
                      <a:pt x="931389" y="752889"/>
                    </a:moveTo>
                    <a:lnTo>
                      <a:pt x="933302" y="749701"/>
                    </a:lnTo>
                    <a:lnTo>
                      <a:pt x="931389" y="752889"/>
                    </a:lnTo>
                    <a:lnTo>
                      <a:pt x="931389" y="752889"/>
                    </a:lnTo>
                    <a:lnTo>
                      <a:pt x="931389" y="752889"/>
                    </a:lnTo>
                    <a:close/>
                    <a:moveTo>
                      <a:pt x="933302" y="746514"/>
                    </a:moveTo>
                    <a:lnTo>
                      <a:pt x="933302" y="746514"/>
                    </a:lnTo>
                    <a:lnTo>
                      <a:pt x="933302" y="746514"/>
                    </a:lnTo>
                    <a:lnTo>
                      <a:pt x="933302" y="746514"/>
                    </a:lnTo>
                    <a:close/>
                    <a:moveTo>
                      <a:pt x="921827" y="744601"/>
                    </a:moveTo>
                    <a:lnTo>
                      <a:pt x="921827" y="744601"/>
                    </a:lnTo>
                    <a:lnTo>
                      <a:pt x="921827" y="744601"/>
                    </a:lnTo>
                    <a:lnTo>
                      <a:pt x="921827" y="744601"/>
                    </a:lnTo>
                    <a:close/>
                    <a:moveTo>
                      <a:pt x="928202" y="735039"/>
                    </a:moveTo>
                    <a:lnTo>
                      <a:pt x="928202" y="735039"/>
                    </a:lnTo>
                    <a:lnTo>
                      <a:pt x="928202" y="735039"/>
                    </a:lnTo>
                    <a:lnTo>
                      <a:pt x="928202" y="735039"/>
                    </a:lnTo>
                    <a:lnTo>
                      <a:pt x="928202" y="735039"/>
                    </a:lnTo>
                    <a:close/>
                    <a:moveTo>
                      <a:pt x="910352" y="734401"/>
                    </a:moveTo>
                    <a:lnTo>
                      <a:pt x="910352" y="734401"/>
                    </a:lnTo>
                    <a:lnTo>
                      <a:pt x="910352" y="734401"/>
                    </a:lnTo>
                    <a:lnTo>
                      <a:pt x="910352" y="734401"/>
                    </a:lnTo>
                    <a:close/>
                    <a:moveTo>
                      <a:pt x="932027" y="719739"/>
                    </a:moveTo>
                    <a:lnTo>
                      <a:pt x="930752" y="720376"/>
                    </a:lnTo>
                    <a:lnTo>
                      <a:pt x="932664" y="721014"/>
                    </a:lnTo>
                    <a:lnTo>
                      <a:pt x="932027" y="719739"/>
                    </a:lnTo>
                    <a:lnTo>
                      <a:pt x="932027" y="719739"/>
                    </a:lnTo>
                    <a:close/>
                    <a:moveTo>
                      <a:pt x="934577" y="719739"/>
                    </a:moveTo>
                    <a:lnTo>
                      <a:pt x="933302" y="718464"/>
                    </a:lnTo>
                    <a:lnTo>
                      <a:pt x="934577" y="719739"/>
                    </a:lnTo>
                    <a:lnTo>
                      <a:pt x="934577" y="719739"/>
                    </a:lnTo>
                    <a:lnTo>
                      <a:pt x="934577" y="719739"/>
                    </a:lnTo>
                    <a:close/>
                    <a:moveTo>
                      <a:pt x="930115" y="718464"/>
                    </a:moveTo>
                    <a:lnTo>
                      <a:pt x="930115" y="718464"/>
                    </a:lnTo>
                    <a:lnTo>
                      <a:pt x="930115" y="718464"/>
                    </a:lnTo>
                    <a:lnTo>
                      <a:pt x="930115" y="718464"/>
                    </a:lnTo>
                    <a:lnTo>
                      <a:pt x="930115" y="718464"/>
                    </a:lnTo>
                    <a:close/>
                    <a:moveTo>
                      <a:pt x="953702" y="714001"/>
                    </a:moveTo>
                    <a:lnTo>
                      <a:pt x="953702" y="714001"/>
                    </a:lnTo>
                    <a:lnTo>
                      <a:pt x="952427" y="715914"/>
                    </a:lnTo>
                    <a:lnTo>
                      <a:pt x="953702" y="714001"/>
                    </a:lnTo>
                    <a:lnTo>
                      <a:pt x="953702" y="714001"/>
                    </a:lnTo>
                    <a:close/>
                    <a:moveTo>
                      <a:pt x="927564" y="716551"/>
                    </a:moveTo>
                    <a:lnTo>
                      <a:pt x="926289" y="716551"/>
                    </a:lnTo>
                    <a:lnTo>
                      <a:pt x="927564" y="716551"/>
                    </a:lnTo>
                    <a:lnTo>
                      <a:pt x="927564" y="716551"/>
                    </a:lnTo>
                    <a:close/>
                    <a:moveTo>
                      <a:pt x="940952" y="708264"/>
                    </a:moveTo>
                    <a:lnTo>
                      <a:pt x="939039" y="708264"/>
                    </a:lnTo>
                    <a:lnTo>
                      <a:pt x="938402" y="708901"/>
                    </a:lnTo>
                    <a:lnTo>
                      <a:pt x="940952" y="708264"/>
                    </a:lnTo>
                    <a:lnTo>
                      <a:pt x="940952" y="708264"/>
                    </a:lnTo>
                    <a:close/>
                    <a:moveTo>
                      <a:pt x="946052" y="705714"/>
                    </a:moveTo>
                    <a:lnTo>
                      <a:pt x="946052" y="705714"/>
                    </a:lnTo>
                    <a:lnTo>
                      <a:pt x="946052" y="705714"/>
                    </a:lnTo>
                    <a:lnTo>
                      <a:pt x="946052" y="705714"/>
                    </a:lnTo>
                    <a:close/>
                    <a:moveTo>
                      <a:pt x="891864" y="707626"/>
                    </a:moveTo>
                    <a:lnTo>
                      <a:pt x="891864" y="706351"/>
                    </a:lnTo>
                    <a:lnTo>
                      <a:pt x="891864" y="707626"/>
                    </a:lnTo>
                    <a:lnTo>
                      <a:pt x="891864" y="707626"/>
                    </a:lnTo>
                    <a:close/>
                    <a:moveTo>
                      <a:pt x="897602" y="705714"/>
                    </a:moveTo>
                    <a:lnTo>
                      <a:pt x="895689" y="705714"/>
                    </a:lnTo>
                    <a:lnTo>
                      <a:pt x="897602" y="709539"/>
                    </a:lnTo>
                    <a:lnTo>
                      <a:pt x="897602" y="705714"/>
                    </a:lnTo>
                    <a:close/>
                    <a:moveTo>
                      <a:pt x="882302" y="706351"/>
                    </a:moveTo>
                    <a:lnTo>
                      <a:pt x="882302" y="702526"/>
                    </a:lnTo>
                    <a:lnTo>
                      <a:pt x="879114" y="703164"/>
                    </a:lnTo>
                    <a:lnTo>
                      <a:pt x="882302" y="706351"/>
                    </a:lnTo>
                    <a:close/>
                    <a:moveTo>
                      <a:pt x="873377" y="700614"/>
                    </a:moveTo>
                    <a:lnTo>
                      <a:pt x="876564" y="703801"/>
                    </a:lnTo>
                    <a:lnTo>
                      <a:pt x="876564" y="702526"/>
                    </a:lnTo>
                    <a:lnTo>
                      <a:pt x="873377" y="700614"/>
                    </a:lnTo>
                    <a:lnTo>
                      <a:pt x="873377" y="700614"/>
                    </a:lnTo>
                    <a:close/>
                    <a:moveTo>
                      <a:pt x="967727" y="704439"/>
                    </a:moveTo>
                    <a:lnTo>
                      <a:pt x="956252" y="709539"/>
                    </a:lnTo>
                    <a:lnTo>
                      <a:pt x="960077" y="710176"/>
                    </a:lnTo>
                    <a:lnTo>
                      <a:pt x="967727" y="704439"/>
                    </a:lnTo>
                    <a:close/>
                    <a:moveTo>
                      <a:pt x="877839" y="698701"/>
                    </a:moveTo>
                    <a:lnTo>
                      <a:pt x="874014" y="698701"/>
                    </a:lnTo>
                    <a:lnTo>
                      <a:pt x="874014" y="699976"/>
                    </a:lnTo>
                    <a:lnTo>
                      <a:pt x="877839" y="698701"/>
                    </a:lnTo>
                    <a:close/>
                    <a:moveTo>
                      <a:pt x="979202" y="666189"/>
                    </a:moveTo>
                    <a:lnTo>
                      <a:pt x="979840" y="663001"/>
                    </a:lnTo>
                    <a:lnTo>
                      <a:pt x="980477" y="654714"/>
                    </a:lnTo>
                    <a:lnTo>
                      <a:pt x="979202" y="666189"/>
                    </a:lnTo>
                    <a:lnTo>
                      <a:pt x="979202" y="666189"/>
                    </a:lnTo>
                    <a:close/>
                    <a:moveTo>
                      <a:pt x="979840" y="630489"/>
                    </a:moveTo>
                    <a:lnTo>
                      <a:pt x="977289" y="624114"/>
                    </a:lnTo>
                    <a:lnTo>
                      <a:pt x="976014" y="626664"/>
                    </a:lnTo>
                    <a:lnTo>
                      <a:pt x="979840" y="630489"/>
                    </a:lnTo>
                    <a:close/>
                    <a:moveTo>
                      <a:pt x="831302" y="646426"/>
                    </a:moveTo>
                    <a:lnTo>
                      <a:pt x="830027" y="648339"/>
                    </a:lnTo>
                    <a:lnTo>
                      <a:pt x="833214" y="648976"/>
                    </a:lnTo>
                    <a:lnTo>
                      <a:pt x="831302" y="646426"/>
                    </a:lnTo>
                    <a:lnTo>
                      <a:pt x="831302" y="646426"/>
                    </a:lnTo>
                    <a:close/>
                    <a:moveTo>
                      <a:pt x="819827" y="640051"/>
                    </a:moveTo>
                    <a:lnTo>
                      <a:pt x="814089" y="641964"/>
                    </a:lnTo>
                    <a:lnTo>
                      <a:pt x="818552" y="642601"/>
                    </a:lnTo>
                    <a:lnTo>
                      <a:pt x="819827" y="640051"/>
                    </a:lnTo>
                    <a:lnTo>
                      <a:pt x="819827" y="640051"/>
                    </a:lnTo>
                    <a:close/>
                    <a:moveTo>
                      <a:pt x="806439" y="641326"/>
                    </a:moveTo>
                    <a:lnTo>
                      <a:pt x="806439" y="639414"/>
                    </a:lnTo>
                    <a:lnTo>
                      <a:pt x="805802" y="640051"/>
                    </a:lnTo>
                    <a:lnTo>
                      <a:pt x="806439" y="641326"/>
                    </a:lnTo>
                    <a:lnTo>
                      <a:pt x="806439" y="641326"/>
                    </a:lnTo>
                    <a:close/>
                    <a:moveTo>
                      <a:pt x="793052" y="640689"/>
                    </a:moveTo>
                    <a:lnTo>
                      <a:pt x="789227" y="643239"/>
                    </a:lnTo>
                    <a:lnTo>
                      <a:pt x="794326" y="645789"/>
                    </a:lnTo>
                    <a:lnTo>
                      <a:pt x="793052" y="640689"/>
                    </a:lnTo>
                    <a:lnTo>
                      <a:pt x="793052" y="640689"/>
                    </a:lnTo>
                    <a:close/>
                    <a:moveTo>
                      <a:pt x="810902" y="641326"/>
                    </a:moveTo>
                    <a:lnTo>
                      <a:pt x="810264" y="639414"/>
                    </a:lnTo>
                    <a:lnTo>
                      <a:pt x="807076" y="638776"/>
                    </a:lnTo>
                    <a:lnTo>
                      <a:pt x="810902" y="641326"/>
                    </a:lnTo>
                    <a:lnTo>
                      <a:pt x="810902" y="641326"/>
                    </a:lnTo>
                    <a:close/>
                    <a:moveTo>
                      <a:pt x="726751" y="578851"/>
                    </a:moveTo>
                    <a:lnTo>
                      <a:pt x="722927" y="580764"/>
                    </a:lnTo>
                    <a:lnTo>
                      <a:pt x="730576" y="583314"/>
                    </a:lnTo>
                    <a:lnTo>
                      <a:pt x="726751" y="578851"/>
                    </a:lnTo>
                    <a:lnTo>
                      <a:pt x="726751" y="578851"/>
                    </a:lnTo>
                    <a:close/>
                    <a:moveTo>
                      <a:pt x="711451" y="558451"/>
                    </a:moveTo>
                    <a:lnTo>
                      <a:pt x="706351" y="550801"/>
                    </a:lnTo>
                    <a:lnTo>
                      <a:pt x="708264" y="556539"/>
                    </a:lnTo>
                    <a:lnTo>
                      <a:pt x="711451" y="558451"/>
                    </a:lnTo>
                    <a:lnTo>
                      <a:pt x="711451" y="558451"/>
                    </a:lnTo>
                    <a:close/>
                    <a:moveTo>
                      <a:pt x="731214" y="571201"/>
                    </a:moveTo>
                    <a:lnTo>
                      <a:pt x="721652" y="550801"/>
                    </a:lnTo>
                    <a:lnTo>
                      <a:pt x="715277" y="548888"/>
                    </a:lnTo>
                    <a:lnTo>
                      <a:pt x="731214" y="571201"/>
                    </a:lnTo>
                    <a:close/>
                    <a:moveTo>
                      <a:pt x="705714" y="545701"/>
                    </a:moveTo>
                    <a:lnTo>
                      <a:pt x="703802" y="540601"/>
                    </a:lnTo>
                    <a:lnTo>
                      <a:pt x="702527" y="537414"/>
                    </a:lnTo>
                    <a:lnTo>
                      <a:pt x="705714" y="545701"/>
                    </a:lnTo>
                    <a:lnTo>
                      <a:pt x="705714" y="545701"/>
                    </a:lnTo>
                    <a:close/>
                    <a:moveTo>
                      <a:pt x="652164" y="474301"/>
                    </a:moveTo>
                    <a:lnTo>
                      <a:pt x="640689" y="466013"/>
                    </a:lnTo>
                    <a:lnTo>
                      <a:pt x="645151" y="470476"/>
                    </a:lnTo>
                    <a:lnTo>
                      <a:pt x="652164" y="474301"/>
                    </a:lnTo>
                    <a:close/>
                    <a:moveTo>
                      <a:pt x="941589" y="430951"/>
                    </a:moveTo>
                    <a:lnTo>
                      <a:pt x="894414" y="353175"/>
                    </a:lnTo>
                    <a:lnTo>
                      <a:pt x="891864" y="353175"/>
                    </a:lnTo>
                    <a:lnTo>
                      <a:pt x="941589" y="430951"/>
                    </a:lnTo>
                    <a:lnTo>
                      <a:pt x="941589" y="430951"/>
                    </a:lnTo>
                    <a:close/>
                    <a:moveTo>
                      <a:pt x="617101" y="306001"/>
                    </a:moveTo>
                    <a:lnTo>
                      <a:pt x="615189" y="305363"/>
                    </a:lnTo>
                    <a:lnTo>
                      <a:pt x="617101" y="306001"/>
                    </a:lnTo>
                    <a:lnTo>
                      <a:pt x="617101" y="306001"/>
                    </a:lnTo>
                    <a:lnTo>
                      <a:pt x="617101" y="306001"/>
                    </a:lnTo>
                    <a:close/>
                    <a:moveTo>
                      <a:pt x="613276" y="301538"/>
                    </a:moveTo>
                    <a:lnTo>
                      <a:pt x="613276" y="301538"/>
                    </a:lnTo>
                    <a:lnTo>
                      <a:pt x="613276" y="302813"/>
                    </a:lnTo>
                    <a:lnTo>
                      <a:pt x="613276" y="301538"/>
                    </a:lnTo>
                    <a:lnTo>
                      <a:pt x="613276" y="301538"/>
                    </a:lnTo>
                    <a:close/>
                    <a:moveTo>
                      <a:pt x="608176" y="294525"/>
                    </a:moveTo>
                    <a:lnTo>
                      <a:pt x="608176" y="294525"/>
                    </a:lnTo>
                    <a:lnTo>
                      <a:pt x="608176" y="294525"/>
                    </a:lnTo>
                    <a:lnTo>
                      <a:pt x="608176" y="294525"/>
                    </a:lnTo>
                    <a:close/>
                    <a:moveTo>
                      <a:pt x="611364" y="291976"/>
                    </a:moveTo>
                    <a:lnTo>
                      <a:pt x="613276" y="293251"/>
                    </a:lnTo>
                    <a:lnTo>
                      <a:pt x="613276" y="291976"/>
                    </a:lnTo>
                    <a:lnTo>
                      <a:pt x="611364" y="291976"/>
                    </a:lnTo>
                    <a:close/>
                    <a:moveTo>
                      <a:pt x="615189" y="290063"/>
                    </a:moveTo>
                    <a:lnTo>
                      <a:pt x="612639" y="290700"/>
                    </a:lnTo>
                    <a:lnTo>
                      <a:pt x="613276" y="290700"/>
                    </a:lnTo>
                    <a:lnTo>
                      <a:pt x="615189" y="290063"/>
                    </a:lnTo>
                    <a:lnTo>
                      <a:pt x="615189" y="290063"/>
                    </a:lnTo>
                    <a:close/>
                    <a:moveTo>
                      <a:pt x="610726" y="289425"/>
                    </a:moveTo>
                    <a:lnTo>
                      <a:pt x="608814" y="287513"/>
                    </a:lnTo>
                    <a:lnTo>
                      <a:pt x="609451" y="288150"/>
                    </a:lnTo>
                    <a:lnTo>
                      <a:pt x="610726" y="289425"/>
                    </a:lnTo>
                    <a:lnTo>
                      <a:pt x="610726" y="289425"/>
                    </a:lnTo>
                    <a:close/>
                    <a:moveTo>
                      <a:pt x="605626" y="282413"/>
                    </a:moveTo>
                    <a:lnTo>
                      <a:pt x="604351" y="282413"/>
                    </a:lnTo>
                    <a:lnTo>
                      <a:pt x="605626" y="282413"/>
                    </a:lnTo>
                    <a:lnTo>
                      <a:pt x="605626" y="282413"/>
                    </a:lnTo>
                    <a:lnTo>
                      <a:pt x="605626" y="282413"/>
                    </a:lnTo>
                    <a:close/>
                    <a:moveTo>
                      <a:pt x="610726" y="274126"/>
                    </a:moveTo>
                    <a:lnTo>
                      <a:pt x="608176" y="274126"/>
                    </a:lnTo>
                    <a:lnTo>
                      <a:pt x="607539" y="274763"/>
                    </a:lnTo>
                    <a:lnTo>
                      <a:pt x="610726" y="274126"/>
                    </a:lnTo>
                    <a:lnTo>
                      <a:pt x="610726" y="274126"/>
                    </a:lnTo>
                    <a:close/>
                    <a:moveTo>
                      <a:pt x="613276" y="275400"/>
                    </a:moveTo>
                    <a:lnTo>
                      <a:pt x="610089" y="272213"/>
                    </a:lnTo>
                    <a:lnTo>
                      <a:pt x="611364" y="272850"/>
                    </a:lnTo>
                    <a:lnTo>
                      <a:pt x="613276" y="275400"/>
                    </a:lnTo>
                    <a:lnTo>
                      <a:pt x="613276" y="275400"/>
                    </a:lnTo>
                    <a:close/>
                    <a:moveTo>
                      <a:pt x="588414" y="247988"/>
                    </a:moveTo>
                    <a:lnTo>
                      <a:pt x="587139" y="247350"/>
                    </a:lnTo>
                    <a:lnTo>
                      <a:pt x="587139" y="247988"/>
                    </a:lnTo>
                    <a:lnTo>
                      <a:pt x="588414" y="247988"/>
                    </a:lnTo>
                    <a:close/>
                    <a:moveTo>
                      <a:pt x="561001" y="247988"/>
                    </a:moveTo>
                    <a:lnTo>
                      <a:pt x="559089" y="245438"/>
                    </a:lnTo>
                    <a:lnTo>
                      <a:pt x="559726" y="248626"/>
                    </a:lnTo>
                    <a:lnTo>
                      <a:pt x="561001" y="247988"/>
                    </a:lnTo>
                    <a:lnTo>
                      <a:pt x="561001" y="247988"/>
                    </a:lnTo>
                    <a:close/>
                    <a:moveTo>
                      <a:pt x="327038" y="226950"/>
                    </a:moveTo>
                    <a:lnTo>
                      <a:pt x="346163" y="212288"/>
                    </a:lnTo>
                    <a:lnTo>
                      <a:pt x="325126" y="226313"/>
                    </a:lnTo>
                    <a:lnTo>
                      <a:pt x="327038" y="226950"/>
                    </a:lnTo>
                    <a:lnTo>
                      <a:pt x="327038" y="226950"/>
                    </a:lnTo>
                    <a:close/>
                    <a:moveTo>
                      <a:pt x="365288" y="196350"/>
                    </a:moveTo>
                    <a:lnTo>
                      <a:pt x="367201" y="194438"/>
                    </a:lnTo>
                    <a:lnTo>
                      <a:pt x="359551" y="197625"/>
                    </a:lnTo>
                    <a:lnTo>
                      <a:pt x="365288" y="196350"/>
                    </a:lnTo>
                    <a:lnTo>
                      <a:pt x="365288" y="196350"/>
                    </a:lnTo>
                    <a:close/>
                    <a:moveTo>
                      <a:pt x="121125" y="153000"/>
                    </a:moveTo>
                    <a:lnTo>
                      <a:pt x="51000" y="175313"/>
                    </a:lnTo>
                    <a:lnTo>
                      <a:pt x="89250" y="163838"/>
                    </a:lnTo>
                    <a:lnTo>
                      <a:pt x="121125" y="153000"/>
                    </a:lnTo>
                    <a:close/>
                    <a:moveTo>
                      <a:pt x="295801" y="43987"/>
                    </a:moveTo>
                    <a:lnTo>
                      <a:pt x="277313" y="47175"/>
                    </a:lnTo>
                    <a:lnTo>
                      <a:pt x="0" y="92438"/>
                    </a:lnTo>
                    <a:lnTo>
                      <a:pt x="29325" y="158738"/>
                    </a:lnTo>
                    <a:lnTo>
                      <a:pt x="31238" y="159375"/>
                    </a:lnTo>
                    <a:lnTo>
                      <a:pt x="24225" y="186150"/>
                    </a:lnTo>
                    <a:lnTo>
                      <a:pt x="44625" y="176588"/>
                    </a:lnTo>
                    <a:lnTo>
                      <a:pt x="66938" y="156825"/>
                    </a:lnTo>
                    <a:lnTo>
                      <a:pt x="105188" y="155550"/>
                    </a:lnTo>
                    <a:lnTo>
                      <a:pt x="149813" y="139613"/>
                    </a:lnTo>
                    <a:lnTo>
                      <a:pt x="180413" y="144075"/>
                    </a:lnTo>
                    <a:lnTo>
                      <a:pt x="173400" y="155550"/>
                    </a:lnTo>
                    <a:lnTo>
                      <a:pt x="228225" y="174038"/>
                    </a:lnTo>
                    <a:lnTo>
                      <a:pt x="276038" y="196988"/>
                    </a:lnTo>
                    <a:lnTo>
                      <a:pt x="287513" y="222488"/>
                    </a:lnTo>
                    <a:lnTo>
                      <a:pt x="322576" y="214838"/>
                    </a:lnTo>
                    <a:lnTo>
                      <a:pt x="406088" y="146625"/>
                    </a:lnTo>
                    <a:lnTo>
                      <a:pt x="437326" y="147900"/>
                    </a:lnTo>
                    <a:lnTo>
                      <a:pt x="562914" y="242888"/>
                    </a:lnTo>
                    <a:lnTo>
                      <a:pt x="588414" y="237788"/>
                    </a:lnTo>
                    <a:lnTo>
                      <a:pt x="615826" y="273488"/>
                    </a:lnTo>
                    <a:lnTo>
                      <a:pt x="620926" y="330226"/>
                    </a:lnTo>
                    <a:lnTo>
                      <a:pt x="612639" y="365926"/>
                    </a:lnTo>
                    <a:lnTo>
                      <a:pt x="616464" y="383775"/>
                    </a:lnTo>
                    <a:lnTo>
                      <a:pt x="638776" y="429038"/>
                    </a:lnTo>
                    <a:lnTo>
                      <a:pt x="627939" y="393976"/>
                    </a:lnTo>
                    <a:lnTo>
                      <a:pt x="657264" y="393338"/>
                    </a:lnTo>
                    <a:lnTo>
                      <a:pt x="659814" y="418838"/>
                    </a:lnTo>
                    <a:lnTo>
                      <a:pt x="644514" y="458363"/>
                    </a:lnTo>
                    <a:lnTo>
                      <a:pt x="698064" y="531676"/>
                    </a:lnTo>
                    <a:lnTo>
                      <a:pt x="717826" y="532314"/>
                    </a:lnTo>
                    <a:lnTo>
                      <a:pt x="701251" y="510001"/>
                    </a:lnTo>
                    <a:lnTo>
                      <a:pt x="721652" y="512551"/>
                    </a:lnTo>
                    <a:lnTo>
                      <a:pt x="733764" y="504901"/>
                    </a:lnTo>
                    <a:lnTo>
                      <a:pt x="728664" y="545701"/>
                    </a:lnTo>
                    <a:lnTo>
                      <a:pt x="756714" y="567376"/>
                    </a:lnTo>
                    <a:lnTo>
                      <a:pt x="775201" y="617739"/>
                    </a:lnTo>
                    <a:lnTo>
                      <a:pt x="800064" y="633039"/>
                    </a:lnTo>
                    <a:lnTo>
                      <a:pt x="832577" y="641326"/>
                    </a:lnTo>
                    <a:lnTo>
                      <a:pt x="877202" y="697426"/>
                    </a:lnTo>
                    <a:lnTo>
                      <a:pt x="900152" y="709539"/>
                    </a:lnTo>
                    <a:lnTo>
                      <a:pt x="868914" y="711451"/>
                    </a:lnTo>
                    <a:lnTo>
                      <a:pt x="882939" y="727389"/>
                    </a:lnTo>
                    <a:lnTo>
                      <a:pt x="933939" y="710814"/>
                    </a:lnTo>
                    <a:lnTo>
                      <a:pt x="958802" y="696789"/>
                    </a:lnTo>
                    <a:lnTo>
                      <a:pt x="981752" y="615826"/>
                    </a:lnTo>
                    <a:lnTo>
                      <a:pt x="970277" y="490238"/>
                    </a:lnTo>
                    <a:lnTo>
                      <a:pt x="967727" y="477488"/>
                    </a:lnTo>
                    <a:lnTo>
                      <a:pt x="905889" y="374851"/>
                    </a:lnTo>
                    <a:lnTo>
                      <a:pt x="852977" y="300263"/>
                    </a:lnTo>
                    <a:lnTo>
                      <a:pt x="823014" y="239700"/>
                    </a:lnTo>
                    <a:lnTo>
                      <a:pt x="847877" y="260738"/>
                    </a:lnTo>
                    <a:lnTo>
                      <a:pt x="852977" y="256913"/>
                    </a:lnTo>
                    <a:lnTo>
                      <a:pt x="864452" y="310463"/>
                    </a:lnTo>
                    <a:lnTo>
                      <a:pt x="893139" y="350626"/>
                    </a:lnTo>
                    <a:lnTo>
                      <a:pt x="865089" y="296438"/>
                    </a:lnTo>
                    <a:lnTo>
                      <a:pt x="866364" y="270938"/>
                    </a:lnTo>
                    <a:lnTo>
                      <a:pt x="783489" y="170213"/>
                    </a:lnTo>
                    <a:lnTo>
                      <a:pt x="763726" y="138337"/>
                    </a:lnTo>
                    <a:lnTo>
                      <a:pt x="736951" y="84788"/>
                    </a:lnTo>
                    <a:lnTo>
                      <a:pt x="719101" y="39525"/>
                    </a:lnTo>
                    <a:lnTo>
                      <a:pt x="705076" y="23587"/>
                    </a:lnTo>
                    <a:lnTo>
                      <a:pt x="701889" y="3188"/>
                    </a:lnTo>
                    <a:lnTo>
                      <a:pt x="701251" y="2550"/>
                    </a:lnTo>
                    <a:lnTo>
                      <a:pt x="656626" y="0"/>
                    </a:lnTo>
                    <a:lnTo>
                      <a:pt x="639414" y="13387"/>
                    </a:lnTo>
                    <a:lnTo>
                      <a:pt x="629214" y="63112"/>
                    </a:lnTo>
                    <a:lnTo>
                      <a:pt x="619651" y="40163"/>
                    </a:lnTo>
                    <a:lnTo>
                      <a:pt x="316838" y="77775"/>
                    </a:lnTo>
                    <a:lnTo>
                      <a:pt x="295801" y="43987"/>
                    </a:lnTo>
                    <a:lnTo>
                      <a:pt x="295801" y="43987"/>
                    </a:lnTo>
                    <a:lnTo>
                      <a:pt x="295801" y="43987"/>
                    </a:lnTo>
                    <a:close/>
                  </a:path>
                </a:pathLst>
              </a:custGeom>
              <a:solidFill>
                <a:schemeClr val="bg2"/>
              </a:solidFill>
              <a:ln w="19050"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3" name="Freeform 49">
                <a:extLst>
                  <a:ext uri="{FF2B5EF4-FFF2-40B4-BE49-F238E27FC236}">
                    <a16:creationId xmlns:a16="http://schemas.microsoft.com/office/drawing/2014/main" id="{86BBB9CE-9FF7-1BA6-B784-4311E0D14FD8}"/>
                  </a:ext>
                </a:extLst>
              </p:cNvPr>
              <p:cNvSpPr/>
              <p:nvPr/>
            </p:nvSpPr>
            <p:spPr>
              <a:xfrm>
                <a:off x="5325878" y="3142225"/>
                <a:ext cx="386325" cy="659176"/>
              </a:xfrm>
              <a:custGeom>
                <a:avLst/>
                <a:gdLst>
                  <a:gd name="connsiteX0" fmla="*/ 325126 w 386325"/>
                  <a:gd name="connsiteY0" fmla="*/ 648976 h 659176"/>
                  <a:gd name="connsiteX1" fmla="*/ 321938 w 386325"/>
                  <a:gd name="connsiteY1" fmla="*/ 649614 h 659176"/>
                  <a:gd name="connsiteX2" fmla="*/ 321938 w 386325"/>
                  <a:gd name="connsiteY2" fmla="*/ 650251 h 659176"/>
                  <a:gd name="connsiteX3" fmla="*/ 325126 w 386325"/>
                  <a:gd name="connsiteY3" fmla="*/ 648976 h 659176"/>
                  <a:gd name="connsiteX4" fmla="*/ 325126 w 386325"/>
                  <a:gd name="connsiteY4" fmla="*/ 648976 h 659176"/>
                  <a:gd name="connsiteX5" fmla="*/ 385051 w 386325"/>
                  <a:gd name="connsiteY5" fmla="*/ 641326 h 659176"/>
                  <a:gd name="connsiteX6" fmla="*/ 375488 w 386325"/>
                  <a:gd name="connsiteY6" fmla="*/ 641326 h 659176"/>
                  <a:gd name="connsiteX7" fmla="*/ 385051 w 386325"/>
                  <a:gd name="connsiteY7" fmla="*/ 641326 h 659176"/>
                  <a:gd name="connsiteX8" fmla="*/ 385051 w 386325"/>
                  <a:gd name="connsiteY8" fmla="*/ 641326 h 659176"/>
                  <a:gd name="connsiteX9" fmla="*/ 385051 w 386325"/>
                  <a:gd name="connsiteY9" fmla="*/ 641326 h 659176"/>
                  <a:gd name="connsiteX10" fmla="*/ 309825 w 386325"/>
                  <a:gd name="connsiteY10" fmla="*/ 647701 h 659176"/>
                  <a:gd name="connsiteX11" fmla="*/ 307276 w 386325"/>
                  <a:gd name="connsiteY11" fmla="*/ 650251 h 659176"/>
                  <a:gd name="connsiteX12" fmla="*/ 307913 w 386325"/>
                  <a:gd name="connsiteY12" fmla="*/ 650889 h 659176"/>
                  <a:gd name="connsiteX13" fmla="*/ 309825 w 386325"/>
                  <a:gd name="connsiteY13" fmla="*/ 647701 h 659176"/>
                  <a:gd name="connsiteX14" fmla="*/ 309825 w 386325"/>
                  <a:gd name="connsiteY14" fmla="*/ 647701 h 659176"/>
                  <a:gd name="connsiteX15" fmla="*/ 371026 w 386325"/>
                  <a:gd name="connsiteY15" fmla="*/ 642601 h 659176"/>
                  <a:gd name="connsiteX16" fmla="*/ 346801 w 386325"/>
                  <a:gd name="connsiteY16" fmla="*/ 642601 h 659176"/>
                  <a:gd name="connsiteX17" fmla="*/ 369751 w 386325"/>
                  <a:gd name="connsiteY17" fmla="*/ 643239 h 659176"/>
                  <a:gd name="connsiteX18" fmla="*/ 371026 w 386325"/>
                  <a:gd name="connsiteY18" fmla="*/ 642601 h 659176"/>
                  <a:gd name="connsiteX19" fmla="*/ 102638 w 386325"/>
                  <a:gd name="connsiteY19" fmla="*/ 29963 h 659176"/>
                  <a:gd name="connsiteX20" fmla="*/ 102638 w 386325"/>
                  <a:gd name="connsiteY20" fmla="*/ 29963 h 659176"/>
                  <a:gd name="connsiteX21" fmla="*/ 75225 w 386325"/>
                  <a:gd name="connsiteY21" fmla="*/ 75862 h 659176"/>
                  <a:gd name="connsiteX22" fmla="*/ 77775 w 386325"/>
                  <a:gd name="connsiteY22" fmla="*/ 110288 h 659176"/>
                  <a:gd name="connsiteX23" fmla="*/ 41438 w 386325"/>
                  <a:gd name="connsiteY23" fmla="*/ 150450 h 659176"/>
                  <a:gd name="connsiteX24" fmla="*/ 51637 w 386325"/>
                  <a:gd name="connsiteY24" fmla="*/ 161925 h 659176"/>
                  <a:gd name="connsiteX25" fmla="*/ 27412 w 386325"/>
                  <a:gd name="connsiteY25" fmla="*/ 264563 h 659176"/>
                  <a:gd name="connsiteX26" fmla="*/ 38887 w 386325"/>
                  <a:gd name="connsiteY26" fmla="*/ 286238 h 659176"/>
                  <a:gd name="connsiteX27" fmla="*/ 32512 w 386325"/>
                  <a:gd name="connsiteY27" fmla="*/ 290700 h 659176"/>
                  <a:gd name="connsiteX28" fmla="*/ 33150 w 386325"/>
                  <a:gd name="connsiteY28" fmla="*/ 304726 h 659176"/>
                  <a:gd name="connsiteX29" fmla="*/ 33150 w 386325"/>
                  <a:gd name="connsiteY29" fmla="*/ 309188 h 659176"/>
                  <a:gd name="connsiteX30" fmla="*/ 47813 w 386325"/>
                  <a:gd name="connsiteY30" fmla="*/ 343613 h 659176"/>
                  <a:gd name="connsiteX31" fmla="*/ 46538 w 386325"/>
                  <a:gd name="connsiteY31" fmla="*/ 364651 h 659176"/>
                  <a:gd name="connsiteX32" fmla="*/ 70125 w 386325"/>
                  <a:gd name="connsiteY32" fmla="*/ 393976 h 659176"/>
                  <a:gd name="connsiteX33" fmla="*/ 21037 w 386325"/>
                  <a:gd name="connsiteY33" fmla="*/ 477488 h 659176"/>
                  <a:gd name="connsiteX34" fmla="*/ 13387 w 386325"/>
                  <a:gd name="connsiteY34" fmla="*/ 527851 h 659176"/>
                  <a:gd name="connsiteX35" fmla="*/ 0 w 386325"/>
                  <a:gd name="connsiteY35" fmla="*/ 547613 h 659176"/>
                  <a:gd name="connsiteX36" fmla="*/ 9563 w 386325"/>
                  <a:gd name="connsiteY36" fmla="*/ 570564 h 659176"/>
                  <a:gd name="connsiteX37" fmla="*/ 1275 w 386325"/>
                  <a:gd name="connsiteY37" fmla="*/ 578851 h 659176"/>
                  <a:gd name="connsiteX38" fmla="*/ 223125 w 386325"/>
                  <a:gd name="connsiteY38" fmla="*/ 554626 h 659176"/>
                  <a:gd name="connsiteX39" fmla="*/ 215475 w 386325"/>
                  <a:gd name="connsiteY39" fmla="*/ 585863 h 659176"/>
                  <a:gd name="connsiteX40" fmla="*/ 244163 w 386325"/>
                  <a:gd name="connsiteY40" fmla="*/ 640689 h 659176"/>
                  <a:gd name="connsiteX41" fmla="*/ 258825 w 386325"/>
                  <a:gd name="connsiteY41" fmla="*/ 659176 h 659176"/>
                  <a:gd name="connsiteX42" fmla="*/ 258825 w 386325"/>
                  <a:gd name="connsiteY42" fmla="*/ 658539 h 659176"/>
                  <a:gd name="connsiteX43" fmla="*/ 282413 w 386325"/>
                  <a:gd name="connsiteY43" fmla="*/ 631126 h 659176"/>
                  <a:gd name="connsiteX44" fmla="*/ 332776 w 386325"/>
                  <a:gd name="connsiteY44" fmla="*/ 619651 h 659176"/>
                  <a:gd name="connsiteX45" fmla="*/ 379313 w 386325"/>
                  <a:gd name="connsiteY45" fmla="*/ 624751 h 659176"/>
                  <a:gd name="connsiteX46" fmla="*/ 386326 w 386325"/>
                  <a:gd name="connsiteY46" fmla="*/ 615189 h 659176"/>
                  <a:gd name="connsiteX47" fmla="*/ 386326 w 386325"/>
                  <a:gd name="connsiteY47" fmla="*/ 615826 h 659176"/>
                  <a:gd name="connsiteX48" fmla="*/ 353176 w 386325"/>
                  <a:gd name="connsiteY48" fmla="*/ 418201 h 659176"/>
                  <a:gd name="connsiteX49" fmla="*/ 351901 w 386325"/>
                  <a:gd name="connsiteY49" fmla="*/ 274126 h 659176"/>
                  <a:gd name="connsiteX50" fmla="*/ 348076 w 386325"/>
                  <a:gd name="connsiteY50" fmla="*/ 10838 h 659176"/>
                  <a:gd name="connsiteX51" fmla="*/ 338513 w 386325"/>
                  <a:gd name="connsiteY51" fmla="*/ 5100 h 659176"/>
                  <a:gd name="connsiteX52" fmla="*/ 335963 w 386325"/>
                  <a:gd name="connsiteY52" fmla="*/ 0 h 659176"/>
                  <a:gd name="connsiteX53" fmla="*/ 334688 w 386325"/>
                  <a:gd name="connsiteY53" fmla="*/ 0 h 659176"/>
                  <a:gd name="connsiteX54" fmla="*/ 302176 w 386325"/>
                  <a:gd name="connsiteY54" fmla="*/ 4463 h 659176"/>
                  <a:gd name="connsiteX55" fmla="*/ 246075 w 386325"/>
                  <a:gd name="connsiteY55" fmla="*/ 12112 h 659176"/>
                  <a:gd name="connsiteX56" fmla="*/ 117938 w 386325"/>
                  <a:gd name="connsiteY56" fmla="*/ 28050 h 659176"/>
                  <a:gd name="connsiteX57" fmla="*/ 102638 w 386325"/>
                  <a:gd name="connsiteY57" fmla="*/ 29963 h 659176"/>
                  <a:gd name="connsiteX58" fmla="*/ 102638 w 386325"/>
                  <a:gd name="connsiteY58" fmla="*/ 29963 h 65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86325" h="659176">
                    <a:moveTo>
                      <a:pt x="325126" y="648976"/>
                    </a:moveTo>
                    <a:lnTo>
                      <a:pt x="321938" y="649614"/>
                    </a:lnTo>
                    <a:lnTo>
                      <a:pt x="321938" y="650251"/>
                    </a:lnTo>
                    <a:lnTo>
                      <a:pt x="325126" y="648976"/>
                    </a:lnTo>
                    <a:lnTo>
                      <a:pt x="325126" y="648976"/>
                    </a:lnTo>
                    <a:close/>
                    <a:moveTo>
                      <a:pt x="385051" y="641326"/>
                    </a:moveTo>
                    <a:lnTo>
                      <a:pt x="375488" y="641326"/>
                    </a:lnTo>
                    <a:lnTo>
                      <a:pt x="385051" y="641326"/>
                    </a:lnTo>
                    <a:lnTo>
                      <a:pt x="385051" y="641326"/>
                    </a:lnTo>
                    <a:lnTo>
                      <a:pt x="385051" y="641326"/>
                    </a:lnTo>
                    <a:close/>
                    <a:moveTo>
                      <a:pt x="309825" y="647701"/>
                    </a:moveTo>
                    <a:lnTo>
                      <a:pt x="307276" y="650251"/>
                    </a:lnTo>
                    <a:lnTo>
                      <a:pt x="307913" y="650889"/>
                    </a:lnTo>
                    <a:lnTo>
                      <a:pt x="309825" y="647701"/>
                    </a:lnTo>
                    <a:lnTo>
                      <a:pt x="309825" y="647701"/>
                    </a:lnTo>
                    <a:close/>
                    <a:moveTo>
                      <a:pt x="371026" y="642601"/>
                    </a:moveTo>
                    <a:lnTo>
                      <a:pt x="346801" y="642601"/>
                    </a:lnTo>
                    <a:lnTo>
                      <a:pt x="369751" y="643239"/>
                    </a:lnTo>
                    <a:lnTo>
                      <a:pt x="371026" y="642601"/>
                    </a:lnTo>
                    <a:close/>
                    <a:moveTo>
                      <a:pt x="102638" y="29963"/>
                    </a:moveTo>
                    <a:lnTo>
                      <a:pt x="102638" y="29963"/>
                    </a:lnTo>
                    <a:lnTo>
                      <a:pt x="75225" y="75862"/>
                    </a:lnTo>
                    <a:lnTo>
                      <a:pt x="77775" y="110288"/>
                    </a:lnTo>
                    <a:lnTo>
                      <a:pt x="41438" y="150450"/>
                    </a:lnTo>
                    <a:lnTo>
                      <a:pt x="51637" y="161925"/>
                    </a:lnTo>
                    <a:lnTo>
                      <a:pt x="27412" y="264563"/>
                    </a:lnTo>
                    <a:lnTo>
                      <a:pt x="38887" y="286238"/>
                    </a:lnTo>
                    <a:lnTo>
                      <a:pt x="32512" y="290700"/>
                    </a:lnTo>
                    <a:lnTo>
                      <a:pt x="33150" y="304726"/>
                    </a:lnTo>
                    <a:lnTo>
                      <a:pt x="33150" y="309188"/>
                    </a:lnTo>
                    <a:lnTo>
                      <a:pt x="47813" y="343613"/>
                    </a:lnTo>
                    <a:lnTo>
                      <a:pt x="46538" y="364651"/>
                    </a:lnTo>
                    <a:lnTo>
                      <a:pt x="70125" y="393976"/>
                    </a:lnTo>
                    <a:lnTo>
                      <a:pt x="21037" y="477488"/>
                    </a:lnTo>
                    <a:lnTo>
                      <a:pt x="13387" y="527851"/>
                    </a:lnTo>
                    <a:lnTo>
                      <a:pt x="0" y="547613"/>
                    </a:lnTo>
                    <a:lnTo>
                      <a:pt x="9563" y="570564"/>
                    </a:lnTo>
                    <a:lnTo>
                      <a:pt x="1275" y="578851"/>
                    </a:lnTo>
                    <a:lnTo>
                      <a:pt x="223125" y="554626"/>
                    </a:lnTo>
                    <a:lnTo>
                      <a:pt x="215475" y="585863"/>
                    </a:lnTo>
                    <a:lnTo>
                      <a:pt x="244163" y="640689"/>
                    </a:lnTo>
                    <a:lnTo>
                      <a:pt x="258825" y="659176"/>
                    </a:lnTo>
                    <a:lnTo>
                      <a:pt x="258825" y="658539"/>
                    </a:lnTo>
                    <a:lnTo>
                      <a:pt x="282413" y="631126"/>
                    </a:lnTo>
                    <a:lnTo>
                      <a:pt x="332776" y="619651"/>
                    </a:lnTo>
                    <a:lnTo>
                      <a:pt x="379313" y="624751"/>
                    </a:lnTo>
                    <a:lnTo>
                      <a:pt x="386326" y="615189"/>
                    </a:lnTo>
                    <a:lnTo>
                      <a:pt x="386326" y="615826"/>
                    </a:lnTo>
                    <a:lnTo>
                      <a:pt x="353176" y="418201"/>
                    </a:lnTo>
                    <a:lnTo>
                      <a:pt x="351901" y="274126"/>
                    </a:lnTo>
                    <a:lnTo>
                      <a:pt x="348076" y="10838"/>
                    </a:lnTo>
                    <a:lnTo>
                      <a:pt x="338513" y="5100"/>
                    </a:lnTo>
                    <a:lnTo>
                      <a:pt x="335963" y="0"/>
                    </a:lnTo>
                    <a:lnTo>
                      <a:pt x="334688" y="0"/>
                    </a:lnTo>
                    <a:lnTo>
                      <a:pt x="302176" y="4463"/>
                    </a:lnTo>
                    <a:lnTo>
                      <a:pt x="246075" y="12112"/>
                    </a:lnTo>
                    <a:lnTo>
                      <a:pt x="117938" y="28050"/>
                    </a:lnTo>
                    <a:lnTo>
                      <a:pt x="102638" y="29963"/>
                    </a:lnTo>
                    <a:lnTo>
                      <a:pt x="102638" y="299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4" name="Freeform 50">
                <a:extLst>
                  <a:ext uri="{FF2B5EF4-FFF2-40B4-BE49-F238E27FC236}">
                    <a16:creationId xmlns:a16="http://schemas.microsoft.com/office/drawing/2014/main" id="{BDE73BDD-9CAC-8281-9B51-75F99B4D8ADB}"/>
                  </a:ext>
                </a:extLst>
              </p:cNvPr>
              <p:cNvSpPr/>
              <p:nvPr/>
            </p:nvSpPr>
            <p:spPr>
              <a:xfrm>
                <a:off x="6193517" y="2978387"/>
                <a:ext cx="538051" cy="408000"/>
              </a:xfrm>
              <a:custGeom>
                <a:avLst/>
                <a:gdLst>
                  <a:gd name="connsiteX0" fmla="*/ 17850 w 538051"/>
                  <a:gd name="connsiteY0" fmla="*/ 69488 h 408000"/>
                  <a:gd name="connsiteX1" fmla="*/ 17850 w 538051"/>
                  <a:gd name="connsiteY1" fmla="*/ 69488 h 408000"/>
                  <a:gd name="connsiteX2" fmla="*/ 0 w 538051"/>
                  <a:gd name="connsiteY2" fmla="*/ 104550 h 408000"/>
                  <a:gd name="connsiteX3" fmla="*/ 3188 w 538051"/>
                  <a:gd name="connsiteY3" fmla="*/ 117300 h 408000"/>
                  <a:gd name="connsiteX4" fmla="*/ 61200 w 538051"/>
                  <a:gd name="connsiteY4" fmla="*/ 141525 h 408000"/>
                  <a:gd name="connsiteX5" fmla="*/ 91800 w 538051"/>
                  <a:gd name="connsiteY5" fmla="*/ 179775 h 408000"/>
                  <a:gd name="connsiteX6" fmla="*/ 215476 w 538051"/>
                  <a:gd name="connsiteY6" fmla="*/ 283688 h 408000"/>
                  <a:gd name="connsiteX7" fmla="*/ 244801 w 538051"/>
                  <a:gd name="connsiteY7" fmla="*/ 297075 h 408000"/>
                  <a:gd name="connsiteX8" fmla="*/ 297713 w 538051"/>
                  <a:gd name="connsiteY8" fmla="*/ 372301 h 408000"/>
                  <a:gd name="connsiteX9" fmla="*/ 335963 w 538051"/>
                  <a:gd name="connsiteY9" fmla="*/ 408001 h 408000"/>
                  <a:gd name="connsiteX10" fmla="*/ 335963 w 538051"/>
                  <a:gd name="connsiteY10" fmla="*/ 408001 h 408000"/>
                  <a:gd name="connsiteX11" fmla="*/ 342338 w 538051"/>
                  <a:gd name="connsiteY11" fmla="*/ 378038 h 408000"/>
                  <a:gd name="connsiteX12" fmla="*/ 331501 w 538051"/>
                  <a:gd name="connsiteY12" fmla="*/ 349351 h 408000"/>
                  <a:gd name="connsiteX13" fmla="*/ 359551 w 538051"/>
                  <a:gd name="connsiteY13" fmla="*/ 369751 h 408000"/>
                  <a:gd name="connsiteX14" fmla="*/ 374851 w 538051"/>
                  <a:gd name="connsiteY14" fmla="*/ 357638 h 408000"/>
                  <a:gd name="connsiteX15" fmla="*/ 348076 w 538051"/>
                  <a:gd name="connsiteY15" fmla="*/ 335963 h 408000"/>
                  <a:gd name="connsiteX16" fmla="*/ 380588 w 538051"/>
                  <a:gd name="connsiteY16" fmla="*/ 334051 h 408000"/>
                  <a:gd name="connsiteX17" fmla="*/ 430951 w 538051"/>
                  <a:gd name="connsiteY17" fmla="*/ 291976 h 408000"/>
                  <a:gd name="connsiteX18" fmla="*/ 425213 w 538051"/>
                  <a:gd name="connsiteY18" fmla="*/ 280501 h 408000"/>
                  <a:gd name="connsiteX19" fmla="*/ 456451 w 538051"/>
                  <a:gd name="connsiteY19" fmla="*/ 256913 h 408000"/>
                  <a:gd name="connsiteX20" fmla="*/ 453264 w 538051"/>
                  <a:gd name="connsiteY20" fmla="*/ 245438 h 408000"/>
                  <a:gd name="connsiteX21" fmla="*/ 475576 w 538051"/>
                  <a:gd name="connsiteY21" fmla="*/ 231413 h 408000"/>
                  <a:gd name="connsiteX22" fmla="*/ 476851 w 538051"/>
                  <a:gd name="connsiteY22" fmla="*/ 198263 h 408000"/>
                  <a:gd name="connsiteX23" fmla="*/ 511914 w 538051"/>
                  <a:gd name="connsiteY23" fmla="*/ 132600 h 408000"/>
                  <a:gd name="connsiteX24" fmla="*/ 535501 w 538051"/>
                  <a:gd name="connsiteY24" fmla="*/ 102000 h 408000"/>
                  <a:gd name="connsiteX25" fmla="*/ 538051 w 538051"/>
                  <a:gd name="connsiteY25" fmla="*/ 100725 h 408000"/>
                  <a:gd name="connsiteX26" fmla="*/ 395251 w 538051"/>
                  <a:gd name="connsiteY26" fmla="*/ 10200 h 408000"/>
                  <a:gd name="connsiteX27" fmla="*/ 341701 w 538051"/>
                  <a:gd name="connsiteY27" fmla="*/ 21037 h 408000"/>
                  <a:gd name="connsiteX28" fmla="*/ 269026 w 538051"/>
                  <a:gd name="connsiteY28" fmla="*/ 18488 h 408000"/>
                  <a:gd name="connsiteX29" fmla="*/ 233326 w 538051"/>
                  <a:gd name="connsiteY29" fmla="*/ 0 h 408000"/>
                  <a:gd name="connsiteX30" fmla="*/ 20400 w 538051"/>
                  <a:gd name="connsiteY30" fmla="*/ 67575 h 408000"/>
                  <a:gd name="connsiteX31" fmla="*/ 17850 w 538051"/>
                  <a:gd name="connsiteY31" fmla="*/ 69488 h 408000"/>
                  <a:gd name="connsiteX32" fmla="*/ 17850 w 538051"/>
                  <a:gd name="connsiteY32" fmla="*/ 69488 h 4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8051" h="408000">
                    <a:moveTo>
                      <a:pt x="17850" y="69488"/>
                    </a:moveTo>
                    <a:lnTo>
                      <a:pt x="17850" y="69488"/>
                    </a:lnTo>
                    <a:lnTo>
                      <a:pt x="0" y="104550"/>
                    </a:lnTo>
                    <a:lnTo>
                      <a:pt x="3188" y="117300"/>
                    </a:lnTo>
                    <a:lnTo>
                      <a:pt x="61200" y="141525"/>
                    </a:lnTo>
                    <a:lnTo>
                      <a:pt x="91800" y="179775"/>
                    </a:lnTo>
                    <a:lnTo>
                      <a:pt x="215476" y="283688"/>
                    </a:lnTo>
                    <a:lnTo>
                      <a:pt x="244801" y="297075"/>
                    </a:lnTo>
                    <a:lnTo>
                      <a:pt x="297713" y="372301"/>
                    </a:lnTo>
                    <a:lnTo>
                      <a:pt x="335963" y="408001"/>
                    </a:lnTo>
                    <a:lnTo>
                      <a:pt x="335963" y="408001"/>
                    </a:lnTo>
                    <a:lnTo>
                      <a:pt x="342338" y="378038"/>
                    </a:lnTo>
                    <a:lnTo>
                      <a:pt x="331501" y="349351"/>
                    </a:lnTo>
                    <a:lnTo>
                      <a:pt x="359551" y="369751"/>
                    </a:lnTo>
                    <a:lnTo>
                      <a:pt x="374851" y="357638"/>
                    </a:lnTo>
                    <a:lnTo>
                      <a:pt x="348076" y="335963"/>
                    </a:lnTo>
                    <a:lnTo>
                      <a:pt x="380588" y="334051"/>
                    </a:lnTo>
                    <a:lnTo>
                      <a:pt x="430951" y="291976"/>
                    </a:lnTo>
                    <a:lnTo>
                      <a:pt x="425213" y="280501"/>
                    </a:lnTo>
                    <a:lnTo>
                      <a:pt x="456451" y="256913"/>
                    </a:lnTo>
                    <a:lnTo>
                      <a:pt x="453264" y="245438"/>
                    </a:lnTo>
                    <a:lnTo>
                      <a:pt x="475576" y="231413"/>
                    </a:lnTo>
                    <a:lnTo>
                      <a:pt x="476851" y="198263"/>
                    </a:lnTo>
                    <a:lnTo>
                      <a:pt x="511914" y="132600"/>
                    </a:lnTo>
                    <a:lnTo>
                      <a:pt x="535501" y="102000"/>
                    </a:lnTo>
                    <a:lnTo>
                      <a:pt x="538051" y="100725"/>
                    </a:lnTo>
                    <a:lnTo>
                      <a:pt x="395251" y="10200"/>
                    </a:lnTo>
                    <a:lnTo>
                      <a:pt x="341701" y="21037"/>
                    </a:lnTo>
                    <a:lnTo>
                      <a:pt x="269026" y="18488"/>
                    </a:lnTo>
                    <a:lnTo>
                      <a:pt x="233326" y="0"/>
                    </a:lnTo>
                    <a:lnTo>
                      <a:pt x="20400" y="67575"/>
                    </a:lnTo>
                    <a:lnTo>
                      <a:pt x="17850" y="69488"/>
                    </a:lnTo>
                    <a:lnTo>
                      <a:pt x="17850" y="69488"/>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5" name="Freeform 51">
                <a:extLst>
                  <a:ext uri="{FF2B5EF4-FFF2-40B4-BE49-F238E27FC236}">
                    <a16:creationId xmlns:a16="http://schemas.microsoft.com/office/drawing/2014/main" id="{E00E1115-27F3-2440-8FBD-E018458D7093}"/>
                  </a:ext>
                </a:extLst>
              </p:cNvPr>
              <p:cNvSpPr/>
              <p:nvPr/>
            </p:nvSpPr>
            <p:spPr>
              <a:xfrm>
                <a:off x="5228341" y="2138161"/>
                <a:ext cx="433500" cy="752251"/>
              </a:xfrm>
              <a:custGeom>
                <a:avLst/>
                <a:gdLst>
                  <a:gd name="connsiteX0" fmla="*/ 56100 w 433500"/>
                  <a:gd name="connsiteY0" fmla="*/ 34425 h 752251"/>
                  <a:gd name="connsiteX1" fmla="*/ 54825 w 433500"/>
                  <a:gd name="connsiteY1" fmla="*/ 37613 h 752251"/>
                  <a:gd name="connsiteX2" fmla="*/ 79050 w 433500"/>
                  <a:gd name="connsiteY2" fmla="*/ 52913 h 752251"/>
                  <a:gd name="connsiteX3" fmla="*/ 86700 w 433500"/>
                  <a:gd name="connsiteY3" fmla="*/ 68213 h 752251"/>
                  <a:gd name="connsiteX4" fmla="*/ 112200 w 433500"/>
                  <a:gd name="connsiteY4" fmla="*/ 92438 h 752251"/>
                  <a:gd name="connsiteX5" fmla="*/ 111563 w 433500"/>
                  <a:gd name="connsiteY5" fmla="*/ 112838 h 752251"/>
                  <a:gd name="connsiteX6" fmla="*/ 97538 w 433500"/>
                  <a:gd name="connsiteY6" fmla="*/ 153000 h 752251"/>
                  <a:gd name="connsiteX7" fmla="*/ 65025 w 433500"/>
                  <a:gd name="connsiteY7" fmla="*/ 175950 h 752251"/>
                  <a:gd name="connsiteX8" fmla="*/ 35700 w 433500"/>
                  <a:gd name="connsiteY8" fmla="*/ 181688 h 752251"/>
                  <a:gd name="connsiteX9" fmla="*/ 29963 w 433500"/>
                  <a:gd name="connsiteY9" fmla="*/ 214838 h 752251"/>
                  <a:gd name="connsiteX10" fmla="*/ 40163 w 433500"/>
                  <a:gd name="connsiteY10" fmla="*/ 219300 h 752251"/>
                  <a:gd name="connsiteX11" fmla="*/ 29963 w 433500"/>
                  <a:gd name="connsiteY11" fmla="*/ 284963 h 752251"/>
                  <a:gd name="connsiteX12" fmla="*/ 6375 w 433500"/>
                  <a:gd name="connsiteY12" fmla="*/ 299626 h 752251"/>
                  <a:gd name="connsiteX13" fmla="*/ 10838 w 433500"/>
                  <a:gd name="connsiteY13" fmla="*/ 324488 h 752251"/>
                  <a:gd name="connsiteX14" fmla="*/ 5100 w 433500"/>
                  <a:gd name="connsiteY14" fmla="*/ 327038 h 752251"/>
                  <a:gd name="connsiteX15" fmla="*/ 5100 w 433500"/>
                  <a:gd name="connsiteY15" fmla="*/ 327038 h 752251"/>
                  <a:gd name="connsiteX16" fmla="*/ 0 w 433500"/>
                  <a:gd name="connsiteY16" fmla="*/ 355726 h 752251"/>
                  <a:gd name="connsiteX17" fmla="*/ 20400 w 433500"/>
                  <a:gd name="connsiteY17" fmla="*/ 412463 h 752251"/>
                  <a:gd name="connsiteX18" fmla="*/ 93713 w 433500"/>
                  <a:gd name="connsiteY18" fmla="*/ 474301 h 752251"/>
                  <a:gd name="connsiteX19" fmla="*/ 100088 w 433500"/>
                  <a:gd name="connsiteY19" fmla="*/ 504263 h 752251"/>
                  <a:gd name="connsiteX20" fmla="*/ 114112 w 433500"/>
                  <a:gd name="connsiteY20" fmla="*/ 518926 h 752251"/>
                  <a:gd name="connsiteX21" fmla="*/ 160650 w 433500"/>
                  <a:gd name="connsiteY21" fmla="*/ 516376 h 752251"/>
                  <a:gd name="connsiteX22" fmla="*/ 152363 w 433500"/>
                  <a:gd name="connsiteY22" fmla="*/ 559089 h 752251"/>
                  <a:gd name="connsiteX23" fmla="*/ 149175 w 433500"/>
                  <a:gd name="connsiteY23" fmla="*/ 605626 h 752251"/>
                  <a:gd name="connsiteX24" fmla="*/ 177225 w 433500"/>
                  <a:gd name="connsiteY24" fmla="*/ 627939 h 752251"/>
                  <a:gd name="connsiteX25" fmla="*/ 221213 w 433500"/>
                  <a:gd name="connsiteY25" fmla="*/ 647064 h 752251"/>
                  <a:gd name="connsiteX26" fmla="*/ 244163 w 433500"/>
                  <a:gd name="connsiteY26" fmla="*/ 664914 h 752251"/>
                  <a:gd name="connsiteX27" fmla="*/ 256913 w 433500"/>
                  <a:gd name="connsiteY27" fmla="*/ 701251 h 752251"/>
                  <a:gd name="connsiteX28" fmla="*/ 249901 w 433500"/>
                  <a:gd name="connsiteY28" fmla="*/ 714639 h 752251"/>
                  <a:gd name="connsiteX29" fmla="*/ 295800 w 433500"/>
                  <a:gd name="connsiteY29" fmla="*/ 751614 h 752251"/>
                  <a:gd name="connsiteX30" fmla="*/ 297713 w 433500"/>
                  <a:gd name="connsiteY30" fmla="*/ 752252 h 752251"/>
                  <a:gd name="connsiteX31" fmla="*/ 293888 w 433500"/>
                  <a:gd name="connsiteY31" fmla="*/ 748426 h 752251"/>
                  <a:gd name="connsiteX32" fmla="*/ 306638 w 433500"/>
                  <a:gd name="connsiteY32" fmla="*/ 717826 h 752251"/>
                  <a:gd name="connsiteX33" fmla="*/ 356363 w 433500"/>
                  <a:gd name="connsiteY33" fmla="*/ 731214 h 752251"/>
                  <a:gd name="connsiteX34" fmla="*/ 368476 w 433500"/>
                  <a:gd name="connsiteY34" fmla="*/ 717189 h 752251"/>
                  <a:gd name="connsiteX35" fmla="*/ 358276 w 433500"/>
                  <a:gd name="connsiteY35" fmla="*/ 688501 h 752251"/>
                  <a:gd name="connsiteX36" fmla="*/ 398438 w 433500"/>
                  <a:gd name="connsiteY36" fmla="*/ 664914 h 752251"/>
                  <a:gd name="connsiteX37" fmla="*/ 386963 w 433500"/>
                  <a:gd name="connsiteY37" fmla="*/ 649614 h 752251"/>
                  <a:gd name="connsiteX38" fmla="*/ 397163 w 433500"/>
                  <a:gd name="connsiteY38" fmla="*/ 627939 h 752251"/>
                  <a:gd name="connsiteX39" fmla="*/ 397163 w 433500"/>
                  <a:gd name="connsiteY39" fmla="*/ 627939 h 752251"/>
                  <a:gd name="connsiteX40" fmla="*/ 394613 w 433500"/>
                  <a:gd name="connsiteY40" fmla="*/ 627301 h 752251"/>
                  <a:gd name="connsiteX41" fmla="*/ 395251 w 433500"/>
                  <a:gd name="connsiteY41" fmla="*/ 570564 h 752251"/>
                  <a:gd name="connsiteX42" fmla="*/ 409276 w 433500"/>
                  <a:gd name="connsiteY42" fmla="*/ 559726 h 752251"/>
                  <a:gd name="connsiteX43" fmla="*/ 433501 w 433500"/>
                  <a:gd name="connsiteY43" fmla="*/ 502988 h 752251"/>
                  <a:gd name="connsiteX44" fmla="*/ 428401 w 433500"/>
                  <a:gd name="connsiteY44" fmla="*/ 478126 h 752251"/>
                  <a:gd name="connsiteX45" fmla="*/ 412463 w 433500"/>
                  <a:gd name="connsiteY45" fmla="*/ 447526 h 752251"/>
                  <a:gd name="connsiteX46" fmla="*/ 422026 w 433500"/>
                  <a:gd name="connsiteY46" fmla="*/ 413738 h 752251"/>
                  <a:gd name="connsiteX47" fmla="*/ 376763 w 433500"/>
                  <a:gd name="connsiteY47" fmla="*/ 96900 h 752251"/>
                  <a:gd name="connsiteX48" fmla="*/ 370388 w 433500"/>
                  <a:gd name="connsiteY48" fmla="*/ 89888 h 752251"/>
                  <a:gd name="connsiteX49" fmla="*/ 353813 w 433500"/>
                  <a:gd name="connsiteY49" fmla="*/ 52275 h 752251"/>
                  <a:gd name="connsiteX50" fmla="*/ 340425 w 433500"/>
                  <a:gd name="connsiteY50" fmla="*/ 38250 h 752251"/>
                  <a:gd name="connsiteX51" fmla="*/ 334688 w 433500"/>
                  <a:gd name="connsiteY51" fmla="*/ 1275 h 752251"/>
                  <a:gd name="connsiteX52" fmla="*/ 334688 w 433500"/>
                  <a:gd name="connsiteY52" fmla="*/ 0 h 752251"/>
                  <a:gd name="connsiteX53" fmla="*/ 247988 w 433500"/>
                  <a:gd name="connsiteY53" fmla="*/ 12112 h 752251"/>
                  <a:gd name="connsiteX54" fmla="*/ 195713 w 433500"/>
                  <a:gd name="connsiteY54" fmla="*/ 18487 h 752251"/>
                  <a:gd name="connsiteX55" fmla="*/ 56100 w 433500"/>
                  <a:gd name="connsiteY55" fmla="*/ 34425 h 752251"/>
                  <a:gd name="connsiteX56" fmla="*/ 56100 w 433500"/>
                  <a:gd name="connsiteY56" fmla="*/ 34425 h 752251"/>
                  <a:gd name="connsiteX57" fmla="*/ 56100 w 433500"/>
                  <a:gd name="connsiteY57" fmla="*/ 34425 h 75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33500" h="752251">
                    <a:moveTo>
                      <a:pt x="56100" y="34425"/>
                    </a:moveTo>
                    <a:lnTo>
                      <a:pt x="54825" y="37613"/>
                    </a:lnTo>
                    <a:lnTo>
                      <a:pt x="79050" y="52913"/>
                    </a:lnTo>
                    <a:lnTo>
                      <a:pt x="86700" y="68213"/>
                    </a:lnTo>
                    <a:lnTo>
                      <a:pt x="112200" y="92438"/>
                    </a:lnTo>
                    <a:lnTo>
                      <a:pt x="111563" y="112838"/>
                    </a:lnTo>
                    <a:lnTo>
                      <a:pt x="97538" y="153000"/>
                    </a:lnTo>
                    <a:lnTo>
                      <a:pt x="65025" y="175950"/>
                    </a:lnTo>
                    <a:lnTo>
                      <a:pt x="35700" y="181688"/>
                    </a:lnTo>
                    <a:lnTo>
                      <a:pt x="29963" y="214838"/>
                    </a:lnTo>
                    <a:lnTo>
                      <a:pt x="40163" y="219300"/>
                    </a:lnTo>
                    <a:lnTo>
                      <a:pt x="29963" y="284963"/>
                    </a:lnTo>
                    <a:lnTo>
                      <a:pt x="6375" y="299626"/>
                    </a:lnTo>
                    <a:lnTo>
                      <a:pt x="10838" y="324488"/>
                    </a:lnTo>
                    <a:lnTo>
                      <a:pt x="5100" y="327038"/>
                    </a:lnTo>
                    <a:lnTo>
                      <a:pt x="5100" y="327038"/>
                    </a:lnTo>
                    <a:lnTo>
                      <a:pt x="0" y="355726"/>
                    </a:lnTo>
                    <a:lnTo>
                      <a:pt x="20400" y="412463"/>
                    </a:lnTo>
                    <a:lnTo>
                      <a:pt x="93713" y="474301"/>
                    </a:lnTo>
                    <a:lnTo>
                      <a:pt x="100088" y="504263"/>
                    </a:lnTo>
                    <a:lnTo>
                      <a:pt x="114112" y="518926"/>
                    </a:lnTo>
                    <a:lnTo>
                      <a:pt x="160650" y="516376"/>
                    </a:lnTo>
                    <a:lnTo>
                      <a:pt x="152363" y="559089"/>
                    </a:lnTo>
                    <a:lnTo>
                      <a:pt x="149175" y="605626"/>
                    </a:lnTo>
                    <a:lnTo>
                      <a:pt x="177225" y="627939"/>
                    </a:lnTo>
                    <a:lnTo>
                      <a:pt x="221213" y="647064"/>
                    </a:lnTo>
                    <a:lnTo>
                      <a:pt x="244163" y="664914"/>
                    </a:lnTo>
                    <a:lnTo>
                      <a:pt x="256913" y="701251"/>
                    </a:lnTo>
                    <a:lnTo>
                      <a:pt x="249901" y="714639"/>
                    </a:lnTo>
                    <a:lnTo>
                      <a:pt x="295800" y="751614"/>
                    </a:lnTo>
                    <a:lnTo>
                      <a:pt x="297713" y="752252"/>
                    </a:lnTo>
                    <a:lnTo>
                      <a:pt x="293888" y="748426"/>
                    </a:lnTo>
                    <a:lnTo>
                      <a:pt x="306638" y="717826"/>
                    </a:lnTo>
                    <a:lnTo>
                      <a:pt x="356363" y="731214"/>
                    </a:lnTo>
                    <a:lnTo>
                      <a:pt x="368476" y="717189"/>
                    </a:lnTo>
                    <a:lnTo>
                      <a:pt x="358276" y="688501"/>
                    </a:lnTo>
                    <a:lnTo>
                      <a:pt x="398438" y="664914"/>
                    </a:lnTo>
                    <a:lnTo>
                      <a:pt x="386963" y="649614"/>
                    </a:lnTo>
                    <a:lnTo>
                      <a:pt x="397163" y="627939"/>
                    </a:lnTo>
                    <a:lnTo>
                      <a:pt x="397163" y="627939"/>
                    </a:lnTo>
                    <a:lnTo>
                      <a:pt x="394613" y="627301"/>
                    </a:lnTo>
                    <a:lnTo>
                      <a:pt x="395251" y="570564"/>
                    </a:lnTo>
                    <a:lnTo>
                      <a:pt x="409276" y="559726"/>
                    </a:lnTo>
                    <a:lnTo>
                      <a:pt x="433501" y="502988"/>
                    </a:lnTo>
                    <a:lnTo>
                      <a:pt x="428401" y="478126"/>
                    </a:lnTo>
                    <a:lnTo>
                      <a:pt x="412463" y="447526"/>
                    </a:lnTo>
                    <a:lnTo>
                      <a:pt x="422026" y="413738"/>
                    </a:lnTo>
                    <a:lnTo>
                      <a:pt x="376763" y="96900"/>
                    </a:lnTo>
                    <a:lnTo>
                      <a:pt x="370388" y="89888"/>
                    </a:lnTo>
                    <a:lnTo>
                      <a:pt x="353813" y="52275"/>
                    </a:lnTo>
                    <a:lnTo>
                      <a:pt x="340425" y="38250"/>
                    </a:lnTo>
                    <a:lnTo>
                      <a:pt x="334688" y="1275"/>
                    </a:lnTo>
                    <a:lnTo>
                      <a:pt x="334688" y="0"/>
                    </a:lnTo>
                    <a:lnTo>
                      <a:pt x="247988" y="12112"/>
                    </a:lnTo>
                    <a:lnTo>
                      <a:pt x="195713" y="18487"/>
                    </a:lnTo>
                    <a:lnTo>
                      <a:pt x="56100" y="34425"/>
                    </a:lnTo>
                    <a:lnTo>
                      <a:pt x="56100" y="34425"/>
                    </a:lnTo>
                    <a:lnTo>
                      <a:pt x="56100" y="34425"/>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6" name="Freeform 52">
                <a:extLst>
                  <a:ext uri="{FF2B5EF4-FFF2-40B4-BE49-F238E27FC236}">
                    <a16:creationId xmlns:a16="http://schemas.microsoft.com/office/drawing/2014/main" id="{7F201E31-29CD-7D4A-4080-7ADB7404B9CD}"/>
                  </a:ext>
                </a:extLst>
              </p:cNvPr>
              <p:cNvSpPr/>
              <p:nvPr/>
            </p:nvSpPr>
            <p:spPr>
              <a:xfrm>
                <a:off x="5605104" y="2185973"/>
                <a:ext cx="335963" cy="580126"/>
              </a:xfrm>
              <a:custGeom>
                <a:avLst/>
                <a:gdLst>
                  <a:gd name="connsiteX0" fmla="*/ 267751 w 335963"/>
                  <a:gd name="connsiteY0" fmla="*/ 0 h 580126"/>
                  <a:gd name="connsiteX1" fmla="*/ 168938 w 335963"/>
                  <a:gd name="connsiteY1" fmla="*/ 17212 h 580126"/>
                  <a:gd name="connsiteX2" fmla="*/ 146625 w 335963"/>
                  <a:gd name="connsiteY2" fmla="*/ 21675 h 580126"/>
                  <a:gd name="connsiteX3" fmla="*/ 66938 w 335963"/>
                  <a:gd name="connsiteY3" fmla="*/ 34425 h 580126"/>
                  <a:gd name="connsiteX4" fmla="*/ 50363 w 335963"/>
                  <a:gd name="connsiteY4" fmla="*/ 47813 h 580126"/>
                  <a:gd name="connsiteX5" fmla="*/ 25500 w 335963"/>
                  <a:gd name="connsiteY5" fmla="*/ 59288 h 580126"/>
                  <a:gd name="connsiteX6" fmla="*/ 15300 w 335963"/>
                  <a:gd name="connsiteY6" fmla="*/ 58650 h 580126"/>
                  <a:gd name="connsiteX7" fmla="*/ 3825 w 335963"/>
                  <a:gd name="connsiteY7" fmla="*/ 52913 h 580126"/>
                  <a:gd name="connsiteX8" fmla="*/ 0 w 335963"/>
                  <a:gd name="connsiteY8" fmla="*/ 49087 h 580126"/>
                  <a:gd name="connsiteX9" fmla="*/ 45263 w 335963"/>
                  <a:gd name="connsiteY9" fmla="*/ 365926 h 580126"/>
                  <a:gd name="connsiteX10" fmla="*/ 35700 w 335963"/>
                  <a:gd name="connsiteY10" fmla="*/ 399713 h 580126"/>
                  <a:gd name="connsiteX11" fmla="*/ 51638 w 335963"/>
                  <a:gd name="connsiteY11" fmla="*/ 430313 h 580126"/>
                  <a:gd name="connsiteX12" fmla="*/ 56738 w 335963"/>
                  <a:gd name="connsiteY12" fmla="*/ 455176 h 580126"/>
                  <a:gd name="connsiteX13" fmla="*/ 32513 w 335963"/>
                  <a:gd name="connsiteY13" fmla="*/ 511913 h 580126"/>
                  <a:gd name="connsiteX14" fmla="*/ 18488 w 335963"/>
                  <a:gd name="connsiteY14" fmla="*/ 522751 h 580126"/>
                  <a:gd name="connsiteX15" fmla="*/ 17850 w 335963"/>
                  <a:gd name="connsiteY15" fmla="*/ 579489 h 580126"/>
                  <a:gd name="connsiteX16" fmla="*/ 20400 w 335963"/>
                  <a:gd name="connsiteY16" fmla="*/ 580126 h 580126"/>
                  <a:gd name="connsiteX17" fmla="*/ 22950 w 335963"/>
                  <a:gd name="connsiteY17" fmla="*/ 579489 h 580126"/>
                  <a:gd name="connsiteX18" fmla="*/ 33150 w 335963"/>
                  <a:gd name="connsiteY18" fmla="*/ 561638 h 580126"/>
                  <a:gd name="connsiteX19" fmla="*/ 56738 w 335963"/>
                  <a:gd name="connsiteY19" fmla="*/ 561638 h 580126"/>
                  <a:gd name="connsiteX20" fmla="*/ 86063 w 335963"/>
                  <a:gd name="connsiteY20" fmla="*/ 551439 h 580126"/>
                  <a:gd name="connsiteX21" fmla="*/ 121763 w 335963"/>
                  <a:gd name="connsiteY21" fmla="*/ 564826 h 580126"/>
                  <a:gd name="connsiteX22" fmla="*/ 125588 w 335963"/>
                  <a:gd name="connsiteY22" fmla="*/ 550164 h 580126"/>
                  <a:gd name="connsiteX23" fmla="*/ 145988 w 335963"/>
                  <a:gd name="connsiteY23" fmla="*/ 534864 h 580126"/>
                  <a:gd name="connsiteX24" fmla="*/ 177225 w 335963"/>
                  <a:gd name="connsiteY24" fmla="*/ 539326 h 580126"/>
                  <a:gd name="connsiteX25" fmla="*/ 193801 w 335963"/>
                  <a:gd name="connsiteY25" fmla="*/ 506176 h 580126"/>
                  <a:gd name="connsiteX26" fmla="*/ 239701 w 335963"/>
                  <a:gd name="connsiteY26" fmla="*/ 510001 h 580126"/>
                  <a:gd name="connsiteX27" fmla="*/ 239063 w 335963"/>
                  <a:gd name="connsiteY27" fmla="*/ 491513 h 580126"/>
                  <a:gd name="connsiteX28" fmla="*/ 279225 w 335963"/>
                  <a:gd name="connsiteY28" fmla="*/ 437963 h 580126"/>
                  <a:gd name="connsiteX29" fmla="*/ 272850 w 335963"/>
                  <a:gd name="connsiteY29" fmla="*/ 413738 h 580126"/>
                  <a:gd name="connsiteX30" fmla="*/ 301538 w 335963"/>
                  <a:gd name="connsiteY30" fmla="*/ 413101 h 580126"/>
                  <a:gd name="connsiteX31" fmla="*/ 335963 w 335963"/>
                  <a:gd name="connsiteY31" fmla="*/ 385051 h 580126"/>
                  <a:gd name="connsiteX32" fmla="*/ 327676 w 335963"/>
                  <a:gd name="connsiteY32" fmla="*/ 353176 h 580126"/>
                  <a:gd name="connsiteX33" fmla="*/ 328951 w 335963"/>
                  <a:gd name="connsiteY33" fmla="*/ 351901 h 580126"/>
                  <a:gd name="connsiteX34" fmla="*/ 327676 w 335963"/>
                  <a:gd name="connsiteY34" fmla="*/ 340426 h 580126"/>
                  <a:gd name="connsiteX35" fmla="*/ 289426 w 335963"/>
                  <a:gd name="connsiteY35" fmla="*/ 112838 h 580126"/>
                  <a:gd name="connsiteX36" fmla="*/ 272213 w 335963"/>
                  <a:gd name="connsiteY36" fmla="*/ 15300 h 580126"/>
                  <a:gd name="connsiteX37" fmla="*/ 270301 w 335963"/>
                  <a:gd name="connsiteY37" fmla="*/ 4462 h 580126"/>
                  <a:gd name="connsiteX38" fmla="*/ 267751 w 335963"/>
                  <a:gd name="connsiteY38" fmla="*/ 0 h 580126"/>
                  <a:gd name="connsiteX39" fmla="*/ 267751 w 335963"/>
                  <a:gd name="connsiteY39" fmla="*/ 0 h 5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5963" h="580126">
                    <a:moveTo>
                      <a:pt x="267751" y="0"/>
                    </a:moveTo>
                    <a:lnTo>
                      <a:pt x="168938" y="17212"/>
                    </a:lnTo>
                    <a:lnTo>
                      <a:pt x="146625" y="21675"/>
                    </a:lnTo>
                    <a:lnTo>
                      <a:pt x="66938" y="34425"/>
                    </a:lnTo>
                    <a:lnTo>
                      <a:pt x="50363" y="47813"/>
                    </a:lnTo>
                    <a:lnTo>
                      <a:pt x="25500" y="59288"/>
                    </a:lnTo>
                    <a:lnTo>
                      <a:pt x="15300" y="58650"/>
                    </a:lnTo>
                    <a:lnTo>
                      <a:pt x="3825" y="52913"/>
                    </a:lnTo>
                    <a:lnTo>
                      <a:pt x="0" y="49087"/>
                    </a:lnTo>
                    <a:lnTo>
                      <a:pt x="45263" y="365926"/>
                    </a:lnTo>
                    <a:lnTo>
                      <a:pt x="35700" y="399713"/>
                    </a:lnTo>
                    <a:lnTo>
                      <a:pt x="51638" y="430313"/>
                    </a:lnTo>
                    <a:lnTo>
                      <a:pt x="56738" y="455176"/>
                    </a:lnTo>
                    <a:lnTo>
                      <a:pt x="32513" y="511913"/>
                    </a:lnTo>
                    <a:lnTo>
                      <a:pt x="18488" y="522751"/>
                    </a:lnTo>
                    <a:lnTo>
                      <a:pt x="17850" y="579489"/>
                    </a:lnTo>
                    <a:lnTo>
                      <a:pt x="20400" y="580126"/>
                    </a:lnTo>
                    <a:lnTo>
                      <a:pt x="22950" y="579489"/>
                    </a:lnTo>
                    <a:lnTo>
                      <a:pt x="33150" y="561638"/>
                    </a:lnTo>
                    <a:lnTo>
                      <a:pt x="56738" y="561638"/>
                    </a:lnTo>
                    <a:lnTo>
                      <a:pt x="86063" y="551439"/>
                    </a:lnTo>
                    <a:lnTo>
                      <a:pt x="121763" y="564826"/>
                    </a:lnTo>
                    <a:lnTo>
                      <a:pt x="125588" y="550164"/>
                    </a:lnTo>
                    <a:lnTo>
                      <a:pt x="145988" y="534864"/>
                    </a:lnTo>
                    <a:lnTo>
                      <a:pt x="177225" y="539326"/>
                    </a:lnTo>
                    <a:lnTo>
                      <a:pt x="193801" y="506176"/>
                    </a:lnTo>
                    <a:lnTo>
                      <a:pt x="239701" y="510001"/>
                    </a:lnTo>
                    <a:lnTo>
                      <a:pt x="239063" y="491513"/>
                    </a:lnTo>
                    <a:lnTo>
                      <a:pt x="279225" y="437963"/>
                    </a:lnTo>
                    <a:lnTo>
                      <a:pt x="272850" y="413738"/>
                    </a:lnTo>
                    <a:lnTo>
                      <a:pt x="301538" y="413101"/>
                    </a:lnTo>
                    <a:lnTo>
                      <a:pt x="335963" y="385051"/>
                    </a:lnTo>
                    <a:lnTo>
                      <a:pt x="327676" y="353176"/>
                    </a:lnTo>
                    <a:lnTo>
                      <a:pt x="328951" y="351901"/>
                    </a:lnTo>
                    <a:lnTo>
                      <a:pt x="327676" y="340426"/>
                    </a:lnTo>
                    <a:lnTo>
                      <a:pt x="289426" y="112838"/>
                    </a:lnTo>
                    <a:lnTo>
                      <a:pt x="272213" y="15300"/>
                    </a:lnTo>
                    <a:lnTo>
                      <a:pt x="270301" y="4462"/>
                    </a:lnTo>
                    <a:lnTo>
                      <a:pt x="267751" y="0"/>
                    </a:lnTo>
                    <a:lnTo>
                      <a:pt x="267751" y="0"/>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7" name="Freeform 53">
                <a:extLst>
                  <a:ext uri="{FF2B5EF4-FFF2-40B4-BE49-F238E27FC236}">
                    <a16:creationId xmlns:a16="http://schemas.microsoft.com/office/drawing/2014/main" id="{6AE597C3-2D69-82DA-7BD6-55D5E32A1B14}"/>
                  </a:ext>
                </a:extLst>
              </p:cNvPr>
              <p:cNvSpPr/>
              <p:nvPr/>
            </p:nvSpPr>
            <p:spPr>
              <a:xfrm>
                <a:off x="5486529" y="2533411"/>
                <a:ext cx="781576" cy="430313"/>
              </a:xfrm>
              <a:custGeom>
                <a:avLst/>
                <a:gdLst>
                  <a:gd name="connsiteX0" fmla="*/ 8287 w 781576"/>
                  <a:gd name="connsiteY0" fmla="*/ 426488 h 430313"/>
                  <a:gd name="connsiteX1" fmla="*/ 6375 w 781576"/>
                  <a:gd name="connsiteY1" fmla="*/ 421388 h 430313"/>
                  <a:gd name="connsiteX2" fmla="*/ 2550 w 781576"/>
                  <a:gd name="connsiteY2" fmla="*/ 420113 h 430313"/>
                  <a:gd name="connsiteX3" fmla="*/ 0 w 781576"/>
                  <a:gd name="connsiteY3" fmla="*/ 428401 h 430313"/>
                  <a:gd name="connsiteX4" fmla="*/ 637 w 781576"/>
                  <a:gd name="connsiteY4" fmla="*/ 429038 h 430313"/>
                  <a:gd name="connsiteX5" fmla="*/ 7650 w 781576"/>
                  <a:gd name="connsiteY5" fmla="*/ 428401 h 430313"/>
                  <a:gd name="connsiteX6" fmla="*/ 8287 w 781576"/>
                  <a:gd name="connsiteY6" fmla="*/ 426488 h 430313"/>
                  <a:gd name="connsiteX7" fmla="*/ 8287 w 781576"/>
                  <a:gd name="connsiteY7" fmla="*/ 426488 h 430313"/>
                  <a:gd name="connsiteX8" fmla="*/ 447526 w 781576"/>
                  <a:gd name="connsiteY8" fmla="*/ 6375 h 430313"/>
                  <a:gd name="connsiteX9" fmla="*/ 446251 w 781576"/>
                  <a:gd name="connsiteY9" fmla="*/ 7650 h 430313"/>
                  <a:gd name="connsiteX10" fmla="*/ 454538 w 781576"/>
                  <a:gd name="connsiteY10" fmla="*/ 39525 h 430313"/>
                  <a:gd name="connsiteX11" fmla="*/ 420113 w 781576"/>
                  <a:gd name="connsiteY11" fmla="*/ 67575 h 430313"/>
                  <a:gd name="connsiteX12" fmla="*/ 391426 w 781576"/>
                  <a:gd name="connsiteY12" fmla="*/ 68213 h 430313"/>
                  <a:gd name="connsiteX13" fmla="*/ 397801 w 781576"/>
                  <a:gd name="connsiteY13" fmla="*/ 92438 h 430313"/>
                  <a:gd name="connsiteX14" fmla="*/ 357638 w 781576"/>
                  <a:gd name="connsiteY14" fmla="*/ 145988 h 430313"/>
                  <a:gd name="connsiteX15" fmla="*/ 358276 w 781576"/>
                  <a:gd name="connsiteY15" fmla="*/ 164475 h 430313"/>
                  <a:gd name="connsiteX16" fmla="*/ 312376 w 781576"/>
                  <a:gd name="connsiteY16" fmla="*/ 160650 h 430313"/>
                  <a:gd name="connsiteX17" fmla="*/ 295800 w 781576"/>
                  <a:gd name="connsiteY17" fmla="*/ 193800 h 430313"/>
                  <a:gd name="connsiteX18" fmla="*/ 264563 w 781576"/>
                  <a:gd name="connsiteY18" fmla="*/ 189338 h 430313"/>
                  <a:gd name="connsiteX19" fmla="*/ 244163 w 781576"/>
                  <a:gd name="connsiteY19" fmla="*/ 204638 h 430313"/>
                  <a:gd name="connsiteX20" fmla="*/ 240338 w 781576"/>
                  <a:gd name="connsiteY20" fmla="*/ 219300 h 430313"/>
                  <a:gd name="connsiteX21" fmla="*/ 204638 w 781576"/>
                  <a:gd name="connsiteY21" fmla="*/ 205913 h 430313"/>
                  <a:gd name="connsiteX22" fmla="*/ 175313 w 781576"/>
                  <a:gd name="connsiteY22" fmla="*/ 216113 h 430313"/>
                  <a:gd name="connsiteX23" fmla="*/ 151725 w 781576"/>
                  <a:gd name="connsiteY23" fmla="*/ 216113 h 430313"/>
                  <a:gd name="connsiteX24" fmla="*/ 141525 w 781576"/>
                  <a:gd name="connsiteY24" fmla="*/ 233963 h 430313"/>
                  <a:gd name="connsiteX25" fmla="*/ 138975 w 781576"/>
                  <a:gd name="connsiteY25" fmla="*/ 234600 h 430313"/>
                  <a:gd name="connsiteX26" fmla="*/ 138975 w 781576"/>
                  <a:gd name="connsiteY26" fmla="*/ 236513 h 430313"/>
                  <a:gd name="connsiteX27" fmla="*/ 128775 w 781576"/>
                  <a:gd name="connsiteY27" fmla="*/ 258188 h 430313"/>
                  <a:gd name="connsiteX28" fmla="*/ 140250 w 781576"/>
                  <a:gd name="connsiteY28" fmla="*/ 273488 h 430313"/>
                  <a:gd name="connsiteX29" fmla="*/ 100088 w 781576"/>
                  <a:gd name="connsiteY29" fmla="*/ 297075 h 430313"/>
                  <a:gd name="connsiteX30" fmla="*/ 110288 w 781576"/>
                  <a:gd name="connsiteY30" fmla="*/ 325763 h 430313"/>
                  <a:gd name="connsiteX31" fmla="*/ 98175 w 781576"/>
                  <a:gd name="connsiteY31" fmla="*/ 339788 h 430313"/>
                  <a:gd name="connsiteX32" fmla="*/ 48450 w 781576"/>
                  <a:gd name="connsiteY32" fmla="*/ 326401 h 430313"/>
                  <a:gd name="connsiteX33" fmla="*/ 35700 w 781576"/>
                  <a:gd name="connsiteY33" fmla="*/ 357001 h 430313"/>
                  <a:gd name="connsiteX34" fmla="*/ 39525 w 781576"/>
                  <a:gd name="connsiteY34" fmla="*/ 360826 h 430313"/>
                  <a:gd name="connsiteX35" fmla="*/ 40800 w 781576"/>
                  <a:gd name="connsiteY35" fmla="*/ 363376 h 430313"/>
                  <a:gd name="connsiteX36" fmla="*/ 35063 w 781576"/>
                  <a:gd name="connsiteY36" fmla="*/ 416288 h 430313"/>
                  <a:gd name="connsiteX37" fmla="*/ 32512 w 781576"/>
                  <a:gd name="connsiteY37" fmla="*/ 417563 h 430313"/>
                  <a:gd name="connsiteX38" fmla="*/ 15938 w 781576"/>
                  <a:gd name="connsiteY38" fmla="*/ 428401 h 430313"/>
                  <a:gd name="connsiteX39" fmla="*/ 15300 w 781576"/>
                  <a:gd name="connsiteY39" fmla="*/ 430313 h 430313"/>
                  <a:gd name="connsiteX40" fmla="*/ 33787 w 781576"/>
                  <a:gd name="connsiteY40" fmla="*/ 427763 h 430313"/>
                  <a:gd name="connsiteX41" fmla="*/ 163200 w 781576"/>
                  <a:gd name="connsiteY41" fmla="*/ 410551 h 430313"/>
                  <a:gd name="connsiteX42" fmla="*/ 156825 w 781576"/>
                  <a:gd name="connsiteY42" fmla="*/ 385051 h 430313"/>
                  <a:gd name="connsiteX43" fmla="*/ 178500 w 781576"/>
                  <a:gd name="connsiteY43" fmla="*/ 384413 h 430313"/>
                  <a:gd name="connsiteX44" fmla="*/ 439876 w 781576"/>
                  <a:gd name="connsiteY44" fmla="*/ 349988 h 430313"/>
                  <a:gd name="connsiteX45" fmla="*/ 624114 w 781576"/>
                  <a:gd name="connsiteY45" fmla="*/ 318751 h 430313"/>
                  <a:gd name="connsiteX46" fmla="*/ 626664 w 781576"/>
                  <a:gd name="connsiteY46" fmla="*/ 316838 h 430313"/>
                  <a:gd name="connsiteX47" fmla="*/ 631126 w 781576"/>
                  <a:gd name="connsiteY47" fmla="*/ 311738 h 430313"/>
                  <a:gd name="connsiteX48" fmla="*/ 679576 w 781576"/>
                  <a:gd name="connsiteY48" fmla="*/ 286238 h 430313"/>
                  <a:gd name="connsiteX49" fmla="*/ 716551 w 781576"/>
                  <a:gd name="connsiteY49" fmla="*/ 237150 h 430313"/>
                  <a:gd name="connsiteX50" fmla="*/ 721652 w 781576"/>
                  <a:gd name="connsiteY50" fmla="*/ 220575 h 430313"/>
                  <a:gd name="connsiteX51" fmla="*/ 745877 w 781576"/>
                  <a:gd name="connsiteY51" fmla="*/ 201450 h 430313"/>
                  <a:gd name="connsiteX52" fmla="*/ 777114 w 781576"/>
                  <a:gd name="connsiteY52" fmla="*/ 162563 h 430313"/>
                  <a:gd name="connsiteX53" fmla="*/ 781576 w 781576"/>
                  <a:gd name="connsiteY53" fmla="*/ 156188 h 430313"/>
                  <a:gd name="connsiteX54" fmla="*/ 779664 w 781576"/>
                  <a:gd name="connsiteY54" fmla="*/ 155550 h 430313"/>
                  <a:gd name="connsiteX55" fmla="*/ 763726 w 781576"/>
                  <a:gd name="connsiteY55" fmla="*/ 155550 h 430313"/>
                  <a:gd name="connsiteX56" fmla="*/ 743326 w 781576"/>
                  <a:gd name="connsiteY56" fmla="*/ 144075 h 430313"/>
                  <a:gd name="connsiteX57" fmla="*/ 706989 w 781576"/>
                  <a:gd name="connsiteY57" fmla="*/ 99450 h 430313"/>
                  <a:gd name="connsiteX58" fmla="*/ 694239 w 781576"/>
                  <a:gd name="connsiteY58" fmla="*/ 54188 h 430313"/>
                  <a:gd name="connsiteX59" fmla="*/ 694239 w 781576"/>
                  <a:gd name="connsiteY59" fmla="*/ 52913 h 430313"/>
                  <a:gd name="connsiteX60" fmla="*/ 692964 w 781576"/>
                  <a:gd name="connsiteY60" fmla="*/ 51637 h 430313"/>
                  <a:gd name="connsiteX61" fmla="*/ 665551 w 781576"/>
                  <a:gd name="connsiteY61" fmla="*/ 36337 h 430313"/>
                  <a:gd name="connsiteX62" fmla="*/ 653439 w 781576"/>
                  <a:gd name="connsiteY62" fmla="*/ 15938 h 430313"/>
                  <a:gd name="connsiteX63" fmla="*/ 629214 w 781576"/>
                  <a:gd name="connsiteY63" fmla="*/ 39525 h 430313"/>
                  <a:gd name="connsiteX64" fmla="*/ 613914 w 781576"/>
                  <a:gd name="connsiteY64" fmla="*/ 43350 h 430313"/>
                  <a:gd name="connsiteX65" fmla="*/ 594789 w 781576"/>
                  <a:gd name="connsiteY65" fmla="*/ 35700 h 430313"/>
                  <a:gd name="connsiteX66" fmla="*/ 578214 w 781576"/>
                  <a:gd name="connsiteY66" fmla="*/ 48450 h 430313"/>
                  <a:gd name="connsiteX67" fmla="*/ 543789 w 781576"/>
                  <a:gd name="connsiteY67" fmla="*/ 33150 h 430313"/>
                  <a:gd name="connsiteX68" fmla="*/ 534226 w 781576"/>
                  <a:gd name="connsiteY68" fmla="*/ 36975 h 430313"/>
                  <a:gd name="connsiteX69" fmla="*/ 501076 w 781576"/>
                  <a:gd name="connsiteY69" fmla="*/ 8287 h 430313"/>
                  <a:gd name="connsiteX70" fmla="*/ 484501 w 781576"/>
                  <a:gd name="connsiteY70" fmla="*/ 0 h 430313"/>
                  <a:gd name="connsiteX71" fmla="*/ 452626 w 781576"/>
                  <a:gd name="connsiteY71" fmla="*/ 3825 h 430313"/>
                  <a:gd name="connsiteX72" fmla="*/ 447526 w 781576"/>
                  <a:gd name="connsiteY72" fmla="*/ 6375 h 430313"/>
                  <a:gd name="connsiteX73" fmla="*/ 447526 w 781576"/>
                  <a:gd name="connsiteY73" fmla="*/ 6375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81576" h="430313">
                    <a:moveTo>
                      <a:pt x="8287" y="426488"/>
                    </a:moveTo>
                    <a:lnTo>
                      <a:pt x="6375" y="421388"/>
                    </a:lnTo>
                    <a:lnTo>
                      <a:pt x="2550" y="420113"/>
                    </a:lnTo>
                    <a:lnTo>
                      <a:pt x="0" y="428401"/>
                    </a:lnTo>
                    <a:lnTo>
                      <a:pt x="637" y="429038"/>
                    </a:lnTo>
                    <a:lnTo>
                      <a:pt x="7650" y="428401"/>
                    </a:lnTo>
                    <a:lnTo>
                      <a:pt x="8287" y="426488"/>
                    </a:lnTo>
                    <a:lnTo>
                      <a:pt x="8287" y="426488"/>
                    </a:lnTo>
                    <a:close/>
                    <a:moveTo>
                      <a:pt x="447526" y="6375"/>
                    </a:moveTo>
                    <a:lnTo>
                      <a:pt x="446251" y="7650"/>
                    </a:lnTo>
                    <a:lnTo>
                      <a:pt x="454538" y="39525"/>
                    </a:lnTo>
                    <a:lnTo>
                      <a:pt x="420113" y="67575"/>
                    </a:lnTo>
                    <a:lnTo>
                      <a:pt x="391426" y="68213"/>
                    </a:lnTo>
                    <a:lnTo>
                      <a:pt x="397801" y="92438"/>
                    </a:lnTo>
                    <a:lnTo>
                      <a:pt x="357638" y="145988"/>
                    </a:lnTo>
                    <a:lnTo>
                      <a:pt x="358276" y="164475"/>
                    </a:lnTo>
                    <a:lnTo>
                      <a:pt x="312376" y="160650"/>
                    </a:lnTo>
                    <a:lnTo>
                      <a:pt x="295800" y="193800"/>
                    </a:lnTo>
                    <a:lnTo>
                      <a:pt x="264563" y="189338"/>
                    </a:lnTo>
                    <a:lnTo>
                      <a:pt x="244163" y="204638"/>
                    </a:lnTo>
                    <a:lnTo>
                      <a:pt x="240338" y="219300"/>
                    </a:lnTo>
                    <a:lnTo>
                      <a:pt x="204638" y="205913"/>
                    </a:lnTo>
                    <a:lnTo>
                      <a:pt x="175313" y="216113"/>
                    </a:lnTo>
                    <a:lnTo>
                      <a:pt x="151725" y="216113"/>
                    </a:lnTo>
                    <a:lnTo>
                      <a:pt x="141525" y="233963"/>
                    </a:lnTo>
                    <a:lnTo>
                      <a:pt x="138975" y="234600"/>
                    </a:lnTo>
                    <a:lnTo>
                      <a:pt x="138975" y="236513"/>
                    </a:lnTo>
                    <a:lnTo>
                      <a:pt x="128775" y="258188"/>
                    </a:lnTo>
                    <a:lnTo>
                      <a:pt x="140250" y="273488"/>
                    </a:lnTo>
                    <a:lnTo>
                      <a:pt x="100088" y="297075"/>
                    </a:lnTo>
                    <a:lnTo>
                      <a:pt x="110288" y="325763"/>
                    </a:lnTo>
                    <a:lnTo>
                      <a:pt x="98175" y="339788"/>
                    </a:lnTo>
                    <a:lnTo>
                      <a:pt x="48450" y="326401"/>
                    </a:lnTo>
                    <a:lnTo>
                      <a:pt x="35700" y="357001"/>
                    </a:lnTo>
                    <a:lnTo>
                      <a:pt x="39525" y="360826"/>
                    </a:lnTo>
                    <a:lnTo>
                      <a:pt x="40800" y="363376"/>
                    </a:lnTo>
                    <a:lnTo>
                      <a:pt x="35063" y="416288"/>
                    </a:lnTo>
                    <a:lnTo>
                      <a:pt x="32512" y="417563"/>
                    </a:lnTo>
                    <a:lnTo>
                      <a:pt x="15938" y="428401"/>
                    </a:lnTo>
                    <a:lnTo>
                      <a:pt x="15300" y="430313"/>
                    </a:lnTo>
                    <a:lnTo>
                      <a:pt x="33787" y="427763"/>
                    </a:lnTo>
                    <a:lnTo>
                      <a:pt x="163200" y="410551"/>
                    </a:lnTo>
                    <a:lnTo>
                      <a:pt x="156825" y="385051"/>
                    </a:lnTo>
                    <a:lnTo>
                      <a:pt x="178500" y="384413"/>
                    </a:lnTo>
                    <a:lnTo>
                      <a:pt x="439876" y="349988"/>
                    </a:lnTo>
                    <a:lnTo>
                      <a:pt x="624114" y="318751"/>
                    </a:lnTo>
                    <a:lnTo>
                      <a:pt x="626664" y="316838"/>
                    </a:lnTo>
                    <a:lnTo>
                      <a:pt x="631126" y="311738"/>
                    </a:lnTo>
                    <a:lnTo>
                      <a:pt x="679576" y="286238"/>
                    </a:lnTo>
                    <a:lnTo>
                      <a:pt x="716551" y="237150"/>
                    </a:lnTo>
                    <a:lnTo>
                      <a:pt x="721652" y="220575"/>
                    </a:lnTo>
                    <a:lnTo>
                      <a:pt x="745877" y="201450"/>
                    </a:lnTo>
                    <a:lnTo>
                      <a:pt x="777114" y="162563"/>
                    </a:lnTo>
                    <a:lnTo>
                      <a:pt x="781576" y="156188"/>
                    </a:lnTo>
                    <a:lnTo>
                      <a:pt x="779664" y="155550"/>
                    </a:lnTo>
                    <a:lnTo>
                      <a:pt x="763726" y="155550"/>
                    </a:lnTo>
                    <a:lnTo>
                      <a:pt x="743326" y="144075"/>
                    </a:lnTo>
                    <a:lnTo>
                      <a:pt x="706989" y="99450"/>
                    </a:lnTo>
                    <a:lnTo>
                      <a:pt x="694239" y="54188"/>
                    </a:lnTo>
                    <a:lnTo>
                      <a:pt x="694239" y="52913"/>
                    </a:lnTo>
                    <a:lnTo>
                      <a:pt x="692964" y="51637"/>
                    </a:lnTo>
                    <a:lnTo>
                      <a:pt x="665551" y="36337"/>
                    </a:lnTo>
                    <a:lnTo>
                      <a:pt x="653439" y="15938"/>
                    </a:lnTo>
                    <a:lnTo>
                      <a:pt x="629214" y="39525"/>
                    </a:lnTo>
                    <a:lnTo>
                      <a:pt x="613914" y="43350"/>
                    </a:lnTo>
                    <a:lnTo>
                      <a:pt x="594789" y="35700"/>
                    </a:lnTo>
                    <a:lnTo>
                      <a:pt x="578214" y="48450"/>
                    </a:lnTo>
                    <a:lnTo>
                      <a:pt x="543789" y="33150"/>
                    </a:lnTo>
                    <a:lnTo>
                      <a:pt x="534226" y="36975"/>
                    </a:lnTo>
                    <a:lnTo>
                      <a:pt x="501076" y="8287"/>
                    </a:lnTo>
                    <a:lnTo>
                      <a:pt x="484501" y="0"/>
                    </a:lnTo>
                    <a:lnTo>
                      <a:pt x="452626" y="3825"/>
                    </a:lnTo>
                    <a:lnTo>
                      <a:pt x="447526" y="6375"/>
                    </a:lnTo>
                    <a:lnTo>
                      <a:pt x="447526" y="6375"/>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8" name="Freeform 54">
                <a:extLst>
                  <a:ext uri="{FF2B5EF4-FFF2-40B4-BE49-F238E27FC236}">
                    <a16:creationId xmlns:a16="http://schemas.microsoft.com/office/drawing/2014/main" id="{72525F18-8103-D5B8-164B-7B7FE5C8405E}"/>
                  </a:ext>
                </a:extLst>
              </p:cNvPr>
              <p:cNvSpPr/>
              <p:nvPr/>
            </p:nvSpPr>
            <p:spPr>
              <a:xfrm>
                <a:off x="6080680" y="2651987"/>
                <a:ext cx="928201" cy="430313"/>
              </a:xfrm>
              <a:custGeom>
                <a:avLst/>
                <a:gdLst>
                  <a:gd name="connsiteX0" fmla="*/ 717826 w 928201"/>
                  <a:gd name="connsiteY0" fmla="*/ 407363 h 430313"/>
                  <a:gd name="connsiteX1" fmla="*/ 710814 w 928201"/>
                  <a:gd name="connsiteY1" fmla="*/ 414376 h 430313"/>
                  <a:gd name="connsiteX2" fmla="*/ 712089 w 928201"/>
                  <a:gd name="connsiteY2" fmla="*/ 415651 h 430313"/>
                  <a:gd name="connsiteX3" fmla="*/ 717826 w 928201"/>
                  <a:gd name="connsiteY3" fmla="*/ 407363 h 430313"/>
                  <a:gd name="connsiteX4" fmla="*/ 717826 w 928201"/>
                  <a:gd name="connsiteY4" fmla="*/ 407363 h 430313"/>
                  <a:gd name="connsiteX5" fmla="*/ 722926 w 928201"/>
                  <a:gd name="connsiteY5" fmla="*/ 370388 h 430313"/>
                  <a:gd name="connsiteX6" fmla="*/ 719739 w 928201"/>
                  <a:gd name="connsiteY6" fmla="*/ 375488 h 430313"/>
                  <a:gd name="connsiteX7" fmla="*/ 721014 w 928201"/>
                  <a:gd name="connsiteY7" fmla="*/ 380588 h 430313"/>
                  <a:gd name="connsiteX8" fmla="*/ 722926 w 928201"/>
                  <a:gd name="connsiteY8" fmla="*/ 370388 h 430313"/>
                  <a:gd name="connsiteX9" fmla="*/ 722926 w 928201"/>
                  <a:gd name="connsiteY9" fmla="*/ 370388 h 430313"/>
                  <a:gd name="connsiteX10" fmla="*/ 761814 w 928201"/>
                  <a:gd name="connsiteY10" fmla="*/ 310463 h 430313"/>
                  <a:gd name="connsiteX11" fmla="*/ 751614 w 928201"/>
                  <a:gd name="connsiteY11" fmla="*/ 316838 h 430313"/>
                  <a:gd name="connsiteX12" fmla="*/ 746514 w 928201"/>
                  <a:gd name="connsiteY12" fmla="*/ 324488 h 430313"/>
                  <a:gd name="connsiteX13" fmla="*/ 761814 w 928201"/>
                  <a:gd name="connsiteY13" fmla="*/ 310463 h 430313"/>
                  <a:gd name="connsiteX14" fmla="*/ 761814 w 928201"/>
                  <a:gd name="connsiteY14" fmla="*/ 310463 h 430313"/>
                  <a:gd name="connsiteX15" fmla="*/ 844051 w 928201"/>
                  <a:gd name="connsiteY15" fmla="*/ 270301 h 430313"/>
                  <a:gd name="connsiteX16" fmla="*/ 840227 w 928201"/>
                  <a:gd name="connsiteY16" fmla="*/ 267751 h 430313"/>
                  <a:gd name="connsiteX17" fmla="*/ 831939 w 928201"/>
                  <a:gd name="connsiteY17" fmla="*/ 267113 h 430313"/>
                  <a:gd name="connsiteX18" fmla="*/ 844051 w 928201"/>
                  <a:gd name="connsiteY18" fmla="*/ 270301 h 430313"/>
                  <a:gd name="connsiteX19" fmla="*/ 844051 w 928201"/>
                  <a:gd name="connsiteY19" fmla="*/ 270301 h 430313"/>
                  <a:gd name="connsiteX20" fmla="*/ 826839 w 928201"/>
                  <a:gd name="connsiteY20" fmla="*/ 266475 h 430313"/>
                  <a:gd name="connsiteX21" fmla="*/ 821102 w 928201"/>
                  <a:gd name="connsiteY21" fmla="*/ 266475 h 430313"/>
                  <a:gd name="connsiteX22" fmla="*/ 810901 w 928201"/>
                  <a:gd name="connsiteY22" fmla="*/ 271576 h 430313"/>
                  <a:gd name="connsiteX23" fmla="*/ 826839 w 928201"/>
                  <a:gd name="connsiteY23" fmla="*/ 266475 h 430313"/>
                  <a:gd name="connsiteX24" fmla="*/ 847239 w 928201"/>
                  <a:gd name="connsiteY24" fmla="*/ 272850 h 430313"/>
                  <a:gd name="connsiteX25" fmla="*/ 865727 w 928201"/>
                  <a:gd name="connsiteY25" fmla="*/ 226313 h 430313"/>
                  <a:gd name="connsiteX26" fmla="*/ 852977 w 928201"/>
                  <a:gd name="connsiteY26" fmla="*/ 245438 h 430313"/>
                  <a:gd name="connsiteX27" fmla="*/ 847239 w 928201"/>
                  <a:gd name="connsiteY27" fmla="*/ 272850 h 430313"/>
                  <a:gd name="connsiteX28" fmla="*/ 847239 w 928201"/>
                  <a:gd name="connsiteY28" fmla="*/ 272850 h 430313"/>
                  <a:gd name="connsiteX29" fmla="*/ 874651 w 928201"/>
                  <a:gd name="connsiteY29" fmla="*/ 212288 h 430313"/>
                  <a:gd name="connsiteX30" fmla="*/ 882939 w 928201"/>
                  <a:gd name="connsiteY30" fmla="*/ 200176 h 430313"/>
                  <a:gd name="connsiteX31" fmla="*/ 878477 w 928201"/>
                  <a:gd name="connsiteY31" fmla="*/ 200176 h 430313"/>
                  <a:gd name="connsiteX32" fmla="*/ 874651 w 928201"/>
                  <a:gd name="connsiteY32" fmla="*/ 212288 h 430313"/>
                  <a:gd name="connsiteX33" fmla="*/ 928202 w 928201"/>
                  <a:gd name="connsiteY33" fmla="*/ 162563 h 430313"/>
                  <a:gd name="connsiteX34" fmla="*/ 914177 w 928201"/>
                  <a:gd name="connsiteY34" fmla="*/ 91163 h 430313"/>
                  <a:gd name="connsiteX35" fmla="*/ 926289 w 928201"/>
                  <a:gd name="connsiteY35" fmla="*/ 128138 h 430313"/>
                  <a:gd name="connsiteX36" fmla="*/ 928202 w 928201"/>
                  <a:gd name="connsiteY36" fmla="*/ 162563 h 430313"/>
                  <a:gd name="connsiteX37" fmla="*/ 928202 w 928201"/>
                  <a:gd name="connsiteY37" fmla="*/ 162563 h 430313"/>
                  <a:gd name="connsiteX38" fmla="*/ 850426 w 928201"/>
                  <a:gd name="connsiteY38" fmla="*/ 0 h 430313"/>
                  <a:gd name="connsiteX39" fmla="*/ 849151 w 928201"/>
                  <a:gd name="connsiteY39" fmla="*/ 638 h 430313"/>
                  <a:gd name="connsiteX40" fmla="*/ 847239 w 928201"/>
                  <a:gd name="connsiteY40" fmla="*/ 1275 h 430313"/>
                  <a:gd name="connsiteX41" fmla="*/ 847239 w 928201"/>
                  <a:gd name="connsiteY41" fmla="*/ 1275 h 430313"/>
                  <a:gd name="connsiteX42" fmla="*/ 847877 w 928201"/>
                  <a:gd name="connsiteY42" fmla="*/ 1275 h 430313"/>
                  <a:gd name="connsiteX43" fmla="*/ 882939 w 928201"/>
                  <a:gd name="connsiteY43" fmla="*/ 60563 h 430313"/>
                  <a:gd name="connsiteX44" fmla="*/ 910989 w 928201"/>
                  <a:gd name="connsiteY44" fmla="*/ 88613 h 430313"/>
                  <a:gd name="connsiteX45" fmla="*/ 850426 w 928201"/>
                  <a:gd name="connsiteY45" fmla="*/ 0 h 430313"/>
                  <a:gd name="connsiteX46" fmla="*/ 850426 w 928201"/>
                  <a:gd name="connsiteY46" fmla="*/ 0 h 430313"/>
                  <a:gd name="connsiteX47" fmla="*/ 850426 w 928201"/>
                  <a:gd name="connsiteY47" fmla="*/ 0 h 430313"/>
                  <a:gd name="connsiteX48" fmla="*/ 838952 w 928201"/>
                  <a:gd name="connsiteY48" fmla="*/ 3825 h 430313"/>
                  <a:gd name="connsiteX49" fmla="*/ 833852 w 928201"/>
                  <a:gd name="connsiteY49" fmla="*/ 5100 h 430313"/>
                  <a:gd name="connsiteX50" fmla="*/ 833852 w 928201"/>
                  <a:gd name="connsiteY50" fmla="*/ 5100 h 430313"/>
                  <a:gd name="connsiteX51" fmla="*/ 835127 w 928201"/>
                  <a:gd name="connsiteY51" fmla="*/ 5738 h 430313"/>
                  <a:gd name="connsiteX52" fmla="*/ 846602 w 928201"/>
                  <a:gd name="connsiteY52" fmla="*/ 5738 h 430313"/>
                  <a:gd name="connsiteX53" fmla="*/ 845327 w 928201"/>
                  <a:gd name="connsiteY53" fmla="*/ 1913 h 430313"/>
                  <a:gd name="connsiteX54" fmla="*/ 845327 w 928201"/>
                  <a:gd name="connsiteY54" fmla="*/ 1913 h 430313"/>
                  <a:gd name="connsiteX55" fmla="*/ 842776 w 928201"/>
                  <a:gd name="connsiteY55" fmla="*/ 2550 h 430313"/>
                  <a:gd name="connsiteX56" fmla="*/ 840864 w 928201"/>
                  <a:gd name="connsiteY56" fmla="*/ 2550 h 430313"/>
                  <a:gd name="connsiteX57" fmla="*/ 840864 w 928201"/>
                  <a:gd name="connsiteY57" fmla="*/ 2550 h 430313"/>
                  <a:gd name="connsiteX58" fmla="*/ 840864 w 928201"/>
                  <a:gd name="connsiteY58" fmla="*/ 3825 h 430313"/>
                  <a:gd name="connsiteX59" fmla="*/ 838952 w 928201"/>
                  <a:gd name="connsiteY59" fmla="*/ 3825 h 430313"/>
                  <a:gd name="connsiteX60" fmla="*/ 838952 w 928201"/>
                  <a:gd name="connsiteY60" fmla="*/ 3825 h 430313"/>
                  <a:gd name="connsiteX61" fmla="*/ 838952 w 928201"/>
                  <a:gd name="connsiteY61" fmla="*/ 3825 h 430313"/>
                  <a:gd name="connsiteX62" fmla="*/ 838952 w 928201"/>
                  <a:gd name="connsiteY62" fmla="*/ 3825 h 430313"/>
                  <a:gd name="connsiteX63" fmla="*/ 244800 w 928201"/>
                  <a:gd name="connsiteY63" fmla="*/ 149813 h 430313"/>
                  <a:gd name="connsiteX64" fmla="*/ 241613 w 928201"/>
                  <a:gd name="connsiteY64" fmla="*/ 160013 h 430313"/>
                  <a:gd name="connsiteX65" fmla="*/ 242250 w 928201"/>
                  <a:gd name="connsiteY65" fmla="*/ 188063 h 430313"/>
                  <a:gd name="connsiteX66" fmla="*/ 235238 w 928201"/>
                  <a:gd name="connsiteY66" fmla="*/ 187426 h 430313"/>
                  <a:gd name="connsiteX67" fmla="*/ 218663 w 928201"/>
                  <a:gd name="connsiteY67" fmla="*/ 221213 h 430313"/>
                  <a:gd name="connsiteX68" fmla="*/ 200175 w 928201"/>
                  <a:gd name="connsiteY68" fmla="*/ 223125 h 430313"/>
                  <a:gd name="connsiteX69" fmla="*/ 165750 w 928201"/>
                  <a:gd name="connsiteY69" fmla="*/ 256913 h 430313"/>
                  <a:gd name="connsiteX70" fmla="*/ 150450 w 928201"/>
                  <a:gd name="connsiteY70" fmla="*/ 251176 h 430313"/>
                  <a:gd name="connsiteX71" fmla="*/ 130688 w 928201"/>
                  <a:gd name="connsiteY71" fmla="*/ 281138 h 430313"/>
                  <a:gd name="connsiteX72" fmla="*/ 77775 w 928201"/>
                  <a:gd name="connsiteY72" fmla="*/ 328951 h 430313"/>
                  <a:gd name="connsiteX73" fmla="*/ 52275 w 928201"/>
                  <a:gd name="connsiteY73" fmla="*/ 335326 h 430313"/>
                  <a:gd name="connsiteX74" fmla="*/ 24862 w 928201"/>
                  <a:gd name="connsiteY74" fmla="*/ 360188 h 430313"/>
                  <a:gd name="connsiteX75" fmla="*/ 23587 w 928201"/>
                  <a:gd name="connsiteY75" fmla="*/ 376764 h 430313"/>
                  <a:gd name="connsiteX76" fmla="*/ 0 w 928201"/>
                  <a:gd name="connsiteY76" fmla="*/ 389514 h 430313"/>
                  <a:gd name="connsiteX77" fmla="*/ 637 w 928201"/>
                  <a:gd name="connsiteY77" fmla="*/ 418201 h 430313"/>
                  <a:gd name="connsiteX78" fmla="*/ 637 w 928201"/>
                  <a:gd name="connsiteY78" fmla="*/ 424576 h 430313"/>
                  <a:gd name="connsiteX79" fmla="*/ 8925 w 928201"/>
                  <a:gd name="connsiteY79" fmla="*/ 422663 h 430313"/>
                  <a:gd name="connsiteX80" fmla="*/ 98813 w 928201"/>
                  <a:gd name="connsiteY80" fmla="*/ 404176 h 430313"/>
                  <a:gd name="connsiteX81" fmla="*/ 123038 w 928201"/>
                  <a:gd name="connsiteY81" fmla="*/ 399076 h 430313"/>
                  <a:gd name="connsiteX82" fmla="*/ 131325 w 928201"/>
                  <a:gd name="connsiteY82" fmla="*/ 397163 h 430313"/>
                  <a:gd name="connsiteX83" fmla="*/ 133238 w 928201"/>
                  <a:gd name="connsiteY83" fmla="*/ 397163 h 430313"/>
                  <a:gd name="connsiteX84" fmla="*/ 346163 w 928201"/>
                  <a:gd name="connsiteY84" fmla="*/ 329588 h 430313"/>
                  <a:gd name="connsiteX85" fmla="*/ 381863 w 928201"/>
                  <a:gd name="connsiteY85" fmla="*/ 348076 h 430313"/>
                  <a:gd name="connsiteX86" fmla="*/ 454538 w 928201"/>
                  <a:gd name="connsiteY86" fmla="*/ 350626 h 430313"/>
                  <a:gd name="connsiteX87" fmla="*/ 508088 w 928201"/>
                  <a:gd name="connsiteY87" fmla="*/ 339788 h 430313"/>
                  <a:gd name="connsiteX88" fmla="*/ 650889 w 928201"/>
                  <a:gd name="connsiteY88" fmla="*/ 430313 h 430313"/>
                  <a:gd name="connsiteX89" fmla="*/ 653439 w 928201"/>
                  <a:gd name="connsiteY89" fmla="*/ 428401 h 430313"/>
                  <a:gd name="connsiteX90" fmla="*/ 719739 w 928201"/>
                  <a:gd name="connsiteY90" fmla="*/ 400988 h 430313"/>
                  <a:gd name="connsiteX91" fmla="*/ 720376 w 928201"/>
                  <a:gd name="connsiteY91" fmla="*/ 365926 h 430313"/>
                  <a:gd name="connsiteX92" fmla="*/ 743964 w 928201"/>
                  <a:gd name="connsiteY92" fmla="*/ 323213 h 430313"/>
                  <a:gd name="connsiteX93" fmla="*/ 769464 w 928201"/>
                  <a:gd name="connsiteY93" fmla="*/ 298988 h 430313"/>
                  <a:gd name="connsiteX94" fmla="*/ 823014 w 928201"/>
                  <a:gd name="connsiteY94" fmla="*/ 263926 h 430313"/>
                  <a:gd name="connsiteX95" fmla="*/ 830026 w 928201"/>
                  <a:gd name="connsiteY95" fmla="*/ 251176 h 430313"/>
                  <a:gd name="connsiteX96" fmla="*/ 844051 w 928201"/>
                  <a:gd name="connsiteY96" fmla="*/ 257551 h 430313"/>
                  <a:gd name="connsiteX97" fmla="*/ 850426 w 928201"/>
                  <a:gd name="connsiteY97" fmla="*/ 215475 h 430313"/>
                  <a:gd name="connsiteX98" fmla="*/ 842776 w 928201"/>
                  <a:gd name="connsiteY98" fmla="*/ 230138 h 430313"/>
                  <a:gd name="connsiteX99" fmla="*/ 815364 w 928201"/>
                  <a:gd name="connsiteY99" fmla="*/ 239701 h 430313"/>
                  <a:gd name="connsiteX100" fmla="*/ 789864 w 928201"/>
                  <a:gd name="connsiteY100" fmla="*/ 240338 h 430313"/>
                  <a:gd name="connsiteX101" fmla="*/ 821739 w 928201"/>
                  <a:gd name="connsiteY101" fmla="*/ 217388 h 430313"/>
                  <a:gd name="connsiteX102" fmla="*/ 813452 w 928201"/>
                  <a:gd name="connsiteY102" fmla="*/ 205275 h 430313"/>
                  <a:gd name="connsiteX103" fmla="*/ 824926 w 928201"/>
                  <a:gd name="connsiteY103" fmla="*/ 182325 h 430313"/>
                  <a:gd name="connsiteX104" fmla="*/ 765002 w 928201"/>
                  <a:gd name="connsiteY104" fmla="*/ 172125 h 430313"/>
                  <a:gd name="connsiteX105" fmla="*/ 762451 w 928201"/>
                  <a:gd name="connsiteY105" fmla="*/ 168938 h 430313"/>
                  <a:gd name="connsiteX106" fmla="*/ 814089 w 928201"/>
                  <a:gd name="connsiteY106" fmla="*/ 158738 h 430313"/>
                  <a:gd name="connsiteX107" fmla="*/ 830664 w 928201"/>
                  <a:gd name="connsiteY107" fmla="*/ 167025 h 430313"/>
                  <a:gd name="connsiteX108" fmla="*/ 851702 w 928201"/>
                  <a:gd name="connsiteY108" fmla="*/ 165113 h 430313"/>
                  <a:gd name="connsiteX109" fmla="*/ 868914 w 928201"/>
                  <a:gd name="connsiteY109" fmla="*/ 152363 h 430313"/>
                  <a:gd name="connsiteX110" fmla="*/ 881664 w 928201"/>
                  <a:gd name="connsiteY110" fmla="*/ 127500 h 430313"/>
                  <a:gd name="connsiteX111" fmla="*/ 893139 w 928201"/>
                  <a:gd name="connsiteY111" fmla="*/ 124313 h 430313"/>
                  <a:gd name="connsiteX112" fmla="*/ 891227 w 928201"/>
                  <a:gd name="connsiteY112" fmla="*/ 89250 h 430313"/>
                  <a:gd name="connsiteX113" fmla="*/ 876564 w 928201"/>
                  <a:gd name="connsiteY113" fmla="*/ 75225 h 430313"/>
                  <a:gd name="connsiteX114" fmla="*/ 861901 w 928201"/>
                  <a:gd name="connsiteY114" fmla="*/ 88613 h 430313"/>
                  <a:gd name="connsiteX115" fmla="*/ 865089 w 928201"/>
                  <a:gd name="connsiteY115" fmla="*/ 122400 h 430313"/>
                  <a:gd name="connsiteX116" fmla="*/ 853614 w 928201"/>
                  <a:gd name="connsiteY116" fmla="*/ 80963 h 430313"/>
                  <a:gd name="connsiteX117" fmla="*/ 845327 w 928201"/>
                  <a:gd name="connsiteY117" fmla="*/ 79050 h 430313"/>
                  <a:gd name="connsiteX118" fmla="*/ 781576 w 928201"/>
                  <a:gd name="connsiteY118" fmla="*/ 105825 h 430313"/>
                  <a:gd name="connsiteX119" fmla="*/ 810264 w 928201"/>
                  <a:gd name="connsiteY119" fmla="*/ 77775 h 430313"/>
                  <a:gd name="connsiteX120" fmla="*/ 811539 w 928201"/>
                  <a:gd name="connsiteY120" fmla="*/ 66300 h 430313"/>
                  <a:gd name="connsiteX121" fmla="*/ 841502 w 928201"/>
                  <a:gd name="connsiteY121" fmla="*/ 59288 h 430313"/>
                  <a:gd name="connsiteX122" fmla="*/ 849789 w 928201"/>
                  <a:gd name="connsiteY122" fmla="*/ 37613 h 430313"/>
                  <a:gd name="connsiteX123" fmla="*/ 869552 w 928201"/>
                  <a:gd name="connsiteY123" fmla="*/ 49088 h 430313"/>
                  <a:gd name="connsiteX124" fmla="*/ 848514 w 928201"/>
                  <a:gd name="connsiteY124" fmla="*/ 17213 h 430313"/>
                  <a:gd name="connsiteX125" fmla="*/ 833852 w 928201"/>
                  <a:gd name="connsiteY125" fmla="*/ 4463 h 430313"/>
                  <a:gd name="connsiteX126" fmla="*/ 833852 w 928201"/>
                  <a:gd name="connsiteY126" fmla="*/ 4463 h 430313"/>
                  <a:gd name="connsiteX127" fmla="*/ 576301 w 928201"/>
                  <a:gd name="connsiteY127" fmla="*/ 77775 h 430313"/>
                  <a:gd name="connsiteX128" fmla="*/ 412463 w 928201"/>
                  <a:gd name="connsiteY128" fmla="*/ 119213 h 430313"/>
                  <a:gd name="connsiteX129" fmla="*/ 246713 w 928201"/>
                  <a:gd name="connsiteY129" fmla="*/ 150450 h 430313"/>
                  <a:gd name="connsiteX130" fmla="*/ 244800 w 928201"/>
                  <a:gd name="connsiteY130" fmla="*/ 149813 h 430313"/>
                  <a:gd name="connsiteX131" fmla="*/ 244800 w 928201"/>
                  <a:gd name="connsiteY131" fmla="*/ 149813 h 43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928201" h="430313">
                    <a:moveTo>
                      <a:pt x="717826" y="407363"/>
                    </a:moveTo>
                    <a:lnTo>
                      <a:pt x="710814" y="414376"/>
                    </a:lnTo>
                    <a:lnTo>
                      <a:pt x="712089" y="415651"/>
                    </a:lnTo>
                    <a:lnTo>
                      <a:pt x="717826" y="407363"/>
                    </a:lnTo>
                    <a:lnTo>
                      <a:pt x="717826" y="407363"/>
                    </a:lnTo>
                    <a:close/>
                    <a:moveTo>
                      <a:pt x="722926" y="370388"/>
                    </a:moveTo>
                    <a:lnTo>
                      <a:pt x="719739" y="375488"/>
                    </a:lnTo>
                    <a:lnTo>
                      <a:pt x="721014" y="380588"/>
                    </a:lnTo>
                    <a:lnTo>
                      <a:pt x="722926" y="370388"/>
                    </a:lnTo>
                    <a:lnTo>
                      <a:pt x="722926" y="370388"/>
                    </a:lnTo>
                    <a:close/>
                    <a:moveTo>
                      <a:pt x="761814" y="310463"/>
                    </a:moveTo>
                    <a:lnTo>
                      <a:pt x="751614" y="316838"/>
                    </a:lnTo>
                    <a:lnTo>
                      <a:pt x="746514" y="324488"/>
                    </a:lnTo>
                    <a:lnTo>
                      <a:pt x="761814" y="310463"/>
                    </a:lnTo>
                    <a:lnTo>
                      <a:pt x="761814" y="310463"/>
                    </a:lnTo>
                    <a:close/>
                    <a:moveTo>
                      <a:pt x="844051" y="270301"/>
                    </a:moveTo>
                    <a:lnTo>
                      <a:pt x="840227" y="267751"/>
                    </a:lnTo>
                    <a:lnTo>
                      <a:pt x="831939" y="267113"/>
                    </a:lnTo>
                    <a:lnTo>
                      <a:pt x="844051" y="270301"/>
                    </a:lnTo>
                    <a:lnTo>
                      <a:pt x="844051" y="270301"/>
                    </a:lnTo>
                    <a:close/>
                    <a:moveTo>
                      <a:pt x="826839" y="266475"/>
                    </a:moveTo>
                    <a:lnTo>
                      <a:pt x="821102" y="266475"/>
                    </a:lnTo>
                    <a:lnTo>
                      <a:pt x="810901" y="271576"/>
                    </a:lnTo>
                    <a:lnTo>
                      <a:pt x="826839" y="266475"/>
                    </a:lnTo>
                    <a:close/>
                    <a:moveTo>
                      <a:pt x="847239" y="272850"/>
                    </a:moveTo>
                    <a:lnTo>
                      <a:pt x="865727" y="226313"/>
                    </a:lnTo>
                    <a:lnTo>
                      <a:pt x="852977" y="245438"/>
                    </a:lnTo>
                    <a:lnTo>
                      <a:pt x="847239" y="272850"/>
                    </a:lnTo>
                    <a:lnTo>
                      <a:pt x="847239" y="272850"/>
                    </a:lnTo>
                    <a:close/>
                    <a:moveTo>
                      <a:pt x="874651" y="212288"/>
                    </a:moveTo>
                    <a:lnTo>
                      <a:pt x="882939" y="200176"/>
                    </a:lnTo>
                    <a:lnTo>
                      <a:pt x="878477" y="200176"/>
                    </a:lnTo>
                    <a:lnTo>
                      <a:pt x="874651" y="212288"/>
                    </a:lnTo>
                    <a:close/>
                    <a:moveTo>
                      <a:pt x="928202" y="162563"/>
                    </a:moveTo>
                    <a:lnTo>
                      <a:pt x="914177" y="91163"/>
                    </a:lnTo>
                    <a:lnTo>
                      <a:pt x="926289" y="128138"/>
                    </a:lnTo>
                    <a:lnTo>
                      <a:pt x="928202" y="162563"/>
                    </a:lnTo>
                    <a:lnTo>
                      <a:pt x="928202" y="162563"/>
                    </a:lnTo>
                    <a:close/>
                    <a:moveTo>
                      <a:pt x="850426" y="0"/>
                    </a:moveTo>
                    <a:lnTo>
                      <a:pt x="849151" y="638"/>
                    </a:lnTo>
                    <a:lnTo>
                      <a:pt x="847239" y="1275"/>
                    </a:lnTo>
                    <a:lnTo>
                      <a:pt x="847239" y="1275"/>
                    </a:lnTo>
                    <a:lnTo>
                      <a:pt x="847877" y="1275"/>
                    </a:lnTo>
                    <a:lnTo>
                      <a:pt x="882939" y="60563"/>
                    </a:lnTo>
                    <a:lnTo>
                      <a:pt x="910989" y="88613"/>
                    </a:lnTo>
                    <a:lnTo>
                      <a:pt x="850426" y="0"/>
                    </a:lnTo>
                    <a:lnTo>
                      <a:pt x="850426" y="0"/>
                    </a:lnTo>
                    <a:lnTo>
                      <a:pt x="850426" y="0"/>
                    </a:lnTo>
                    <a:close/>
                    <a:moveTo>
                      <a:pt x="838952" y="3825"/>
                    </a:moveTo>
                    <a:lnTo>
                      <a:pt x="833852" y="5100"/>
                    </a:lnTo>
                    <a:lnTo>
                      <a:pt x="833852" y="5100"/>
                    </a:lnTo>
                    <a:lnTo>
                      <a:pt x="835127" y="5738"/>
                    </a:lnTo>
                    <a:lnTo>
                      <a:pt x="846602" y="5738"/>
                    </a:lnTo>
                    <a:lnTo>
                      <a:pt x="845327" y="1913"/>
                    </a:lnTo>
                    <a:lnTo>
                      <a:pt x="845327" y="1913"/>
                    </a:lnTo>
                    <a:lnTo>
                      <a:pt x="842776" y="2550"/>
                    </a:lnTo>
                    <a:lnTo>
                      <a:pt x="840864" y="2550"/>
                    </a:lnTo>
                    <a:lnTo>
                      <a:pt x="840864" y="2550"/>
                    </a:lnTo>
                    <a:lnTo>
                      <a:pt x="840864" y="3825"/>
                    </a:lnTo>
                    <a:lnTo>
                      <a:pt x="838952" y="3825"/>
                    </a:lnTo>
                    <a:lnTo>
                      <a:pt x="838952" y="3825"/>
                    </a:lnTo>
                    <a:lnTo>
                      <a:pt x="838952" y="3825"/>
                    </a:lnTo>
                    <a:lnTo>
                      <a:pt x="838952" y="3825"/>
                    </a:lnTo>
                    <a:close/>
                    <a:moveTo>
                      <a:pt x="244800" y="149813"/>
                    </a:moveTo>
                    <a:lnTo>
                      <a:pt x="241613" y="160013"/>
                    </a:lnTo>
                    <a:lnTo>
                      <a:pt x="242250" y="188063"/>
                    </a:lnTo>
                    <a:lnTo>
                      <a:pt x="235238" y="187426"/>
                    </a:lnTo>
                    <a:lnTo>
                      <a:pt x="218663" y="221213"/>
                    </a:lnTo>
                    <a:lnTo>
                      <a:pt x="200175" y="223125"/>
                    </a:lnTo>
                    <a:lnTo>
                      <a:pt x="165750" y="256913"/>
                    </a:lnTo>
                    <a:lnTo>
                      <a:pt x="150450" y="251176"/>
                    </a:lnTo>
                    <a:lnTo>
                      <a:pt x="130688" y="281138"/>
                    </a:lnTo>
                    <a:lnTo>
                      <a:pt x="77775" y="328951"/>
                    </a:lnTo>
                    <a:lnTo>
                      <a:pt x="52275" y="335326"/>
                    </a:lnTo>
                    <a:lnTo>
                      <a:pt x="24862" y="360188"/>
                    </a:lnTo>
                    <a:lnTo>
                      <a:pt x="23587" y="376764"/>
                    </a:lnTo>
                    <a:lnTo>
                      <a:pt x="0" y="389514"/>
                    </a:lnTo>
                    <a:lnTo>
                      <a:pt x="637" y="418201"/>
                    </a:lnTo>
                    <a:lnTo>
                      <a:pt x="637" y="424576"/>
                    </a:lnTo>
                    <a:lnTo>
                      <a:pt x="8925" y="422663"/>
                    </a:lnTo>
                    <a:lnTo>
                      <a:pt x="98813" y="404176"/>
                    </a:lnTo>
                    <a:lnTo>
                      <a:pt x="123038" y="399076"/>
                    </a:lnTo>
                    <a:lnTo>
                      <a:pt x="131325" y="397163"/>
                    </a:lnTo>
                    <a:lnTo>
                      <a:pt x="133238" y="397163"/>
                    </a:lnTo>
                    <a:lnTo>
                      <a:pt x="346163" y="329588"/>
                    </a:lnTo>
                    <a:lnTo>
                      <a:pt x="381863" y="348076"/>
                    </a:lnTo>
                    <a:lnTo>
                      <a:pt x="454538" y="350626"/>
                    </a:lnTo>
                    <a:lnTo>
                      <a:pt x="508088" y="339788"/>
                    </a:lnTo>
                    <a:lnTo>
                      <a:pt x="650889" y="430313"/>
                    </a:lnTo>
                    <a:lnTo>
                      <a:pt x="653439" y="428401"/>
                    </a:lnTo>
                    <a:lnTo>
                      <a:pt x="719739" y="400988"/>
                    </a:lnTo>
                    <a:lnTo>
                      <a:pt x="720376" y="365926"/>
                    </a:lnTo>
                    <a:lnTo>
                      <a:pt x="743964" y="323213"/>
                    </a:lnTo>
                    <a:lnTo>
                      <a:pt x="769464" y="298988"/>
                    </a:lnTo>
                    <a:lnTo>
                      <a:pt x="823014" y="263926"/>
                    </a:lnTo>
                    <a:lnTo>
                      <a:pt x="830026" y="251176"/>
                    </a:lnTo>
                    <a:lnTo>
                      <a:pt x="844051" y="257551"/>
                    </a:lnTo>
                    <a:lnTo>
                      <a:pt x="850426" y="215475"/>
                    </a:lnTo>
                    <a:lnTo>
                      <a:pt x="842776" y="230138"/>
                    </a:lnTo>
                    <a:lnTo>
                      <a:pt x="815364" y="239701"/>
                    </a:lnTo>
                    <a:lnTo>
                      <a:pt x="789864" y="240338"/>
                    </a:lnTo>
                    <a:lnTo>
                      <a:pt x="821739" y="217388"/>
                    </a:lnTo>
                    <a:lnTo>
                      <a:pt x="813452" y="205275"/>
                    </a:lnTo>
                    <a:lnTo>
                      <a:pt x="824926" y="182325"/>
                    </a:lnTo>
                    <a:lnTo>
                      <a:pt x="765002" y="172125"/>
                    </a:lnTo>
                    <a:lnTo>
                      <a:pt x="762451" y="168938"/>
                    </a:lnTo>
                    <a:lnTo>
                      <a:pt x="814089" y="158738"/>
                    </a:lnTo>
                    <a:lnTo>
                      <a:pt x="830664" y="167025"/>
                    </a:lnTo>
                    <a:lnTo>
                      <a:pt x="851702" y="165113"/>
                    </a:lnTo>
                    <a:lnTo>
                      <a:pt x="868914" y="152363"/>
                    </a:lnTo>
                    <a:lnTo>
                      <a:pt x="881664" y="127500"/>
                    </a:lnTo>
                    <a:lnTo>
                      <a:pt x="893139" y="124313"/>
                    </a:lnTo>
                    <a:lnTo>
                      <a:pt x="891227" y="89250"/>
                    </a:lnTo>
                    <a:lnTo>
                      <a:pt x="876564" y="75225"/>
                    </a:lnTo>
                    <a:lnTo>
                      <a:pt x="861901" y="88613"/>
                    </a:lnTo>
                    <a:lnTo>
                      <a:pt x="865089" y="122400"/>
                    </a:lnTo>
                    <a:lnTo>
                      <a:pt x="853614" y="80963"/>
                    </a:lnTo>
                    <a:lnTo>
                      <a:pt x="845327" y="79050"/>
                    </a:lnTo>
                    <a:lnTo>
                      <a:pt x="781576" y="105825"/>
                    </a:lnTo>
                    <a:lnTo>
                      <a:pt x="810264" y="77775"/>
                    </a:lnTo>
                    <a:lnTo>
                      <a:pt x="811539" y="66300"/>
                    </a:lnTo>
                    <a:lnTo>
                      <a:pt x="841502" y="59288"/>
                    </a:lnTo>
                    <a:lnTo>
                      <a:pt x="849789" y="37613"/>
                    </a:lnTo>
                    <a:lnTo>
                      <a:pt x="869552" y="49088"/>
                    </a:lnTo>
                    <a:lnTo>
                      <a:pt x="848514" y="17213"/>
                    </a:lnTo>
                    <a:lnTo>
                      <a:pt x="833852" y="4463"/>
                    </a:lnTo>
                    <a:lnTo>
                      <a:pt x="833852" y="4463"/>
                    </a:lnTo>
                    <a:lnTo>
                      <a:pt x="576301" y="77775"/>
                    </a:lnTo>
                    <a:lnTo>
                      <a:pt x="412463" y="119213"/>
                    </a:lnTo>
                    <a:lnTo>
                      <a:pt x="246713" y="150450"/>
                    </a:lnTo>
                    <a:lnTo>
                      <a:pt x="244800" y="149813"/>
                    </a:lnTo>
                    <a:lnTo>
                      <a:pt x="244800" y="14981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49" name="Freeform 55">
                <a:extLst>
                  <a:ext uri="{FF2B5EF4-FFF2-40B4-BE49-F238E27FC236}">
                    <a16:creationId xmlns:a16="http://schemas.microsoft.com/office/drawing/2014/main" id="{510A916B-2867-BC44-B783-DCE64D53CEAA}"/>
                  </a:ext>
                </a:extLst>
              </p:cNvPr>
              <p:cNvSpPr/>
              <p:nvPr/>
            </p:nvSpPr>
            <p:spPr>
              <a:xfrm>
                <a:off x="5876680" y="2065485"/>
                <a:ext cx="451350" cy="520838"/>
              </a:xfrm>
              <a:custGeom>
                <a:avLst/>
                <a:gdLst>
                  <a:gd name="connsiteX0" fmla="*/ 445613 w 451350"/>
                  <a:gd name="connsiteY0" fmla="*/ 162563 h 520838"/>
                  <a:gd name="connsiteX1" fmla="*/ 429676 w 451350"/>
                  <a:gd name="connsiteY1" fmla="*/ 93075 h 520838"/>
                  <a:gd name="connsiteX2" fmla="*/ 426488 w 451350"/>
                  <a:gd name="connsiteY2" fmla="*/ 79050 h 520838"/>
                  <a:gd name="connsiteX3" fmla="*/ 408638 w 451350"/>
                  <a:gd name="connsiteY3" fmla="*/ 0 h 520838"/>
                  <a:gd name="connsiteX4" fmla="*/ 385688 w 451350"/>
                  <a:gd name="connsiteY4" fmla="*/ 14663 h 520838"/>
                  <a:gd name="connsiteX5" fmla="*/ 335963 w 451350"/>
                  <a:gd name="connsiteY5" fmla="*/ 52275 h 520838"/>
                  <a:gd name="connsiteX6" fmla="*/ 303450 w 451350"/>
                  <a:gd name="connsiteY6" fmla="*/ 91163 h 520838"/>
                  <a:gd name="connsiteX7" fmla="*/ 278588 w 451350"/>
                  <a:gd name="connsiteY7" fmla="*/ 94988 h 520838"/>
                  <a:gd name="connsiteX8" fmla="*/ 232050 w 451350"/>
                  <a:gd name="connsiteY8" fmla="*/ 121763 h 520838"/>
                  <a:gd name="connsiteX9" fmla="*/ 206550 w 451350"/>
                  <a:gd name="connsiteY9" fmla="*/ 106463 h 520838"/>
                  <a:gd name="connsiteX10" fmla="*/ 129413 w 451350"/>
                  <a:gd name="connsiteY10" fmla="*/ 96900 h 520838"/>
                  <a:gd name="connsiteX11" fmla="*/ 129413 w 451350"/>
                  <a:gd name="connsiteY11" fmla="*/ 96900 h 520838"/>
                  <a:gd name="connsiteX12" fmla="*/ 88612 w 451350"/>
                  <a:gd name="connsiteY12" fmla="*/ 107738 h 520838"/>
                  <a:gd name="connsiteX13" fmla="*/ 48450 w 451350"/>
                  <a:gd name="connsiteY13" fmla="*/ 117938 h 520838"/>
                  <a:gd name="connsiteX14" fmla="*/ 6375 w 451350"/>
                  <a:gd name="connsiteY14" fmla="*/ 127500 h 520838"/>
                  <a:gd name="connsiteX15" fmla="*/ 0 w 451350"/>
                  <a:gd name="connsiteY15" fmla="*/ 129413 h 520838"/>
                  <a:gd name="connsiteX16" fmla="*/ 1912 w 451350"/>
                  <a:gd name="connsiteY16" fmla="*/ 140250 h 520838"/>
                  <a:gd name="connsiteX17" fmla="*/ 19125 w 451350"/>
                  <a:gd name="connsiteY17" fmla="*/ 237788 h 520838"/>
                  <a:gd name="connsiteX18" fmla="*/ 57375 w 451350"/>
                  <a:gd name="connsiteY18" fmla="*/ 465376 h 520838"/>
                  <a:gd name="connsiteX19" fmla="*/ 58650 w 451350"/>
                  <a:gd name="connsiteY19" fmla="*/ 476851 h 520838"/>
                  <a:gd name="connsiteX20" fmla="*/ 63750 w 451350"/>
                  <a:gd name="connsiteY20" fmla="*/ 471751 h 520838"/>
                  <a:gd name="connsiteX21" fmla="*/ 95625 w 451350"/>
                  <a:gd name="connsiteY21" fmla="*/ 467926 h 520838"/>
                  <a:gd name="connsiteX22" fmla="*/ 112200 w 451350"/>
                  <a:gd name="connsiteY22" fmla="*/ 476214 h 520838"/>
                  <a:gd name="connsiteX23" fmla="*/ 145350 w 451350"/>
                  <a:gd name="connsiteY23" fmla="*/ 504901 h 520838"/>
                  <a:gd name="connsiteX24" fmla="*/ 154913 w 451350"/>
                  <a:gd name="connsiteY24" fmla="*/ 501076 h 520838"/>
                  <a:gd name="connsiteX25" fmla="*/ 189338 w 451350"/>
                  <a:gd name="connsiteY25" fmla="*/ 516376 h 520838"/>
                  <a:gd name="connsiteX26" fmla="*/ 205913 w 451350"/>
                  <a:gd name="connsiteY26" fmla="*/ 503626 h 520838"/>
                  <a:gd name="connsiteX27" fmla="*/ 225038 w 451350"/>
                  <a:gd name="connsiteY27" fmla="*/ 511276 h 520838"/>
                  <a:gd name="connsiteX28" fmla="*/ 240338 w 451350"/>
                  <a:gd name="connsiteY28" fmla="*/ 507451 h 520838"/>
                  <a:gd name="connsiteX29" fmla="*/ 264563 w 451350"/>
                  <a:gd name="connsiteY29" fmla="*/ 483864 h 520838"/>
                  <a:gd name="connsiteX30" fmla="*/ 276675 w 451350"/>
                  <a:gd name="connsiteY30" fmla="*/ 504264 h 520838"/>
                  <a:gd name="connsiteX31" fmla="*/ 304088 w 451350"/>
                  <a:gd name="connsiteY31" fmla="*/ 519564 h 520838"/>
                  <a:gd name="connsiteX32" fmla="*/ 305363 w 451350"/>
                  <a:gd name="connsiteY32" fmla="*/ 520839 h 520838"/>
                  <a:gd name="connsiteX33" fmla="*/ 305363 w 451350"/>
                  <a:gd name="connsiteY33" fmla="*/ 520839 h 520838"/>
                  <a:gd name="connsiteX34" fmla="*/ 333413 w 451350"/>
                  <a:gd name="connsiteY34" fmla="*/ 507451 h 520838"/>
                  <a:gd name="connsiteX35" fmla="*/ 343613 w 451350"/>
                  <a:gd name="connsiteY35" fmla="*/ 486414 h 520838"/>
                  <a:gd name="connsiteX36" fmla="*/ 335963 w 451350"/>
                  <a:gd name="connsiteY36" fmla="*/ 464739 h 520838"/>
                  <a:gd name="connsiteX37" fmla="*/ 357638 w 451350"/>
                  <a:gd name="connsiteY37" fmla="*/ 431588 h 520838"/>
                  <a:gd name="connsiteX38" fmla="*/ 373576 w 451350"/>
                  <a:gd name="connsiteY38" fmla="*/ 429038 h 520838"/>
                  <a:gd name="connsiteX39" fmla="*/ 371663 w 451350"/>
                  <a:gd name="connsiteY39" fmla="*/ 400351 h 520838"/>
                  <a:gd name="connsiteX40" fmla="*/ 398438 w 451350"/>
                  <a:gd name="connsiteY40" fmla="*/ 364651 h 520838"/>
                  <a:gd name="connsiteX41" fmla="*/ 402901 w 451350"/>
                  <a:gd name="connsiteY41" fmla="*/ 369751 h 520838"/>
                  <a:gd name="connsiteX42" fmla="*/ 426488 w 451350"/>
                  <a:gd name="connsiteY42" fmla="*/ 351901 h 520838"/>
                  <a:gd name="connsiteX43" fmla="*/ 446888 w 451350"/>
                  <a:gd name="connsiteY43" fmla="*/ 320663 h 520838"/>
                  <a:gd name="connsiteX44" fmla="*/ 450076 w 451350"/>
                  <a:gd name="connsiteY44" fmla="*/ 179775 h 520838"/>
                  <a:gd name="connsiteX45" fmla="*/ 451351 w 451350"/>
                  <a:gd name="connsiteY45" fmla="*/ 179138 h 520838"/>
                  <a:gd name="connsiteX46" fmla="*/ 445613 w 451350"/>
                  <a:gd name="connsiteY46" fmla="*/ 162563 h 520838"/>
                  <a:gd name="connsiteX47" fmla="*/ 445613 w 451350"/>
                  <a:gd name="connsiteY47" fmla="*/ 162563 h 52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51350" h="520838">
                    <a:moveTo>
                      <a:pt x="445613" y="162563"/>
                    </a:moveTo>
                    <a:lnTo>
                      <a:pt x="429676" y="93075"/>
                    </a:lnTo>
                    <a:lnTo>
                      <a:pt x="426488" y="79050"/>
                    </a:lnTo>
                    <a:lnTo>
                      <a:pt x="408638" y="0"/>
                    </a:lnTo>
                    <a:lnTo>
                      <a:pt x="385688" y="14663"/>
                    </a:lnTo>
                    <a:lnTo>
                      <a:pt x="335963" y="52275"/>
                    </a:lnTo>
                    <a:lnTo>
                      <a:pt x="303450" y="91163"/>
                    </a:lnTo>
                    <a:lnTo>
                      <a:pt x="278588" y="94988"/>
                    </a:lnTo>
                    <a:lnTo>
                      <a:pt x="232050" y="121763"/>
                    </a:lnTo>
                    <a:lnTo>
                      <a:pt x="206550" y="106463"/>
                    </a:lnTo>
                    <a:lnTo>
                      <a:pt x="129413" y="96900"/>
                    </a:lnTo>
                    <a:lnTo>
                      <a:pt x="129413" y="96900"/>
                    </a:lnTo>
                    <a:lnTo>
                      <a:pt x="88612" y="107738"/>
                    </a:lnTo>
                    <a:lnTo>
                      <a:pt x="48450" y="117938"/>
                    </a:lnTo>
                    <a:lnTo>
                      <a:pt x="6375" y="127500"/>
                    </a:lnTo>
                    <a:lnTo>
                      <a:pt x="0" y="129413"/>
                    </a:lnTo>
                    <a:lnTo>
                      <a:pt x="1912" y="140250"/>
                    </a:lnTo>
                    <a:lnTo>
                      <a:pt x="19125" y="237788"/>
                    </a:lnTo>
                    <a:lnTo>
                      <a:pt x="57375" y="465376"/>
                    </a:lnTo>
                    <a:lnTo>
                      <a:pt x="58650" y="476851"/>
                    </a:lnTo>
                    <a:lnTo>
                      <a:pt x="63750" y="471751"/>
                    </a:lnTo>
                    <a:lnTo>
                      <a:pt x="95625" y="467926"/>
                    </a:lnTo>
                    <a:lnTo>
                      <a:pt x="112200" y="476214"/>
                    </a:lnTo>
                    <a:lnTo>
                      <a:pt x="145350" y="504901"/>
                    </a:lnTo>
                    <a:lnTo>
                      <a:pt x="154913" y="501076"/>
                    </a:lnTo>
                    <a:lnTo>
                      <a:pt x="189338" y="516376"/>
                    </a:lnTo>
                    <a:lnTo>
                      <a:pt x="205913" y="503626"/>
                    </a:lnTo>
                    <a:lnTo>
                      <a:pt x="225038" y="511276"/>
                    </a:lnTo>
                    <a:lnTo>
                      <a:pt x="240338" y="507451"/>
                    </a:lnTo>
                    <a:lnTo>
                      <a:pt x="264563" y="483864"/>
                    </a:lnTo>
                    <a:lnTo>
                      <a:pt x="276675" y="504264"/>
                    </a:lnTo>
                    <a:lnTo>
                      <a:pt x="304088" y="519564"/>
                    </a:lnTo>
                    <a:lnTo>
                      <a:pt x="305363" y="520839"/>
                    </a:lnTo>
                    <a:lnTo>
                      <a:pt x="305363" y="520839"/>
                    </a:lnTo>
                    <a:lnTo>
                      <a:pt x="333413" y="507451"/>
                    </a:lnTo>
                    <a:lnTo>
                      <a:pt x="343613" y="486414"/>
                    </a:lnTo>
                    <a:lnTo>
                      <a:pt x="335963" y="464739"/>
                    </a:lnTo>
                    <a:lnTo>
                      <a:pt x="357638" y="431588"/>
                    </a:lnTo>
                    <a:lnTo>
                      <a:pt x="373576" y="429038"/>
                    </a:lnTo>
                    <a:lnTo>
                      <a:pt x="371663" y="400351"/>
                    </a:lnTo>
                    <a:lnTo>
                      <a:pt x="398438" y="364651"/>
                    </a:lnTo>
                    <a:lnTo>
                      <a:pt x="402901" y="369751"/>
                    </a:lnTo>
                    <a:lnTo>
                      <a:pt x="426488" y="351901"/>
                    </a:lnTo>
                    <a:lnTo>
                      <a:pt x="446888" y="320663"/>
                    </a:lnTo>
                    <a:lnTo>
                      <a:pt x="450076" y="179775"/>
                    </a:lnTo>
                    <a:lnTo>
                      <a:pt x="451351" y="179138"/>
                    </a:lnTo>
                    <a:lnTo>
                      <a:pt x="445613" y="162563"/>
                    </a:lnTo>
                    <a:lnTo>
                      <a:pt x="445613" y="162563"/>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0" name="Freeform 56">
                <a:extLst>
                  <a:ext uri="{FF2B5EF4-FFF2-40B4-BE49-F238E27FC236}">
                    <a16:creationId xmlns:a16="http://schemas.microsoft.com/office/drawing/2014/main" id="{CC638146-2EE4-BE9E-DD58-11AB65AFF42D}"/>
                  </a:ext>
                </a:extLst>
              </p:cNvPr>
              <p:cNvSpPr/>
              <p:nvPr/>
            </p:nvSpPr>
            <p:spPr>
              <a:xfrm>
                <a:off x="5428516" y="2800524"/>
                <a:ext cx="897602" cy="372300"/>
              </a:xfrm>
              <a:custGeom>
                <a:avLst/>
                <a:gdLst>
                  <a:gd name="connsiteX0" fmla="*/ 682764 w 897602"/>
                  <a:gd name="connsiteY0" fmla="*/ 49087 h 372300"/>
                  <a:gd name="connsiteX1" fmla="*/ 498526 w 897602"/>
                  <a:gd name="connsiteY1" fmla="*/ 80325 h 372300"/>
                  <a:gd name="connsiteX2" fmla="*/ 237151 w 897602"/>
                  <a:gd name="connsiteY2" fmla="*/ 114750 h 372300"/>
                  <a:gd name="connsiteX3" fmla="*/ 215476 w 897602"/>
                  <a:gd name="connsiteY3" fmla="*/ 115388 h 372300"/>
                  <a:gd name="connsiteX4" fmla="*/ 221851 w 897602"/>
                  <a:gd name="connsiteY4" fmla="*/ 140888 h 372300"/>
                  <a:gd name="connsiteX5" fmla="*/ 92438 w 897602"/>
                  <a:gd name="connsiteY5" fmla="*/ 158100 h 372300"/>
                  <a:gd name="connsiteX6" fmla="*/ 73950 w 897602"/>
                  <a:gd name="connsiteY6" fmla="*/ 160650 h 372300"/>
                  <a:gd name="connsiteX7" fmla="*/ 73950 w 897602"/>
                  <a:gd name="connsiteY7" fmla="*/ 161288 h 372300"/>
                  <a:gd name="connsiteX8" fmla="*/ 68850 w 897602"/>
                  <a:gd name="connsiteY8" fmla="*/ 167663 h 372300"/>
                  <a:gd name="connsiteX9" fmla="*/ 66300 w 897602"/>
                  <a:gd name="connsiteY9" fmla="*/ 167025 h 372300"/>
                  <a:gd name="connsiteX10" fmla="*/ 66300 w 897602"/>
                  <a:gd name="connsiteY10" fmla="*/ 161925 h 372300"/>
                  <a:gd name="connsiteX11" fmla="*/ 66300 w 897602"/>
                  <a:gd name="connsiteY11" fmla="*/ 161288 h 372300"/>
                  <a:gd name="connsiteX12" fmla="*/ 59288 w 897602"/>
                  <a:gd name="connsiteY12" fmla="*/ 161925 h 372300"/>
                  <a:gd name="connsiteX13" fmla="*/ 59925 w 897602"/>
                  <a:gd name="connsiteY13" fmla="*/ 162563 h 372300"/>
                  <a:gd name="connsiteX14" fmla="*/ 63750 w 897602"/>
                  <a:gd name="connsiteY14" fmla="*/ 180413 h 372300"/>
                  <a:gd name="connsiteX15" fmla="*/ 51000 w 897602"/>
                  <a:gd name="connsiteY15" fmla="*/ 196351 h 372300"/>
                  <a:gd name="connsiteX16" fmla="*/ 49725 w 897602"/>
                  <a:gd name="connsiteY16" fmla="*/ 226313 h 372300"/>
                  <a:gd name="connsiteX17" fmla="*/ 49725 w 897602"/>
                  <a:gd name="connsiteY17" fmla="*/ 231413 h 372300"/>
                  <a:gd name="connsiteX18" fmla="*/ 49725 w 897602"/>
                  <a:gd name="connsiteY18" fmla="*/ 232050 h 372300"/>
                  <a:gd name="connsiteX19" fmla="*/ 30600 w 897602"/>
                  <a:gd name="connsiteY19" fmla="*/ 269025 h 372300"/>
                  <a:gd name="connsiteX20" fmla="*/ 34425 w 897602"/>
                  <a:gd name="connsiteY20" fmla="*/ 295801 h 372300"/>
                  <a:gd name="connsiteX21" fmla="*/ 16575 w 897602"/>
                  <a:gd name="connsiteY21" fmla="*/ 324488 h 372300"/>
                  <a:gd name="connsiteX22" fmla="*/ 22950 w 897602"/>
                  <a:gd name="connsiteY22" fmla="*/ 349988 h 372300"/>
                  <a:gd name="connsiteX23" fmla="*/ 0 w 897602"/>
                  <a:gd name="connsiteY23" fmla="*/ 371026 h 372300"/>
                  <a:gd name="connsiteX24" fmla="*/ 1275 w 897602"/>
                  <a:gd name="connsiteY24" fmla="*/ 372301 h 372300"/>
                  <a:gd name="connsiteX25" fmla="*/ 15300 w 897602"/>
                  <a:gd name="connsiteY25" fmla="*/ 371026 h 372300"/>
                  <a:gd name="connsiteX26" fmla="*/ 143438 w 897602"/>
                  <a:gd name="connsiteY26" fmla="*/ 355088 h 372300"/>
                  <a:gd name="connsiteX27" fmla="*/ 199538 w 897602"/>
                  <a:gd name="connsiteY27" fmla="*/ 347438 h 372300"/>
                  <a:gd name="connsiteX28" fmla="*/ 232051 w 897602"/>
                  <a:gd name="connsiteY28" fmla="*/ 342976 h 372300"/>
                  <a:gd name="connsiteX29" fmla="*/ 233326 w 897602"/>
                  <a:gd name="connsiteY29" fmla="*/ 342976 h 372300"/>
                  <a:gd name="connsiteX30" fmla="*/ 232688 w 897602"/>
                  <a:gd name="connsiteY30" fmla="*/ 341701 h 372300"/>
                  <a:gd name="connsiteX31" fmla="*/ 340426 w 897602"/>
                  <a:gd name="connsiteY31" fmla="*/ 327038 h 372300"/>
                  <a:gd name="connsiteX32" fmla="*/ 392063 w 897602"/>
                  <a:gd name="connsiteY32" fmla="*/ 320663 h 372300"/>
                  <a:gd name="connsiteX33" fmla="*/ 494701 w 897602"/>
                  <a:gd name="connsiteY33" fmla="*/ 304088 h 372300"/>
                  <a:gd name="connsiteX34" fmla="*/ 513826 w 897602"/>
                  <a:gd name="connsiteY34" fmla="*/ 300900 h 372300"/>
                  <a:gd name="connsiteX35" fmla="*/ 525301 w 897602"/>
                  <a:gd name="connsiteY35" fmla="*/ 299625 h 372300"/>
                  <a:gd name="connsiteX36" fmla="*/ 580126 w 897602"/>
                  <a:gd name="connsiteY36" fmla="*/ 288788 h 372300"/>
                  <a:gd name="connsiteX37" fmla="*/ 593514 w 897602"/>
                  <a:gd name="connsiteY37" fmla="*/ 286238 h 372300"/>
                  <a:gd name="connsiteX38" fmla="*/ 643876 w 897602"/>
                  <a:gd name="connsiteY38" fmla="*/ 276038 h 372300"/>
                  <a:gd name="connsiteX39" fmla="*/ 653439 w 897602"/>
                  <a:gd name="connsiteY39" fmla="*/ 274763 h 372300"/>
                  <a:gd name="connsiteX40" fmla="*/ 653439 w 897602"/>
                  <a:gd name="connsiteY40" fmla="*/ 268388 h 372300"/>
                  <a:gd name="connsiteX41" fmla="*/ 652801 w 897602"/>
                  <a:gd name="connsiteY41" fmla="*/ 239701 h 372300"/>
                  <a:gd name="connsiteX42" fmla="*/ 676389 w 897602"/>
                  <a:gd name="connsiteY42" fmla="*/ 226951 h 372300"/>
                  <a:gd name="connsiteX43" fmla="*/ 677664 w 897602"/>
                  <a:gd name="connsiteY43" fmla="*/ 210375 h 372300"/>
                  <a:gd name="connsiteX44" fmla="*/ 705077 w 897602"/>
                  <a:gd name="connsiteY44" fmla="*/ 185513 h 372300"/>
                  <a:gd name="connsiteX45" fmla="*/ 730577 w 897602"/>
                  <a:gd name="connsiteY45" fmla="*/ 179138 h 372300"/>
                  <a:gd name="connsiteX46" fmla="*/ 783489 w 897602"/>
                  <a:gd name="connsiteY46" fmla="*/ 131325 h 372300"/>
                  <a:gd name="connsiteX47" fmla="*/ 803252 w 897602"/>
                  <a:gd name="connsiteY47" fmla="*/ 101363 h 372300"/>
                  <a:gd name="connsiteX48" fmla="*/ 818552 w 897602"/>
                  <a:gd name="connsiteY48" fmla="*/ 107100 h 372300"/>
                  <a:gd name="connsiteX49" fmla="*/ 852977 w 897602"/>
                  <a:gd name="connsiteY49" fmla="*/ 73312 h 372300"/>
                  <a:gd name="connsiteX50" fmla="*/ 871464 w 897602"/>
                  <a:gd name="connsiteY50" fmla="*/ 71400 h 372300"/>
                  <a:gd name="connsiteX51" fmla="*/ 888040 w 897602"/>
                  <a:gd name="connsiteY51" fmla="*/ 37613 h 372300"/>
                  <a:gd name="connsiteX52" fmla="*/ 895052 w 897602"/>
                  <a:gd name="connsiteY52" fmla="*/ 38250 h 372300"/>
                  <a:gd name="connsiteX53" fmla="*/ 894415 w 897602"/>
                  <a:gd name="connsiteY53" fmla="*/ 10200 h 372300"/>
                  <a:gd name="connsiteX54" fmla="*/ 897602 w 897602"/>
                  <a:gd name="connsiteY54" fmla="*/ 0 h 372300"/>
                  <a:gd name="connsiteX55" fmla="*/ 886765 w 897602"/>
                  <a:gd name="connsiteY55" fmla="*/ 1912 h 372300"/>
                  <a:gd name="connsiteX56" fmla="*/ 850427 w 897602"/>
                  <a:gd name="connsiteY56" fmla="*/ 12750 h 372300"/>
                  <a:gd name="connsiteX57" fmla="*/ 806439 w 897602"/>
                  <a:gd name="connsiteY57" fmla="*/ 22313 h 372300"/>
                  <a:gd name="connsiteX58" fmla="*/ 696789 w 897602"/>
                  <a:gd name="connsiteY58" fmla="*/ 44625 h 372300"/>
                  <a:gd name="connsiteX59" fmla="*/ 685314 w 897602"/>
                  <a:gd name="connsiteY59" fmla="*/ 46538 h 372300"/>
                  <a:gd name="connsiteX60" fmla="*/ 682764 w 897602"/>
                  <a:gd name="connsiteY60" fmla="*/ 49087 h 372300"/>
                  <a:gd name="connsiteX61" fmla="*/ 682764 w 897602"/>
                  <a:gd name="connsiteY61" fmla="*/ 49087 h 37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7602" h="372300">
                    <a:moveTo>
                      <a:pt x="682764" y="49087"/>
                    </a:moveTo>
                    <a:lnTo>
                      <a:pt x="498526" y="80325"/>
                    </a:lnTo>
                    <a:lnTo>
                      <a:pt x="237151" y="114750"/>
                    </a:lnTo>
                    <a:lnTo>
                      <a:pt x="215476" y="115388"/>
                    </a:lnTo>
                    <a:lnTo>
                      <a:pt x="221851" y="140888"/>
                    </a:lnTo>
                    <a:lnTo>
                      <a:pt x="92438" y="158100"/>
                    </a:lnTo>
                    <a:lnTo>
                      <a:pt x="73950" y="160650"/>
                    </a:lnTo>
                    <a:lnTo>
                      <a:pt x="73950" y="161288"/>
                    </a:lnTo>
                    <a:lnTo>
                      <a:pt x="68850" y="167663"/>
                    </a:lnTo>
                    <a:lnTo>
                      <a:pt x="66300" y="167025"/>
                    </a:lnTo>
                    <a:lnTo>
                      <a:pt x="66300" y="161925"/>
                    </a:lnTo>
                    <a:lnTo>
                      <a:pt x="66300" y="161288"/>
                    </a:lnTo>
                    <a:lnTo>
                      <a:pt x="59288" y="161925"/>
                    </a:lnTo>
                    <a:lnTo>
                      <a:pt x="59925" y="162563"/>
                    </a:lnTo>
                    <a:lnTo>
                      <a:pt x="63750" y="180413"/>
                    </a:lnTo>
                    <a:lnTo>
                      <a:pt x="51000" y="196351"/>
                    </a:lnTo>
                    <a:lnTo>
                      <a:pt x="49725" y="226313"/>
                    </a:lnTo>
                    <a:lnTo>
                      <a:pt x="49725" y="231413"/>
                    </a:lnTo>
                    <a:lnTo>
                      <a:pt x="49725" y="232050"/>
                    </a:lnTo>
                    <a:lnTo>
                      <a:pt x="30600" y="269025"/>
                    </a:lnTo>
                    <a:lnTo>
                      <a:pt x="34425" y="295801"/>
                    </a:lnTo>
                    <a:lnTo>
                      <a:pt x="16575" y="324488"/>
                    </a:lnTo>
                    <a:lnTo>
                      <a:pt x="22950" y="349988"/>
                    </a:lnTo>
                    <a:lnTo>
                      <a:pt x="0" y="371026"/>
                    </a:lnTo>
                    <a:lnTo>
                      <a:pt x="1275" y="372301"/>
                    </a:lnTo>
                    <a:lnTo>
                      <a:pt x="15300" y="371026"/>
                    </a:lnTo>
                    <a:lnTo>
                      <a:pt x="143438" y="355088"/>
                    </a:lnTo>
                    <a:lnTo>
                      <a:pt x="199538" y="347438"/>
                    </a:lnTo>
                    <a:lnTo>
                      <a:pt x="232051" y="342976"/>
                    </a:lnTo>
                    <a:lnTo>
                      <a:pt x="233326" y="342976"/>
                    </a:lnTo>
                    <a:lnTo>
                      <a:pt x="232688" y="341701"/>
                    </a:lnTo>
                    <a:lnTo>
                      <a:pt x="340426" y="327038"/>
                    </a:lnTo>
                    <a:lnTo>
                      <a:pt x="392063" y="320663"/>
                    </a:lnTo>
                    <a:lnTo>
                      <a:pt x="494701" y="304088"/>
                    </a:lnTo>
                    <a:lnTo>
                      <a:pt x="513826" y="300900"/>
                    </a:lnTo>
                    <a:lnTo>
                      <a:pt x="525301" y="299625"/>
                    </a:lnTo>
                    <a:lnTo>
                      <a:pt x="580126" y="288788"/>
                    </a:lnTo>
                    <a:lnTo>
                      <a:pt x="593514" y="286238"/>
                    </a:lnTo>
                    <a:lnTo>
                      <a:pt x="643876" y="276038"/>
                    </a:lnTo>
                    <a:lnTo>
                      <a:pt x="653439" y="274763"/>
                    </a:lnTo>
                    <a:lnTo>
                      <a:pt x="653439" y="268388"/>
                    </a:lnTo>
                    <a:lnTo>
                      <a:pt x="652801" y="239701"/>
                    </a:lnTo>
                    <a:lnTo>
                      <a:pt x="676389" y="226951"/>
                    </a:lnTo>
                    <a:lnTo>
                      <a:pt x="677664" y="210375"/>
                    </a:lnTo>
                    <a:lnTo>
                      <a:pt x="705077" y="185513"/>
                    </a:lnTo>
                    <a:lnTo>
                      <a:pt x="730577" y="179138"/>
                    </a:lnTo>
                    <a:lnTo>
                      <a:pt x="783489" y="131325"/>
                    </a:lnTo>
                    <a:lnTo>
                      <a:pt x="803252" y="101363"/>
                    </a:lnTo>
                    <a:lnTo>
                      <a:pt x="818552" y="107100"/>
                    </a:lnTo>
                    <a:lnTo>
                      <a:pt x="852977" y="73312"/>
                    </a:lnTo>
                    <a:lnTo>
                      <a:pt x="871464" y="71400"/>
                    </a:lnTo>
                    <a:lnTo>
                      <a:pt x="888040" y="37613"/>
                    </a:lnTo>
                    <a:lnTo>
                      <a:pt x="895052" y="38250"/>
                    </a:lnTo>
                    <a:lnTo>
                      <a:pt x="894415" y="10200"/>
                    </a:lnTo>
                    <a:lnTo>
                      <a:pt x="897602" y="0"/>
                    </a:lnTo>
                    <a:lnTo>
                      <a:pt x="886765" y="1912"/>
                    </a:lnTo>
                    <a:lnTo>
                      <a:pt x="850427" y="12750"/>
                    </a:lnTo>
                    <a:lnTo>
                      <a:pt x="806439" y="22313"/>
                    </a:lnTo>
                    <a:lnTo>
                      <a:pt x="696789" y="44625"/>
                    </a:lnTo>
                    <a:lnTo>
                      <a:pt x="685314" y="46538"/>
                    </a:lnTo>
                    <a:lnTo>
                      <a:pt x="682764" y="49087"/>
                    </a:lnTo>
                    <a:lnTo>
                      <a:pt x="682764" y="49087"/>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1" name="Freeform 57">
                <a:extLst>
                  <a:ext uri="{FF2B5EF4-FFF2-40B4-BE49-F238E27FC236}">
                    <a16:creationId xmlns:a16="http://schemas.microsoft.com/office/drawing/2014/main" id="{F153D1C9-23C1-E2DB-C342-C6E7DD1C3747}"/>
                  </a:ext>
                </a:extLst>
              </p:cNvPr>
              <p:cNvSpPr/>
              <p:nvPr/>
            </p:nvSpPr>
            <p:spPr>
              <a:xfrm>
                <a:off x="6113192" y="2341524"/>
                <a:ext cx="826201" cy="505538"/>
              </a:xfrm>
              <a:custGeom>
                <a:avLst/>
                <a:gdLst>
                  <a:gd name="connsiteX0" fmla="*/ 808352 w 826201"/>
                  <a:gd name="connsiteY0" fmla="*/ 313013 h 505538"/>
                  <a:gd name="connsiteX1" fmla="*/ 810264 w 826201"/>
                  <a:gd name="connsiteY1" fmla="*/ 313013 h 505538"/>
                  <a:gd name="connsiteX2" fmla="*/ 812177 w 826201"/>
                  <a:gd name="connsiteY2" fmla="*/ 312376 h 505538"/>
                  <a:gd name="connsiteX3" fmla="*/ 812177 w 826201"/>
                  <a:gd name="connsiteY3" fmla="*/ 312376 h 505538"/>
                  <a:gd name="connsiteX4" fmla="*/ 810902 w 826201"/>
                  <a:gd name="connsiteY4" fmla="*/ 309188 h 505538"/>
                  <a:gd name="connsiteX5" fmla="*/ 808352 w 826201"/>
                  <a:gd name="connsiteY5" fmla="*/ 313013 h 505538"/>
                  <a:gd name="connsiteX6" fmla="*/ 808352 w 826201"/>
                  <a:gd name="connsiteY6" fmla="*/ 313013 h 505538"/>
                  <a:gd name="connsiteX7" fmla="*/ 808352 w 826201"/>
                  <a:gd name="connsiteY7" fmla="*/ 313013 h 505538"/>
                  <a:gd name="connsiteX8" fmla="*/ 786677 w 826201"/>
                  <a:gd name="connsiteY8" fmla="*/ 240975 h 505538"/>
                  <a:gd name="connsiteX9" fmla="*/ 786677 w 826201"/>
                  <a:gd name="connsiteY9" fmla="*/ 244163 h 505538"/>
                  <a:gd name="connsiteX10" fmla="*/ 789864 w 826201"/>
                  <a:gd name="connsiteY10" fmla="*/ 242250 h 505538"/>
                  <a:gd name="connsiteX11" fmla="*/ 786677 w 826201"/>
                  <a:gd name="connsiteY11" fmla="*/ 240975 h 505538"/>
                  <a:gd name="connsiteX12" fmla="*/ 798152 w 826201"/>
                  <a:gd name="connsiteY12" fmla="*/ 218025 h 505538"/>
                  <a:gd name="connsiteX13" fmla="*/ 797514 w 826201"/>
                  <a:gd name="connsiteY13" fmla="*/ 212925 h 505538"/>
                  <a:gd name="connsiteX14" fmla="*/ 797514 w 826201"/>
                  <a:gd name="connsiteY14" fmla="*/ 212925 h 505538"/>
                  <a:gd name="connsiteX15" fmla="*/ 798152 w 826201"/>
                  <a:gd name="connsiteY15" fmla="*/ 218025 h 505538"/>
                  <a:gd name="connsiteX16" fmla="*/ 793689 w 826201"/>
                  <a:gd name="connsiteY16" fmla="*/ 226313 h 505538"/>
                  <a:gd name="connsiteX17" fmla="*/ 792414 w 826201"/>
                  <a:gd name="connsiteY17" fmla="*/ 234600 h 505538"/>
                  <a:gd name="connsiteX18" fmla="*/ 790502 w 826201"/>
                  <a:gd name="connsiteY18" fmla="*/ 237788 h 505538"/>
                  <a:gd name="connsiteX19" fmla="*/ 793689 w 826201"/>
                  <a:gd name="connsiteY19" fmla="*/ 226313 h 505538"/>
                  <a:gd name="connsiteX20" fmla="*/ 793689 w 826201"/>
                  <a:gd name="connsiteY20" fmla="*/ 226313 h 505538"/>
                  <a:gd name="connsiteX21" fmla="*/ 800064 w 826201"/>
                  <a:gd name="connsiteY21" fmla="*/ 209738 h 505538"/>
                  <a:gd name="connsiteX22" fmla="*/ 800701 w 826201"/>
                  <a:gd name="connsiteY22" fmla="*/ 205913 h 505538"/>
                  <a:gd name="connsiteX23" fmla="*/ 800064 w 826201"/>
                  <a:gd name="connsiteY23" fmla="*/ 209738 h 505538"/>
                  <a:gd name="connsiteX24" fmla="*/ 800064 w 826201"/>
                  <a:gd name="connsiteY24" fmla="*/ 209738 h 505538"/>
                  <a:gd name="connsiteX25" fmla="*/ 800064 w 826201"/>
                  <a:gd name="connsiteY25" fmla="*/ 209738 h 505538"/>
                  <a:gd name="connsiteX26" fmla="*/ 803889 w 826201"/>
                  <a:gd name="connsiteY26" fmla="*/ 191888 h 505538"/>
                  <a:gd name="connsiteX27" fmla="*/ 805802 w 826201"/>
                  <a:gd name="connsiteY27" fmla="*/ 187425 h 505538"/>
                  <a:gd name="connsiteX28" fmla="*/ 802614 w 826201"/>
                  <a:gd name="connsiteY28" fmla="*/ 198900 h 505538"/>
                  <a:gd name="connsiteX29" fmla="*/ 803889 w 826201"/>
                  <a:gd name="connsiteY29" fmla="*/ 191888 h 505538"/>
                  <a:gd name="connsiteX30" fmla="*/ 804527 w 826201"/>
                  <a:gd name="connsiteY30" fmla="*/ 182325 h 505538"/>
                  <a:gd name="connsiteX31" fmla="*/ 807076 w 826201"/>
                  <a:gd name="connsiteY31" fmla="*/ 168300 h 505538"/>
                  <a:gd name="connsiteX32" fmla="*/ 803889 w 826201"/>
                  <a:gd name="connsiteY32" fmla="*/ 171488 h 505538"/>
                  <a:gd name="connsiteX33" fmla="*/ 804527 w 826201"/>
                  <a:gd name="connsiteY33" fmla="*/ 182325 h 505538"/>
                  <a:gd name="connsiteX34" fmla="*/ 804527 w 826201"/>
                  <a:gd name="connsiteY34" fmla="*/ 182325 h 505538"/>
                  <a:gd name="connsiteX35" fmla="*/ 816002 w 826201"/>
                  <a:gd name="connsiteY35" fmla="*/ 119213 h 505538"/>
                  <a:gd name="connsiteX36" fmla="*/ 817277 w 826201"/>
                  <a:gd name="connsiteY36" fmla="*/ 113475 h 505538"/>
                  <a:gd name="connsiteX37" fmla="*/ 816639 w 826201"/>
                  <a:gd name="connsiteY37" fmla="*/ 114750 h 505538"/>
                  <a:gd name="connsiteX38" fmla="*/ 816002 w 826201"/>
                  <a:gd name="connsiteY38" fmla="*/ 119213 h 505538"/>
                  <a:gd name="connsiteX39" fmla="*/ 816002 w 826201"/>
                  <a:gd name="connsiteY39" fmla="*/ 119213 h 505538"/>
                  <a:gd name="connsiteX40" fmla="*/ 813452 w 826201"/>
                  <a:gd name="connsiteY40" fmla="*/ 103913 h 505538"/>
                  <a:gd name="connsiteX41" fmla="*/ 805164 w 826201"/>
                  <a:gd name="connsiteY41" fmla="*/ 107100 h 505538"/>
                  <a:gd name="connsiteX42" fmla="*/ 792414 w 826201"/>
                  <a:gd name="connsiteY42" fmla="*/ 112838 h 505538"/>
                  <a:gd name="connsiteX43" fmla="*/ 787951 w 826201"/>
                  <a:gd name="connsiteY43" fmla="*/ 118575 h 505538"/>
                  <a:gd name="connsiteX44" fmla="*/ 789864 w 826201"/>
                  <a:gd name="connsiteY44" fmla="*/ 119213 h 505538"/>
                  <a:gd name="connsiteX45" fmla="*/ 774564 w 826201"/>
                  <a:gd name="connsiteY45" fmla="*/ 215475 h 505538"/>
                  <a:gd name="connsiteX46" fmla="*/ 780302 w 826201"/>
                  <a:gd name="connsiteY46" fmla="*/ 230775 h 505538"/>
                  <a:gd name="connsiteX47" fmla="*/ 789864 w 826201"/>
                  <a:gd name="connsiteY47" fmla="*/ 191250 h 505538"/>
                  <a:gd name="connsiteX48" fmla="*/ 806439 w 826201"/>
                  <a:gd name="connsiteY48" fmla="*/ 138975 h 505538"/>
                  <a:gd name="connsiteX49" fmla="*/ 813452 w 826201"/>
                  <a:gd name="connsiteY49" fmla="*/ 103913 h 505538"/>
                  <a:gd name="connsiteX50" fmla="*/ 813452 w 826201"/>
                  <a:gd name="connsiteY50" fmla="*/ 103913 h 505538"/>
                  <a:gd name="connsiteX51" fmla="*/ 813452 w 826201"/>
                  <a:gd name="connsiteY51" fmla="*/ 103913 h 505538"/>
                  <a:gd name="connsiteX52" fmla="*/ 826202 w 826201"/>
                  <a:gd name="connsiteY52" fmla="*/ 98813 h 505538"/>
                  <a:gd name="connsiteX53" fmla="*/ 824289 w 826201"/>
                  <a:gd name="connsiteY53" fmla="*/ 99450 h 505538"/>
                  <a:gd name="connsiteX54" fmla="*/ 823652 w 826201"/>
                  <a:gd name="connsiteY54" fmla="*/ 102000 h 505538"/>
                  <a:gd name="connsiteX55" fmla="*/ 820464 w 826201"/>
                  <a:gd name="connsiteY55" fmla="*/ 121763 h 505538"/>
                  <a:gd name="connsiteX56" fmla="*/ 823014 w 826201"/>
                  <a:gd name="connsiteY56" fmla="*/ 114750 h 505538"/>
                  <a:gd name="connsiteX57" fmla="*/ 826202 w 826201"/>
                  <a:gd name="connsiteY57" fmla="*/ 98813 h 505538"/>
                  <a:gd name="connsiteX58" fmla="*/ 826202 w 826201"/>
                  <a:gd name="connsiteY58" fmla="*/ 98813 h 505538"/>
                  <a:gd name="connsiteX59" fmla="*/ 154913 w 826201"/>
                  <a:gd name="connsiteY59" fmla="*/ 344888 h 505538"/>
                  <a:gd name="connsiteX60" fmla="*/ 150450 w 826201"/>
                  <a:gd name="connsiteY60" fmla="*/ 351263 h 505538"/>
                  <a:gd name="connsiteX61" fmla="*/ 119213 w 826201"/>
                  <a:gd name="connsiteY61" fmla="*/ 390151 h 505538"/>
                  <a:gd name="connsiteX62" fmla="*/ 94988 w 826201"/>
                  <a:gd name="connsiteY62" fmla="*/ 409276 h 505538"/>
                  <a:gd name="connsiteX63" fmla="*/ 89888 w 826201"/>
                  <a:gd name="connsiteY63" fmla="*/ 425851 h 505538"/>
                  <a:gd name="connsiteX64" fmla="*/ 52913 w 826201"/>
                  <a:gd name="connsiteY64" fmla="*/ 474938 h 505538"/>
                  <a:gd name="connsiteX65" fmla="*/ 4463 w 826201"/>
                  <a:gd name="connsiteY65" fmla="*/ 500439 h 505538"/>
                  <a:gd name="connsiteX66" fmla="*/ 0 w 826201"/>
                  <a:gd name="connsiteY66" fmla="*/ 505538 h 505538"/>
                  <a:gd name="connsiteX67" fmla="*/ 11475 w 826201"/>
                  <a:gd name="connsiteY67" fmla="*/ 503626 h 505538"/>
                  <a:gd name="connsiteX68" fmla="*/ 121125 w 826201"/>
                  <a:gd name="connsiteY68" fmla="*/ 481313 h 505538"/>
                  <a:gd name="connsiteX69" fmla="*/ 165113 w 826201"/>
                  <a:gd name="connsiteY69" fmla="*/ 471751 h 505538"/>
                  <a:gd name="connsiteX70" fmla="*/ 201450 w 826201"/>
                  <a:gd name="connsiteY70" fmla="*/ 460913 h 505538"/>
                  <a:gd name="connsiteX71" fmla="*/ 212288 w 826201"/>
                  <a:gd name="connsiteY71" fmla="*/ 459001 h 505538"/>
                  <a:gd name="connsiteX72" fmla="*/ 212926 w 826201"/>
                  <a:gd name="connsiteY72" fmla="*/ 460276 h 505538"/>
                  <a:gd name="connsiteX73" fmla="*/ 378676 w 826201"/>
                  <a:gd name="connsiteY73" fmla="*/ 429038 h 505538"/>
                  <a:gd name="connsiteX74" fmla="*/ 542513 w 826201"/>
                  <a:gd name="connsiteY74" fmla="*/ 387601 h 505538"/>
                  <a:gd name="connsiteX75" fmla="*/ 799427 w 826201"/>
                  <a:gd name="connsiteY75" fmla="*/ 314288 h 505538"/>
                  <a:gd name="connsiteX76" fmla="*/ 799427 w 826201"/>
                  <a:gd name="connsiteY76" fmla="*/ 314288 h 505538"/>
                  <a:gd name="connsiteX77" fmla="*/ 797514 w 826201"/>
                  <a:gd name="connsiteY77" fmla="*/ 311101 h 505538"/>
                  <a:gd name="connsiteX78" fmla="*/ 796877 w 826201"/>
                  <a:gd name="connsiteY78" fmla="*/ 309188 h 505538"/>
                  <a:gd name="connsiteX79" fmla="*/ 801339 w 826201"/>
                  <a:gd name="connsiteY79" fmla="*/ 313651 h 505538"/>
                  <a:gd name="connsiteX80" fmla="*/ 801339 w 826201"/>
                  <a:gd name="connsiteY80" fmla="*/ 313651 h 505538"/>
                  <a:gd name="connsiteX81" fmla="*/ 801339 w 826201"/>
                  <a:gd name="connsiteY81" fmla="*/ 313651 h 505538"/>
                  <a:gd name="connsiteX82" fmla="*/ 806439 w 826201"/>
                  <a:gd name="connsiteY82" fmla="*/ 312376 h 505538"/>
                  <a:gd name="connsiteX83" fmla="*/ 805802 w 826201"/>
                  <a:gd name="connsiteY83" fmla="*/ 311738 h 505538"/>
                  <a:gd name="connsiteX84" fmla="*/ 801339 w 826201"/>
                  <a:gd name="connsiteY84" fmla="*/ 290063 h 505538"/>
                  <a:gd name="connsiteX85" fmla="*/ 804527 w 826201"/>
                  <a:gd name="connsiteY85" fmla="*/ 290701 h 505538"/>
                  <a:gd name="connsiteX86" fmla="*/ 815364 w 826201"/>
                  <a:gd name="connsiteY86" fmla="*/ 309826 h 505538"/>
                  <a:gd name="connsiteX87" fmla="*/ 815364 w 826201"/>
                  <a:gd name="connsiteY87" fmla="*/ 309826 h 505538"/>
                  <a:gd name="connsiteX88" fmla="*/ 815364 w 826201"/>
                  <a:gd name="connsiteY88" fmla="*/ 309826 h 505538"/>
                  <a:gd name="connsiteX89" fmla="*/ 817277 w 826201"/>
                  <a:gd name="connsiteY89" fmla="*/ 309188 h 505538"/>
                  <a:gd name="connsiteX90" fmla="*/ 818552 w 826201"/>
                  <a:gd name="connsiteY90" fmla="*/ 308551 h 505538"/>
                  <a:gd name="connsiteX91" fmla="*/ 816002 w 826201"/>
                  <a:gd name="connsiteY91" fmla="*/ 303451 h 505538"/>
                  <a:gd name="connsiteX92" fmla="*/ 789227 w 826201"/>
                  <a:gd name="connsiteY92" fmla="*/ 263288 h 505538"/>
                  <a:gd name="connsiteX93" fmla="*/ 756076 w 826201"/>
                  <a:gd name="connsiteY93" fmla="*/ 269025 h 505538"/>
                  <a:gd name="connsiteX94" fmla="*/ 741414 w 826201"/>
                  <a:gd name="connsiteY94" fmla="*/ 281138 h 505538"/>
                  <a:gd name="connsiteX95" fmla="*/ 727389 w 826201"/>
                  <a:gd name="connsiteY95" fmla="*/ 268388 h 505538"/>
                  <a:gd name="connsiteX96" fmla="*/ 678939 w 826201"/>
                  <a:gd name="connsiteY96" fmla="*/ 252451 h 505538"/>
                  <a:gd name="connsiteX97" fmla="*/ 645789 w 826201"/>
                  <a:gd name="connsiteY97" fmla="*/ 251175 h 505538"/>
                  <a:gd name="connsiteX98" fmla="*/ 710814 w 826201"/>
                  <a:gd name="connsiteY98" fmla="*/ 245438 h 505538"/>
                  <a:gd name="connsiteX99" fmla="*/ 746514 w 826201"/>
                  <a:gd name="connsiteY99" fmla="*/ 269663 h 505538"/>
                  <a:gd name="connsiteX100" fmla="*/ 757351 w 826201"/>
                  <a:gd name="connsiteY100" fmla="*/ 253725 h 505538"/>
                  <a:gd name="connsiteX101" fmla="*/ 728027 w 826201"/>
                  <a:gd name="connsiteY101" fmla="*/ 217388 h 505538"/>
                  <a:gd name="connsiteX102" fmla="*/ 748427 w 826201"/>
                  <a:gd name="connsiteY102" fmla="*/ 218663 h 505538"/>
                  <a:gd name="connsiteX103" fmla="*/ 736951 w 826201"/>
                  <a:gd name="connsiteY103" fmla="*/ 188700 h 505538"/>
                  <a:gd name="connsiteX104" fmla="*/ 711451 w 826201"/>
                  <a:gd name="connsiteY104" fmla="*/ 189975 h 505538"/>
                  <a:gd name="connsiteX105" fmla="*/ 650889 w 826201"/>
                  <a:gd name="connsiteY105" fmla="*/ 140250 h 505538"/>
                  <a:gd name="connsiteX106" fmla="*/ 643239 w 826201"/>
                  <a:gd name="connsiteY106" fmla="*/ 140250 h 505538"/>
                  <a:gd name="connsiteX107" fmla="*/ 729302 w 826201"/>
                  <a:gd name="connsiteY107" fmla="*/ 182325 h 505538"/>
                  <a:gd name="connsiteX108" fmla="*/ 723564 w 826201"/>
                  <a:gd name="connsiteY108" fmla="*/ 152363 h 505538"/>
                  <a:gd name="connsiteX109" fmla="*/ 729302 w 826201"/>
                  <a:gd name="connsiteY109" fmla="*/ 142163 h 505538"/>
                  <a:gd name="connsiteX110" fmla="*/ 685314 w 826201"/>
                  <a:gd name="connsiteY110" fmla="*/ 125588 h 505538"/>
                  <a:gd name="connsiteX111" fmla="*/ 647701 w 826201"/>
                  <a:gd name="connsiteY111" fmla="*/ 123038 h 505538"/>
                  <a:gd name="connsiteX112" fmla="*/ 627939 w 826201"/>
                  <a:gd name="connsiteY112" fmla="*/ 107738 h 505538"/>
                  <a:gd name="connsiteX113" fmla="*/ 612639 w 826201"/>
                  <a:gd name="connsiteY113" fmla="*/ 117938 h 505538"/>
                  <a:gd name="connsiteX114" fmla="*/ 606901 w 826201"/>
                  <a:gd name="connsiteY114" fmla="*/ 73313 h 505538"/>
                  <a:gd name="connsiteX115" fmla="*/ 613276 w 826201"/>
                  <a:gd name="connsiteY115" fmla="*/ 74588 h 505538"/>
                  <a:gd name="connsiteX116" fmla="*/ 612001 w 826201"/>
                  <a:gd name="connsiteY116" fmla="*/ 38888 h 505538"/>
                  <a:gd name="connsiteX117" fmla="*/ 610726 w 826201"/>
                  <a:gd name="connsiteY117" fmla="*/ 37613 h 505538"/>
                  <a:gd name="connsiteX118" fmla="*/ 609451 w 826201"/>
                  <a:gd name="connsiteY118" fmla="*/ 38250 h 505538"/>
                  <a:gd name="connsiteX119" fmla="*/ 608176 w 826201"/>
                  <a:gd name="connsiteY119" fmla="*/ 37613 h 505538"/>
                  <a:gd name="connsiteX120" fmla="*/ 604989 w 826201"/>
                  <a:gd name="connsiteY120" fmla="*/ 35063 h 505538"/>
                  <a:gd name="connsiteX121" fmla="*/ 603076 w 826201"/>
                  <a:gd name="connsiteY121" fmla="*/ 33150 h 505538"/>
                  <a:gd name="connsiteX122" fmla="*/ 582676 w 826201"/>
                  <a:gd name="connsiteY122" fmla="*/ 23587 h 505538"/>
                  <a:gd name="connsiteX123" fmla="*/ 561638 w 826201"/>
                  <a:gd name="connsiteY123" fmla="*/ 8287 h 505538"/>
                  <a:gd name="connsiteX124" fmla="*/ 531676 w 826201"/>
                  <a:gd name="connsiteY124" fmla="*/ 638 h 505538"/>
                  <a:gd name="connsiteX125" fmla="*/ 529763 w 826201"/>
                  <a:gd name="connsiteY125" fmla="*/ 0 h 505538"/>
                  <a:gd name="connsiteX126" fmla="*/ 529763 w 826201"/>
                  <a:gd name="connsiteY126" fmla="*/ 638 h 505538"/>
                  <a:gd name="connsiteX127" fmla="*/ 525939 w 826201"/>
                  <a:gd name="connsiteY127" fmla="*/ 28050 h 505538"/>
                  <a:gd name="connsiteX128" fmla="*/ 466651 w 826201"/>
                  <a:gd name="connsiteY128" fmla="*/ 2550 h 505538"/>
                  <a:gd name="connsiteX129" fmla="*/ 467926 w 826201"/>
                  <a:gd name="connsiteY129" fmla="*/ 39525 h 505538"/>
                  <a:gd name="connsiteX130" fmla="*/ 434776 w 826201"/>
                  <a:gd name="connsiteY130" fmla="*/ 102000 h 505538"/>
                  <a:gd name="connsiteX131" fmla="*/ 415013 w 826201"/>
                  <a:gd name="connsiteY131" fmla="*/ 123675 h 505538"/>
                  <a:gd name="connsiteX132" fmla="*/ 402263 w 826201"/>
                  <a:gd name="connsiteY132" fmla="*/ 161288 h 505538"/>
                  <a:gd name="connsiteX133" fmla="*/ 363376 w 826201"/>
                  <a:gd name="connsiteY133" fmla="*/ 147900 h 505538"/>
                  <a:gd name="connsiteX134" fmla="*/ 344251 w 826201"/>
                  <a:gd name="connsiteY134" fmla="*/ 235238 h 505538"/>
                  <a:gd name="connsiteX135" fmla="*/ 328951 w 826201"/>
                  <a:gd name="connsiteY135" fmla="*/ 265201 h 505538"/>
                  <a:gd name="connsiteX136" fmla="*/ 326401 w 826201"/>
                  <a:gd name="connsiteY136" fmla="*/ 303451 h 505538"/>
                  <a:gd name="connsiteX137" fmla="*/ 314926 w 826201"/>
                  <a:gd name="connsiteY137" fmla="*/ 321938 h 505538"/>
                  <a:gd name="connsiteX138" fmla="*/ 272213 w 826201"/>
                  <a:gd name="connsiteY138" fmla="*/ 334688 h 505538"/>
                  <a:gd name="connsiteX139" fmla="*/ 237151 w 826201"/>
                  <a:gd name="connsiteY139" fmla="*/ 362738 h 505538"/>
                  <a:gd name="connsiteX140" fmla="*/ 220575 w 826201"/>
                  <a:gd name="connsiteY140" fmla="*/ 365288 h 505538"/>
                  <a:gd name="connsiteX141" fmla="*/ 204638 w 826201"/>
                  <a:gd name="connsiteY141" fmla="*/ 379313 h 505538"/>
                  <a:gd name="connsiteX142" fmla="*/ 164475 w 826201"/>
                  <a:gd name="connsiteY142" fmla="*/ 364651 h 505538"/>
                  <a:gd name="connsiteX143" fmla="*/ 156188 w 826201"/>
                  <a:gd name="connsiteY143" fmla="*/ 343613 h 505538"/>
                  <a:gd name="connsiteX144" fmla="*/ 154913 w 826201"/>
                  <a:gd name="connsiteY144" fmla="*/ 344888 h 505538"/>
                  <a:gd name="connsiteX145" fmla="*/ 154913 w 826201"/>
                  <a:gd name="connsiteY145" fmla="*/ 344888 h 5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826201" h="505538">
                    <a:moveTo>
                      <a:pt x="808352" y="313013"/>
                    </a:moveTo>
                    <a:lnTo>
                      <a:pt x="810264" y="313013"/>
                    </a:lnTo>
                    <a:lnTo>
                      <a:pt x="812177" y="312376"/>
                    </a:lnTo>
                    <a:lnTo>
                      <a:pt x="812177" y="312376"/>
                    </a:lnTo>
                    <a:lnTo>
                      <a:pt x="810902" y="309188"/>
                    </a:lnTo>
                    <a:lnTo>
                      <a:pt x="808352" y="313013"/>
                    </a:lnTo>
                    <a:lnTo>
                      <a:pt x="808352" y="313013"/>
                    </a:lnTo>
                    <a:lnTo>
                      <a:pt x="808352" y="313013"/>
                    </a:lnTo>
                    <a:close/>
                    <a:moveTo>
                      <a:pt x="786677" y="240975"/>
                    </a:moveTo>
                    <a:lnTo>
                      <a:pt x="786677" y="244163"/>
                    </a:lnTo>
                    <a:lnTo>
                      <a:pt x="789864" y="242250"/>
                    </a:lnTo>
                    <a:lnTo>
                      <a:pt x="786677" y="240975"/>
                    </a:lnTo>
                    <a:close/>
                    <a:moveTo>
                      <a:pt x="798152" y="218025"/>
                    </a:moveTo>
                    <a:lnTo>
                      <a:pt x="797514" y="212925"/>
                    </a:lnTo>
                    <a:lnTo>
                      <a:pt x="797514" y="212925"/>
                    </a:lnTo>
                    <a:lnTo>
                      <a:pt x="798152" y="218025"/>
                    </a:lnTo>
                    <a:close/>
                    <a:moveTo>
                      <a:pt x="793689" y="226313"/>
                    </a:moveTo>
                    <a:lnTo>
                      <a:pt x="792414" y="234600"/>
                    </a:lnTo>
                    <a:lnTo>
                      <a:pt x="790502" y="237788"/>
                    </a:lnTo>
                    <a:lnTo>
                      <a:pt x="793689" y="226313"/>
                    </a:lnTo>
                    <a:lnTo>
                      <a:pt x="793689" y="226313"/>
                    </a:lnTo>
                    <a:close/>
                    <a:moveTo>
                      <a:pt x="800064" y="209738"/>
                    </a:moveTo>
                    <a:lnTo>
                      <a:pt x="800701" y="205913"/>
                    </a:lnTo>
                    <a:lnTo>
                      <a:pt x="800064" y="209738"/>
                    </a:lnTo>
                    <a:lnTo>
                      <a:pt x="800064" y="209738"/>
                    </a:lnTo>
                    <a:lnTo>
                      <a:pt x="800064" y="209738"/>
                    </a:lnTo>
                    <a:close/>
                    <a:moveTo>
                      <a:pt x="803889" y="191888"/>
                    </a:moveTo>
                    <a:lnTo>
                      <a:pt x="805802" y="187425"/>
                    </a:lnTo>
                    <a:lnTo>
                      <a:pt x="802614" y="198900"/>
                    </a:lnTo>
                    <a:lnTo>
                      <a:pt x="803889" y="191888"/>
                    </a:lnTo>
                    <a:close/>
                    <a:moveTo>
                      <a:pt x="804527" y="182325"/>
                    </a:moveTo>
                    <a:lnTo>
                      <a:pt x="807076" y="168300"/>
                    </a:lnTo>
                    <a:lnTo>
                      <a:pt x="803889" y="171488"/>
                    </a:lnTo>
                    <a:lnTo>
                      <a:pt x="804527" y="182325"/>
                    </a:lnTo>
                    <a:lnTo>
                      <a:pt x="804527" y="182325"/>
                    </a:lnTo>
                    <a:close/>
                    <a:moveTo>
                      <a:pt x="816002" y="119213"/>
                    </a:moveTo>
                    <a:lnTo>
                      <a:pt x="817277" y="113475"/>
                    </a:lnTo>
                    <a:lnTo>
                      <a:pt x="816639" y="114750"/>
                    </a:lnTo>
                    <a:lnTo>
                      <a:pt x="816002" y="119213"/>
                    </a:lnTo>
                    <a:lnTo>
                      <a:pt x="816002" y="119213"/>
                    </a:lnTo>
                    <a:close/>
                    <a:moveTo>
                      <a:pt x="813452" y="103913"/>
                    </a:moveTo>
                    <a:lnTo>
                      <a:pt x="805164" y="107100"/>
                    </a:lnTo>
                    <a:lnTo>
                      <a:pt x="792414" y="112838"/>
                    </a:lnTo>
                    <a:lnTo>
                      <a:pt x="787951" y="118575"/>
                    </a:lnTo>
                    <a:lnTo>
                      <a:pt x="789864" y="119213"/>
                    </a:lnTo>
                    <a:lnTo>
                      <a:pt x="774564" y="215475"/>
                    </a:lnTo>
                    <a:lnTo>
                      <a:pt x="780302" y="230775"/>
                    </a:lnTo>
                    <a:lnTo>
                      <a:pt x="789864" y="191250"/>
                    </a:lnTo>
                    <a:lnTo>
                      <a:pt x="806439" y="138975"/>
                    </a:lnTo>
                    <a:lnTo>
                      <a:pt x="813452" y="103913"/>
                    </a:lnTo>
                    <a:lnTo>
                      <a:pt x="813452" y="103913"/>
                    </a:lnTo>
                    <a:lnTo>
                      <a:pt x="813452" y="103913"/>
                    </a:lnTo>
                    <a:close/>
                    <a:moveTo>
                      <a:pt x="826202" y="98813"/>
                    </a:moveTo>
                    <a:lnTo>
                      <a:pt x="824289" y="99450"/>
                    </a:lnTo>
                    <a:lnTo>
                      <a:pt x="823652" y="102000"/>
                    </a:lnTo>
                    <a:lnTo>
                      <a:pt x="820464" y="121763"/>
                    </a:lnTo>
                    <a:lnTo>
                      <a:pt x="823014" y="114750"/>
                    </a:lnTo>
                    <a:lnTo>
                      <a:pt x="826202" y="98813"/>
                    </a:lnTo>
                    <a:lnTo>
                      <a:pt x="826202" y="98813"/>
                    </a:lnTo>
                    <a:close/>
                    <a:moveTo>
                      <a:pt x="154913" y="344888"/>
                    </a:moveTo>
                    <a:lnTo>
                      <a:pt x="150450" y="351263"/>
                    </a:lnTo>
                    <a:lnTo>
                      <a:pt x="119213" y="390151"/>
                    </a:lnTo>
                    <a:lnTo>
                      <a:pt x="94988" y="409276"/>
                    </a:lnTo>
                    <a:lnTo>
                      <a:pt x="89888" y="425851"/>
                    </a:lnTo>
                    <a:lnTo>
                      <a:pt x="52913" y="474938"/>
                    </a:lnTo>
                    <a:lnTo>
                      <a:pt x="4463" y="500439"/>
                    </a:lnTo>
                    <a:lnTo>
                      <a:pt x="0" y="505538"/>
                    </a:lnTo>
                    <a:lnTo>
                      <a:pt x="11475" y="503626"/>
                    </a:lnTo>
                    <a:lnTo>
                      <a:pt x="121125" y="481313"/>
                    </a:lnTo>
                    <a:lnTo>
                      <a:pt x="165113" y="471751"/>
                    </a:lnTo>
                    <a:lnTo>
                      <a:pt x="201450" y="460913"/>
                    </a:lnTo>
                    <a:lnTo>
                      <a:pt x="212288" y="459001"/>
                    </a:lnTo>
                    <a:lnTo>
                      <a:pt x="212926" y="460276"/>
                    </a:lnTo>
                    <a:lnTo>
                      <a:pt x="378676" y="429038"/>
                    </a:lnTo>
                    <a:lnTo>
                      <a:pt x="542513" y="387601"/>
                    </a:lnTo>
                    <a:lnTo>
                      <a:pt x="799427" y="314288"/>
                    </a:lnTo>
                    <a:lnTo>
                      <a:pt x="799427" y="314288"/>
                    </a:lnTo>
                    <a:lnTo>
                      <a:pt x="797514" y="311101"/>
                    </a:lnTo>
                    <a:lnTo>
                      <a:pt x="796877" y="309188"/>
                    </a:lnTo>
                    <a:lnTo>
                      <a:pt x="801339" y="313651"/>
                    </a:lnTo>
                    <a:lnTo>
                      <a:pt x="801339" y="313651"/>
                    </a:lnTo>
                    <a:lnTo>
                      <a:pt x="801339" y="313651"/>
                    </a:lnTo>
                    <a:lnTo>
                      <a:pt x="806439" y="312376"/>
                    </a:lnTo>
                    <a:lnTo>
                      <a:pt x="805802" y="311738"/>
                    </a:lnTo>
                    <a:lnTo>
                      <a:pt x="801339" y="290063"/>
                    </a:lnTo>
                    <a:lnTo>
                      <a:pt x="804527" y="290701"/>
                    </a:lnTo>
                    <a:lnTo>
                      <a:pt x="815364" y="309826"/>
                    </a:lnTo>
                    <a:lnTo>
                      <a:pt x="815364" y="309826"/>
                    </a:lnTo>
                    <a:lnTo>
                      <a:pt x="815364" y="309826"/>
                    </a:lnTo>
                    <a:lnTo>
                      <a:pt x="817277" y="309188"/>
                    </a:lnTo>
                    <a:lnTo>
                      <a:pt x="818552" y="308551"/>
                    </a:lnTo>
                    <a:lnTo>
                      <a:pt x="816002" y="303451"/>
                    </a:lnTo>
                    <a:lnTo>
                      <a:pt x="789227" y="263288"/>
                    </a:lnTo>
                    <a:lnTo>
                      <a:pt x="756076" y="269025"/>
                    </a:lnTo>
                    <a:lnTo>
                      <a:pt x="741414" y="281138"/>
                    </a:lnTo>
                    <a:lnTo>
                      <a:pt x="727389" y="268388"/>
                    </a:lnTo>
                    <a:lnTo>
                      <a:pt x="678939" y="252451"/>
                    </a:lnTo>
                    <a:lnTo>
                      <a:pt x="645789" y="251175"/>
                    </a:lnTo>
                    <a:lnTo>
                      <a:pt x="710814" y="245438"/>
                    </a:lnTo>
                    <a:lnTo>
                      <a:pt x="746514" y="269663"/>
                    </a:lnTo>
                    <a:lnTo>
                      <a:pt x="757351" y="253725"/>
                    </a:lnTo>
                    <a:lnTo>
                      <a:pt x="728027" y="217388"/>
                    </a:lnTo>
                    <a:lnTo>
                      <a:pt x="748427" y="218663"/>
                    </a:lnTo>
                    <a:lnTo>
                      <a:pt x="736951" y="188700"/>
                    </a:lnTo>
                    <a:lnTo>
                      <a:pt x="711451" y="189975"/>
                    </a:lnTo>
                    <a:lnTo>
                      <a:pt x="650889" y="140250"/>
                    </a:lnTo>
                    <a:lnTo>
                      <a:pt x="643239" y="140250"/>
                    </a:lnTo>
                    <a:lnTo>
                      <a:pt x="729302" y="182325"/>
                    </a:lnTo>
                    <a:lnTo>
                      <a:pt x="723564" y="152363"/>
                    </a:lnTo>
                    <a:lnTo>
                      <a:pt x="729302" y="142163"/>
                    </a:lnTo>
                    <a:lnTo>
                      <a:pt x="685314" y="125588"/>
                    </a:lnTo>
                    <a:lnTo>
                      <a:pt x="647701" y="123038"/>
                    </a:lnTo>
                    <a:lnTo>
                      <a:pt x="627939" y="107738"/>
                    </a:lnTo>
                    <a:lnTo>
                      <a:pt x="612639" y="117938"/>
                    </a:lnTo>
                    <a:lnTo>
                      <a:pt x="606901" y="73313"/>
                    </a:lnTo>
                    <a:lnTo>
                      <a:pt x="613276" y="74588"/>
                    </a:lnTo>
                    <a:lnTo>
                      <a:pt x="612001" y="38888"/>
                    </a:lnTo>
                    <a:lnTo>
                      <a:pt x="610726" y="37613"/>
                    </a:lnTo>
                    <a:lnTo>
                      <a:pt x="609451" y="38250"/>
                    </a:lnTo>
                    <a:lnTo>
                      <a:pt x="608176" y="37613"/>
                    </a:lnTo>
                    <a:lnTo>
                      <a:pt x="604989" y="35063"/>
                    </a:lnTo>
                    <a:lnTo>
                      <a:pt x="603076" y="33150"/>
                    </a:lnTo>
                    <a:lnTo>
                      <a:pt x="582676" y="23587"/>
                    </a:lnTo>
                    <a:lnTo>
                      <a:pt x="561638" y="8287"/>
                    </a:lnTo>
                    <a:lnTo>
                      <a:pt x="531676" y="638"/>
                    </a:lnTo>
                    <a:lnTo>
                      <a:pt x="529763" y="0"/>
                    </a:lnTo>
                    <a:lnTo>
                      <a:pt x="529763" y="638"/>
                    </a:lnTo>
                    <a:lnTo>
                      <a:pt x="525939" y="28050"/>
                    </a:lnTo>
                    <a:lnTo>
                      <a:pt x="466651" y="2550"/>
                    </a:lnTo>
                    <a:lnTo>
                      <a:pt x="467926" y="39525"/>
                    </a:lnTo>
                    <a:lnTo>
                      <a:pt x="434776" y="102000"/>
                    </a:lnTo>
                    <a:lnTo>
                      <a:pt x="415013" y="123675"/>
                    </a:lnTo>
                    <a:lnTo>
                      <a:pt x="402263" y="161288"/>
                    </a:lnTo>
                    <a:lnTo>
                      <a:pt x="363376" y="147900"/>
                    </a:lnTo>
                    <a:lnTo>
                      <a:pt x="344251" y="235238"/>
                    </a:lnTo>
                    <a:lnTo>
                      <a:pt x="328951" y="265201"/>
                    </a:lnTo>
                    <a:lnTo>
                      <a:pt x="326401" y="303451"/>
                    </a:lnTo>
                    <a:lnTo>
                      <a:pt x="314926" y="321938"/>
                    </a:lnTo>
                    <a:lnTo>
                      <a:pt x="272213" y="334688"/>
                    </a:lnTo>
                    <a:lnTo>
                      <a:pt x="237151" y="362738"/>
                    </a:lnTo>
                    <a:lnTo>
                      <a:pt x="220575" y="365288"/>
                    </a:lnTo>
                    <a:lnTo>
                      <a:pt x="204638" y="379313"/>
                    </a:lnTo>
                    <a:lnTo>
                      <a:pt x="164475" y="364651"/>
                    </a:lnTo>
                    <a:lnTo>
                      <a:pt x="156188" y="343613"/>
                    </a:lnTo>
                    <a:lnTo>
                      <a:pt x="154913" y="344888"/>
                    </a:lnTo>
                    <a:lnTo>
                      <a:pt x="154913" y="34488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2" name="Freeform 58">
                <a:extLst>
                  <a:ext uri="{FF2B5EF4-FFF2-40B4-BE49-F238E27FC236}">
                    <a16:creationId xmlns:a16="http://schemas.microsoft.com/office/drawing/2014/main" id="{5C47E4EB-C371-C244-2182-3AFF0138B64B}"/>
                  </a:ext>
                </a:extLst>
              </p:cNvPr>
              <p:cNvSpPr/>
              <p:nvPr/>
            </p:nvSpPr>
            <p:spPr>
              <a:xfrm>
                <a:off x="5028803" y="1558035"/>
                <a:ext cx="549525" cy="613276"/>
              </a:xfrm>
              <a:custGeom>
                <a:avLst/>
                <a:gdLst>
                  <a:gd name="connsiteX0" fmla="*/ 549526 w 549525"/>
                  <a:gd name="connsiteY0" fmla="*/ 195075 h 613276"/>
                  <a:gd name="connsiteX1" fmla="*/ 533588 w 549525"/>
                  <a:gd name="connsiteY1" fmla="*/ 214838 h 613276"/>
                  <a:gd name="connsiteX2" fmla="*/ 523388 w 549525"/>
                  <a:gd name="connsiteY2" fmla="*/ 244163 h 613276"/>
                  <a:gd name="connsiteX3" fmla="*/ 527851 w 549525"/>
                  <a:gd name="connsiteY3" fmla="*/ 260100 h 613276"/>
                  <a:gd name="connsiteX4" fmla="*/ 549526 w 549525"/>
                  <a:gd name="connsiteY4" fmla="*/ 195075 h 613276"/>
                  <a:gd name="connsiteX5" fmla="*/ 181050 w 549525"/>
                  <a:gd name="connsiteY5" fmla="*/ 43988 h 613276"/>
                  <a:gd name="connsiteX6" fmla="*/ 191250 w 549525"/>
                  <a:gd name="connsiteY6" fmla="*/ 30600 h 613276"/>
                  <a:gd name="connsiteX7" fmla="*/ 184238 w 549525"/>
                  <a:gd name="connsiteY7" fmla="*/ 36975 h 613276"/>
                  <a:gd name="connsiteX8" fmla="*/ 181050 w 549525"/>
                  <a:gd name="connsiteY8" fmla="*/ 43988 h 613276"/>
                  <a:gd name="connsiteX9" fmla="*/ 195713 w 549525"/>
                  <a:gd name="connsiteY9" fmla="*/ 22950 h 613276"/>
                  <a:gd name="connsiteX10" fmla="*/ 192525 w 549525"/>
                  <a:gd name="connsiteY10" fmla="*/ 19125 h 613276"/>
                  <a:gd name="connsiteX11" fmla="*/ 185513 w 549525"/>
                  <a:gd name="connsiteY11" fmla="*/ 23587 h 613276"/>
                  <a:gd name="connsiteX12" fmla="*/ 195713 w 549525"/>
                  <a:gd name="connsiteY12" fmla="*/ 22950 h 613276"/>
                  <a:gd name="connsiteX13" fmla="*/ 195713 w 549525"/>
                  <a:gd name="connsiteY13" fmla="*/ 22950 h 613276"/>
                  <a:gd name="connsiteX14" fmla="*/ 56100 w 549525"/>
                  <a:gd name="connsiteY14" fmla="*/ 58650 h 613276"/>
                  <a:gd name="connsiteX15" fmla="*/ 41438 w 549525"/>
                  <a:gd name="connsiteY15" fmla="*/ 75225 h 613276"/>
                  <a:gd name="connsiteX16" fmla="*/ 48450 w 549525"/>
                  <a:gd name="connsiteY16" fmla="*/ 151725 h 613276"/>
                  <a:gd name="connsiteX17" fmla="*/ 7650 w 549525"/>
                  <a:gd name="connsiteY17" fmla="*/ 188700 h 613276"/>
                  <a:gd name="connsiteX18" fmla="*/ 0 w 549525"/>
                  <a:gd name="connsiteY18" fmla="*/ 224400 h 613276"/>
                  <a:gd name="connsiteX19" fmla="*/ 22313 w 549525"/>
                  <a:gd name="connsiteY19" fmla="*/ 244800 h 613276"/>
                  <a:gd name="connsiteX20" fmla="*/ 15938 w 549525"/>
                  <a:gd name="connsiteY20" fmla="*/ 333413 h 613276"/>
                  <a:gd name="connsiteX21" fmla="*/ 39525 w 549525"/>
                  <a:gd name="connsiteY21" fmla="*/ 351263 h 613276"/>
                  <a:gd name="connsiteX22" fmla="*/ 54825 w 549525"/>
                  <a:gd name="connsiteY22" fmla="*/ 352538 h 613276"/>
                  <a:gd name="connsiteX23" fmla="*/ 103913 w 549525"/>
                  <a:gd name="connsiteY23" fmla="*/ 382501 h 613276"/>
                  <a:gd name="connsiteX24" fmla="*/ 135150 w 549525"/>
                  <a:gd name="connsiteY24" fmla="*/ 415013 h 613276"/>
                  <a:gd name="connsiteX25" fmla="*/ 174038 w 549525"/>
                  <a:gd name="connsiteY25" fmla="*/ 434776 h 613276"/>
                  <a:gd name="connsiteX26" fmla="*/ 183600 w 549525"/>
                  <a:gd name="connsiteY26" fmla="*/ 484501 h 613276"/>
                  <a:gd name="connsiteX27" fmla="*/ 183600 w 549525"/>
                  <a:gd name="connsiteY27" fmla="*/ 487688 h 613276"/>
                  <a:gd name="connsiteX28" fmla="*/ 183600 w 549525"/>
                  <a:gd name="connsiteY28" fmla="*/ 487688 h 613276"/>
                  <a:gd name="connsiteX29" fmla="*/ 202088 w 549525"/>
                  <a:gd name="connsiteY29" fmla="*/ 510001 h 613276"/>
                  <a:gd name="connsiteX30" fmla="*/ 196988 w 549525"/>
                  <a:gd name="connsiteY30" fmla="*/ 527213 h 613276"/>
                  <a:gd name="connsiteX31" fmla="*/ 203363 w 549525"/>
                  <a:gd name="connsiteY31" fmla="*/ 564826 h 613276"/>
                  <a:gd name="connsiteX32" fmla="*/ 222488 w 549525"/>
                  <a:gd name="connsiteY32" fmla="*/ 591601 h 613276"/>
                  <a:gd name="connsiteX33" fmla="*/ 257550 w 549525"/>
                  <a:gd name="connsiteY33" fmla="*/ 610089 h 613276"/>
                  <a:gd name="connsiteX34" fmla="*/ 256913 w 549525"/>
                  <a:gd name="connsiteY34" fmla="*/ 613276 h 613276"/>
                  <a:gd name="connsiteX35" fmla="*/ 256913 w 549525"/>
                  <a:gd name="connsiteY35" fmla="*/ 613276 h 613276"/>
                  <a:gd name="connsiteX36" fmla="*/ 397163 w 549525"/>
                  <a:gd name="connsiteY36" fmla="*/ 597339 h 613276"/>
                  <a:gd name="connsiteX37" fmla="*/ 449438 w 549525"/>
                  <a:gd name="connsiteY37" fmla="*/ 590964 h 613276"/>
                  <a:gd name="connsiteX38" fmla="*/ 536138 w 549525"/>
                  <a:gd name="connsiteY38" fmla="*/ 578851 h 613276"/>
                  <a:gd name="connsiteX39" fmla="*/ 533588 w 549525"/>
                  <a:gd name="connsiteY39" fmla="*/ 568651 h 613276"/>
                  <a:gd name="connsiteX40" fmla="*/ 533588 w 549525"/>
                  <a:gd name="connsiteY40" fmla="*/ 538051 h 613276"/>
                  <a:gd name="connsiteX41" fmla="*/ 516376 w 549525"/>
                  <a:gd name="connsiteY41" fmla="*/ 505538 h 613276"/>
                  <a:gd name="connsiteX42" fmla="*/ 511913 w 549525"/>
                  <a:gd name="connsiteY42" fmla="*/ 465376 h 613276"/>
                  <a:gd name="connsiteX43" fmla="*/ 520201 w 549525"/>
                  <a:gd name="connsiteY43" fmla="*/ 420113 h 613276"/>
                  <a:gd name="connsiteX44" fmla="*/ 515738 w 549525"/>
                  <a:gd name="connsiteY44" fmla="*/ 385688 h 613276"/>
                  <a:gd name="connsiteX45" fmla="*/ 531039 w 549525"/>
                  <a:gd name="connsiteY45" fmla="*/ 342976 h 613276"/>
                  <a:gd name="connsiteX46" fmla="*/ 525301 w 549525"/>
                  <a:gd name="connsiteY46" fmla="*/ 335963 h 613276"/>
                  <a:gd name="connsiteX47" fmla="*/ 526576 w 549525"/>
                  <a:gd name="connsiteY47" fmla="*/ 296438 h 613276"/>
                  <a:gd name="connsiteX48" fmla="*/ 534863 w 549525"/>
                  <a:gd name="connsiteY48" fmla="*/ 265838 h 613276"/>
                  <a:gd name="connsiteX49" fmla="*/ 524664 w 549525"/>
                  <a:gd name="connsiteY49" fmla="*/ 255001 h 613276"/>
                  <a:gd name="connsiteX50" fmla="*/ 506176 w 549525"/>
                  <a:gd name="connsiteY50" fmla="*/ 261376 h 613276"/>
                  <a:gd name="connsiteX51" fmla="*/ 495338 w 549525"/>
                  <a:gd name="connsiteY51" fmla="*/ 288788 h 613276"/>
                  <a:gd name="connsiteX52" fmla="*/ 471113 w 549525"/>
                  <a:gd name="connsiteY52" fmla="*/ 302813 h 613276"/>
                  <a:gd name="connsiteX53" fmla="*/ 478763 w 549525"/>
                  <a:gd name="connsiteY53" fmla="*/ 269025 h 613276"/>
                  <a:gd name="connsiteX54" fmla="*/ 500439 w 549525"/>
                  <a:gd name="connsiteY54" fmla="*/ 239700 h 613276"/>
                  <a:gd name="connsiteX55" fmla="*/ 501713 w 549525"/>
                  <a:gd name="connsiteY55" fmla="*/ 226950 h 613276"/>
                  <a:gd name="connsiteX56" fmla="*/ 502351 w 549525"/>
                  <a:gd name="connsiteY56" fmla="*/ 226313 h 613276"/>
                  <a:gd name="connsiteX57" fmla="*/ 471113 w 549525"/>
                  <a:gd name="connsiteY57" fmla="*/ 195075 h 613276"/>
                  <a:gd name="connsiteX58" fmla="*/ 471113 w 549525"/>
                  <a:gd name="connsiteY58" fmla="*/ 151088 h 613276"/>
                  <a:gd name="connsiteX59" fmla="*/ 436688 w 549525"/>
                  <a:gd name="connsiteY59" fmla="*/ 122400 h 613276"/>
                  <a:gd name="connsiteX60" fmla="*/ 388876 w 549525"/>
                  <a:gd name="connsiteY60" fmla="*/ 119213 h 613276"/>
                  <a:gd name="connsiteX61" fmla="*/ 339788 w 549525"/>
                  <a:gd name="connsiteY61" fmla="*/ 106463 h 613276"/>
                  <a:gd name="connsiteX62" fmla="*/ 234600 w 549525"/>
                  <a:gd name="connsiteY62" fmla="*/ 73950 h 613276"/>
                  <a:gd name="connsiteX63" fmla="*/ 214200 w 549525"/>
                  <a:gd name="connsiteY63" fmla="*/ 62475 h 613276"/>
                  <a:gd name="connsiteX64" fmla="*/ 212288 w 549525"/>
                  <a:gd name="connsiteY64" fmla="*/ 64387 h 613276"/>
                  <a:gd name="connsiteX65" fmla="*/ 179138 w 549525"/>
                  <a:gd name="connsiteY65" fmla="*/ 59925 h 613276"/>
                  <a:gd name="connsiteX66" fmla="*/ 167663 w 549525"/>
                  <a:gd name="connsiteY66" fmla="*/ 66300 h 613276"/>
                  <a:gd name="connsiteX67" fmla="*/ 172125 w 549525"/>
                  <a:gd name="connsiteY67" fmla="*/ 19125 h 613276"/>
                  <a:gd name="connsiteX68" fmla="*/ 119212 w 549525"/>
                  <a:gd name="connsiteY68" fmla="*/ 46538 h 613276"/>
                  <a:gd name="connsiteX69" fmla="*/ 54825 w 549525"/>
                  <a:gd name="connsiteY69" fmla="*/ 57375 h 613276"/>
                  <a:gd name="connsiteX70" fmla="*/ 56100 w 549525"/>
                  <a:gd name="connsiteY70" fmla="*/ 58650 h 613276"/>
                  <a:gd name="connsiteX71" fmla="*/ 56100 w 549525"/>
                  <a:gd name="connsiteY71" fmla="*/ 58650 h 613276"/>
                  <a:gd name="connsiteX72" fmla="*/ 181688 w 549525"/>
                  <a:gd name="connsiteY72" fmla="*/ 24863 h 613276"/>
                  <a:gd name="connsiteX73" fmla="*/ 180413 w 549525"/>
                  <a:gd name="connsiteY73" fmla="*/ 20400 h 613276"/>
                  <a:gd name="connsiteX74" fmla="*/ 175950 w 549525"/>
                  <a:gd name="connsiteY74" fmla="*/ 22313 h 613276"/>
                  <a:gd name="connsiteX75" fmla="*/ 181688 w 549525"/>
                  <a:gd name="connsiteY75" fmla="*/ 24863 h 613276"/>
                  <a:gd name="connsiteX76" fmla="*/ 158738 w 549525"/>
                  <a:gd name="connsiteY76" fmla="*/ 20400 h 613276"/>
                  <a:gd name="connsiteX77" fmla="*/ 160650 w 549525"/>
                  <a:gd name="connsiteY77" fmla="*/ 16575 h 613276"/>
                  <a:gd name="connsiteX78" fmla="*/ 159375 w 549525"/>
                  <a:gd name="connsiteY78" fmla="*/ 15300 h 613276"/>
                  <a:gd name="connsiteX79" fmla="*/ 158738 w 549525"/>
                  <a:gd name="connsiteY79" fmla="*/ 20400 h 613276"/>
                  <a:gd name="connsiteX80" fmla="*/ 158738 w 549525"/>
                  <a:gd name="connsiteY80" fmla="*/ 20400 h 613276"/>
                  <a:gd name="connsiteX81" fmla="*/ 205275 w 549525"/>
                  <a:gd name="connsiteY81" fmla="*/ 9563 h 613276"/>
                  <a:gd name="connsiteX82" fmla="*/ 203363 w 549525"/>
                  <a:gd name="connsiteY82" fmla="*/ 0 h 613276"/>
                  <a:gd name="connsiteX83" fmla="*/ 201450 w 549525"/>
                  <a:gd name="connsiteY83" fmla="*/ 11475 h 613276"/>
                  <a:gd name="connsiteX84" fmla="*/ 205275 w 549525"/>
                  <a:gd name="connsiteY84" fmla="*/ 9563 h 61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49525" h="613276">
                    <a:moveTo>
                      <a:pt x="549526" y="195075"/>
                    </a:moveTo>
                    <a:lnTo>
                      <a:pt x="533588" y="214838"/>
                    </a:lnTo>
                    <a:lnTo>
                      <a:pt x="523388" y="244163"/>
                    </a:lnTo>
                    <a:lnTo>
                      <a:pt x="527851" y="260100"/>
                    </a:lnTo>
                    <a:lnTo>
                      <a:pt x="549526" y="195075"/>
                    </a:lnTo>
                    <a:close/>
                    <a:moveTo>
                      <a:pt x="181050" y="43988"/>
                    </a:moveTo>
                    <a:lnTo>
                      <a:pt x="191250" y="30600"/>
                    </a:lnTo>
                    <a:lnTo>
                      <a:pt x="184238" y="36975"/>
                    </a:lnTo>
                    <a:lnTo>
                      <a:pt x="181050" y="43988"/>
                    </a:lnTo>
                    <a:close/>
                    <a:moveTo>
                      <a:pt x="195713" y="22950"/>
                    </a:moveTo>
                    <a:lnTo>
                      <a:pt x="192525" y="19125"/>
                    </a:lnTo>
                    <a:lnTo>
                      <a:pt x="185513" y="23587"/>
                    </a:lnTo>
                    <a:lnTo>
                      <a:pt x="195713" y="22950"/>
                    </a:lnTo>
                    <a:lnTo>
                      <a:pt x="195713" y="22950"/>
                    </a:lnTo>
                    <a:close/>
                    <a:moveTo>
                      <a:pt x="56100" y="58650"/>
                    </a:moveTo>
                    <a:lnTo>
                      <a:pt x="41438" y="75225"/>
                    </a:lnTo>
                    <a:lnTo>
                      <a:pt x="48450" y="151725"/>
                    </a:lnTo>
                    <a:lnTo>
                      <a:pt x="7650" y="188700"/>
                    </a:lnTo>
                    <a:lnTo>
                      <a:pt x="0" y="224400"/>
                    </a:lnTo>
                    <a:lnTo>
                      <a:pt x="22313" y="244800"/>
                    </a:lnTo>
                    <a:lnTo>
                      <a:pt x="15938" y="333413"/>
                    </a:lnTo>
                    <a:lnTo>
                      <a:pt x="39525" y="351263"/>
                    </a:lnTo>
                    <a:lnTo>
                      <a:pt x="54825" y="352538"/>
                    </a:lnTo>
                    <a:lnTo>
                      <a:pt x="103913" y="382501"/>
                    </a:lnTo>
                    <a:lnTo>
                      <a:pt x="135150" y="415013"/>
                    </a:lnTo>
                    <a:lnTo>
                      <a:pt x="174038" y="434776"/>
                    </a:lnTo>
                    <a:lnTo>
                      <a:pt x="183600" y="484501"/>
                    </a:lnTo>
                    <a:lnTo>
                      <a:pt x="183600" y="487688"/>
                    </a:lnTo>
                    <a:lnTo>
                      <a:pt x="183600" y="487688"/>
                    </a:lnTo>
                    <a:lnTo>
                      <a:pt x="202088" y="510001"/>
                    </a:lnTo>
                    <a:lnTo>
                      <a:pt x="196988" y="527213"/>
                    </a:lnTo>
                    <a:lnTo>
                      <a:pt x="203363" y="564826"/>
                    </a:lnTo>
                    <a:lnTo>
                      <a:pt x="222488" y="591601"/>
                    </a:lnTo>
                    <a:lnTo>
                      <a:pt x="257550" y="610089"/>
                    </a:lnTo>
                    <a:lnTo>
                      <a:pt x="256913" y="613276"/>
                    </a:lnTo>
                    <a:lnTo>
                      <a:pt x="256913" y="613276"/>
                    </a:lnTo>
                    <a:lnTo>
                      <a:pt x="397163" y="597339"/>
                    </a:lnTo>
                    <a:lnTo>
                      <a:pt x="449438" y="590964"/>
                    </a:lnTo>
                    <a:lnTo>
                      <a:pt x="536138" y="578851"/>
                    </a:lnTo>
                    <a:lnTo>
                      <a:pt x="533588" y="568651"/>
                    </a:lnTo>
                    <a:lnTo>
                      <a:pt x="533588" y="538051"/>
                    </a:lnTo>
                    <a:lnTo>
                      <a:pt x="516376" y="505538"/>
                    </a:lnTo>
                    <a:lnTo>
                      <a:pt x="511913" y="465376"/>
                    </a:lnTo>
                    <a:lnTo>
                      <a:pt x="520201" y="420113"/>
                    </a:lnTo>
                    <a:lnTo>
                      <a:pt x="515738" y="385688"/>
                    </a:lnTo>
                    <a:lnTo>
                      <a:pt x="531039" y="342976"/>
                    </a:lnTo>
                    <a:lnTo>
                      <a:pt x="525301" y="335963"/>
                    </a:lnTo>
                    <a:lnTo>
                      <a:pt x="526576" y="296438"/>
                    </a:lnTo>
                    <a:lnTo>
                      <a:pt x="534863" y="265838"/>
                    </a:lnTo>
                    <a:lnTo>
                      <a:pt x="524664" y="255001"/>
                    </a:lnTo>
                    <a:lnTo>
                      <a:pt x="506176" y="261376"/>
                    </a:lnTo>
                    <a:lnTo>
                      <a:pt x="495338" y="288788"/>
                    </a:lnTo>
                    <a:lnTo>
                      <a:pt x="471113" y="302813"/>
                    </a:lnTo>
                    <a:lnTo>
                      <a:pt x="478763" y="269025"/>
                    </a:lnTo>
                    <a:lnTo>
                      <a:pt x="500439" y="239700"/>
                    </a:lnTo>
                    <a:lnTo>
                      <a:pt x="501713" y="226950"/>
                    </a:lnTo>
                    <a:lnTo>
                      <a:pt x="502351" y="226313"/>
                    </a:lnTo>
                    <a:lnTo>
                      <a:pt x="471113" y="195075"/>
                    </a:lnTo>
                    <a:lnTo>
                      <a:pt x="471113" y="151088"/>
                    </a:lnTo>
                    <a:lnTo>
                      <a:pt x="436688" y="122400"/>
                    </a:lnTo>
                    <a:lnTo>
                      <a:pt x="388876" y="119213"/>
                    </a:lnTo>
                    <a:lnTo>
                      <a:pt x="339788" y="106463"/>
                    </a:lnTo>
                    <a:lnTo>
                      <a:pt x="234600" y="73950"/>
                    </a:lnTo>
                    <a:lnTo>
                      <a:pt x="214200" y="62475"/>
                    </a:lnTo>
                    <a:lnTo>
                      <a:pt x="212288" y="64387"/>
                    </a:lnTo>
                    <a:lnTo>
                      <a:pt x="179138" y="59925"/>
                    </a:lnTo>
                    <a:lnTo>
                      <a:pt x="167663" y="66300"/>
                    </a:lnTo>
                    <a:lnTo>
                      <a:pt x="172125" y="19125"/>
                    </a:lnTo>
                    <a:lnTo>
                      <a:pt x="119212" y="46538"/>
                    </a:lnTo>
                    <a:lnTo>
                      <a:pt x="54825" y="57375"/>
                    </a:lnTo>
                    <a:lnTo>
                      <a:pt x="56100" y="58650"/>
                    </a:lnTo>
                    <a:lnTo>
                      <a:pt x="56100" y="58650"/>
                    </a:lnTo>
                    <a:close/>
                    <a:moveTo>
                      <a:pt x="181688" y="24863"/>
                    </a:moveTo>
                    <a:lnTo>
                      <a:pt x="180413" y="20400"/>
                    </a:lnTo>
                    <a:lnTo>
                      <a:pt x="175950" y="22313"/>
                    </a:lnTo>
                    <a:lnTo>
                      <a:pt x="181688" y="24863"/>
                    </a:lnTo>
                    <a:close/>
                    <a:moveTo>
                      <a:pt x="158738" y="20400"/>
                    </a:moveTo>
                    <a:lnTo>
                      <a:pt x="160650" y="16575"/>
                    </a:lnTo>
                    <a:lnTo>
                      <a:pt x="159375" y="15300"/>
                    </a:lnTo>
                    <a:lnTo>
                      <a:pt x="158738" y="20400"/>
                    </a:lnTo>
                    <a:lnTo>
                      <a:pt x="158738" y="20400"/>
                    </a:lnTo>
                    <a:close/>
                    <a:moveTo>
                      <a:pt x="205275" y="9563"/>
                    </a:moveTo>
                    <a:lnTo>
                      <a:pt x="203363" y="0"/>
                    </a:lnTo>
                    <a:lnTo>
                      <a:pt x="201450" y="11475"/>
                    </a:lnTo>
                    <a:lnTo>
                      <a:pt x="205275" y="9563"/>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3" name="Freeform 59">
                <a:extLst>
                  <a:ext uri="{FF2B5EF4-FFF2-40B4-BE49-F238E27FC236}">
                    <a16:creationId xmlns:a16="http://schemas.microsoft.com/office/drawing/2014/main" id="{C55706C4-7F51-85CF-6D38-CB11191E3F39}"/>
                  </a:ext>
                </a:extLst>
              </p:cNvPr>
              <p:cNvSpPr/>
              <p:nvPr/>
            </p:nvSpPr>
            <p:spPr>
              <a:xfrm>
                <a:off x="6180130" y="2242073"/>
                <a:ext cx="460913" cy="479401"/>
              </a:xfrm>
              <a:custGeom>
                <a:avLst/>
                <a:gdLst>
                  <a:gd name="connsiteX0" fmla="*/ 264563 w 460913"/>
                  <a:gd name="connsiteY0" fmla="*/ 99450 h 479401"/>
                  <a:gd name="connsiteX1" fmla="*/ 173400 w 460913"/>
                  <a:gd name="connsiteY1" fmla="*/ 121763 h 479401"/>
                  <a:gd name="connsiteX2" fmla="*/ 144713 w 460913"/>
                  <a:gd name="connsiteY2" fmla="*/ 0 h 479401"/>
                  <a:gd name="connsiteX3" fmla="*/ 144713 w 460913"/>
                  <a:gd name="connsiteY3" fmla="*/ 0 h 479401"/>
                  <a:gd name="connsiteX4" fmla="*/ 143438 w 460913"/>
                  <a:gd name="connsiteY4" fmla="*/ 638 h 479401"/>
                  <a:gd name="connsiteX5" fmla="*/ 140888 w 460913"/>
                  <a:gd name="connsiteY5" fmla="*/ 140888 h 479401"/>
                  <a:gd name="connsiteX6" fmla="*/ 120488 w 460913"/>
                  <a:gd name="connsiteY6" fmla="*/ 172125 h 479401"/>
                  <a:gd name="connsiteX7" fmla="*/ 96900 w 460913"/>
                  <a:gd name="connsiteY7" fmla="*/ 189975 h 479401"/>
                  <a:gd name="connsiteX8" fmla="*/ 92438 w 460913"/>
                  <a:gd name="connsiteY8" fmla="*/ 184875 h 479401"/>
                  <a:gd name="connsiteX9" fmla="*/ 65663 w 460913"/>
                  <a:gd name="connsiteY9" fmla="*/ 220575 h 479401"/>
                  <a:gd name="connsiteX10" fmla="*/ 67575 w 460913"/>
                  <a:gd name="connsiteY10" fmla="*/ 249263 h 479401"/>
                  <a:gd name="connsiteX11" fmla="*/ 51637 w 460913"/>
                  <a:gd name="connsiteY11" fmla="*/ 251813 h 479401"/>
                  <a:gd name="connsiteX12" fmla="*/ 29963 w 460913"/>
                  <a:gd name="connsiteY12" fmla="*/ 284963 h 479401"/>
                  <a:gd name="connsiteX13" fmla="*/ 37613 w 460913"/>
                  <a:gd name="connsiteY13" fmla="*/ 306638 h 479401"/>
                  <a:gd name="connsiteX14" fmla="*/ 27412 w 460913"/>
                  <a:gd name="connsiteY14" fmla="*/ 327676 h 479401"/>
                  <a:gd name="connsiteX15" fmla="*/ 0 w 460913"/>
                  <a:gd name="connsiteY15" fmla="*/ 341063 h 479401"/>
                  <a:gd name="connsiteX16" fmla="*/ 0 w 460913"/>
                  <a:gd name="connsiteY16" fmla="*/ 341063 h 479401"/>
                  <a:gd name="connsiteX17" fmla="*/ 0 w 460913"/>
                  <a:gd name="connsiteY17" fmla="*/ 342338 h 479401"/>
                  <a:gd name="connsiteX18" fmla="*/ 12750 w 460913"/>
                  <a:gd name="connsiteY18" fmla="*/ 387601 h 479401"/>
                  <a:gd name="connsiteX19" fmla="*/ 49088 w 460913"/>
                  <a:gd name="connsiteY19" fmla="*/ 432226 h 479401"/>
                  <a:gd name="connsiteX20" fmla="*/ 69488 w 460913"/>
                  <a:gd name="connsiteY20" fmla="*/ 443701 h 479401"/>
                  <a:gd name="connsiteX21" fmla="*/ 85425 w 460913"/>
                  <a:gd name="connsiteY21" fmla="*/ 443701 h 479401"/>
                  <a:gd name="connsiteX22" fmla="*/ 87338 w 460913"/>
                  <a:gd name="connsiteY22" fmla="*/ 444338 h 479401"/>
                  <a:gd name="connsiteX23" fmla="*/ 88613 w 460913"/>
                  <a:gd name="connsiteY23" fmla="*/ 444976 h 479401"/>
                  <a:gd name="connsiteX24" fmla="*/ 95625 w 460913"/>
                  <a:gd name="connsiteY24" fmla="*/ 464738 h 479401"/>
                  <a:gd name="connsiteX25" fmla="*/ 135788 w 460913"/>
                  <a:gd name="connsiteY25" fmla="*/ 479401 h 479401"/>
                  <a:gd name="connsiteX26" fmla="*/ 151725 w 460913"/>
                  <a:gd name="connsiteY26" fmla="*/ 465376 h 479401"/>
                  <a:gd name="connsiteX27" fmla="*/ 168300 w 460913"/>
                  <a:gd name="connsiteY27" fmla="*/ 462826 h 479401"/>
                  <a:gd name="connsiteX28" fmla="*/ 203363 w 460913"/>
                  <a:gd name="connsiteY28" fmla="*/ 434776 h 479401"/>
                  <a:gd name="connsiteX29" fmla="*/ 246075 w 460913"/>
                  <a:gd name="connsiteY29" fmla="*/ 422026 h 479401"/>
                  <a:gd name="connsiteX30" fmla="*/ 257551 w 460913"/>
                  <a:gd name="connsiteY30" fmla="*/ 403538 h 479401"/>
                  <a:gd name="connsiteX31" fmla="*/ 260100 w 460913"/>
                  <a:gd name="connsiteY31" fmla="*/ 365288 h 479401"/>
                  <a:gd name="connsiteX32" fmla="*/ 275401 w 460913"/>
                  <a:gd name="connsiteY32" fmla="*/ 335326 h 479401"/>
                  <a:gd name="connsiteX33" fmla="*/ 294526 w 460913"/>
                  <a:gd name="connsiteY33" fmla="*/ 247988 h 479401"/>
                  <a:gd name="connsiteX34" fmla="*/ 333413 w 460913"/>
                  <a:gd name="connsiteY34" fmla="*/ 261376 h 479401"/>
                  <a:gd name="connsiteX35" fmla="*/ 346163 w 460913"/>
                  <a:gd name="connsiteY35" fmla="*/ 223763 h 479401"/>
                  <a:gd name="connsiteX36" fmla="*/ 365926 w 460913"/>
                  <a:gd name="connsiteY36" fmla="*/ 202088 h 479401"/>
                  <a:gd name="connsiteX37" fmla="*/ 399076 w 460913"/>
                  <a:gd name="connsiteY37" fmla="*/ 139613 h 479401"/>
                  <a:gd name="connsiteX38" fmla="*/ 397801 w 460913"/>
                  <a:gd name="connsiteY38" fmla="*/ 102638 h 479401"/>
                  <a:gd name="connsiteX39" fmla="*/ 457089 w 460913"/>
                  <a:gd name="connsiteY39" fmla="*/ 128138 h 479401"/>
                  <a:gd name="connsiteX40" fmla="*/ 460913 w 460913"/>
                  <a:gd name="connsiteY40" fmla="*/ 100725 h 479401"/>
                  <a:gd name="connsiteX41" fmla="*/ 460913 w 460913"/>
                  <a:gd name="connsiteY41" fmla="*/ 100088 h 479401"/>
                  <a:gd name="connsiteX42" fmla="*/ 460913 w 460913"/>
                  <a:gd name="connsiteY42" fmla="*/ 100088 h 479401"/>
                  <a:gd name="connsiteX43" fmla="*/ 442426 w 460913"/>
                  <a:gd name="connsiteY43" fmla="*/ 67575 h 479401"/>
                  <a:gd name="connsiteX44" fmla="*/ 404176 w 460913"/>
                  <a:gd name="connsiteY44" fmla="*/ 63113 h 479401"/>
                  <a:gd name="connsiteX45" fmla="*/ 381863 w 460913"/>
                  <a:gd name="connsiteY45" fmla="*/ 80325 h 479401"/>
                  <a:gd name="connsiteX46" fmla="*/ 381863 w 460913"/>
                  <a:gd name="connsiteY46" fmla="*/ 93075 h 479401"/>
                  <a:gd name="connsiteX47" fmla="*/ 362738 w 460913"/>
                  <a:gd name="connsiteY47" fmla="*/ 97538 h 479401"/>
                  <a:gd name="connsiteX48" fmla="*/ 334051 w 460913"/>
                  <a:gd name="connsiteY48" fmla="*/ 117300 h 479401"/>
                  <a:gd name="connsiteX49" fmla="*/ 319388 w 460913"/>
                  <a:gd name="connsiteY49" fmla="*/ 120488 h 479401"/>
                  <a:gd name="connsiteX50" fmla="*/ 289426 w 460913"/>
                  <a:gd name="connsiteY50" fmla="*/ 161925 h 479401"/>
                  <a:gd name="connsiteX51" fmla="*/ 274763 w 460913"/>
                  <a:gd name="connsiteY51" fmla="*/ 94350 h 479401"/>
                  <a:gd name="connsiteX52" fmla="*/ 264563 w 460913"/>
                  <a:gd name="connsiteY52" fmla="*/ 99450 h 479401"/>
                  <a:gd name="connsiteX53" fmla="*/ 264563 w 460913"/>
                  <a:gd name="connsiteY53" fmla="*/ 99450 h 47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0913" h="479401">
                    <a:moveTo>
                      <a:pt x="264563" y="99450"/>
                    </a:moveTo>
                    <a:lnTo>
                      <a:pt x="173400" y="121763"/>
                    </a:lnTo>
                    <a:lnTo>
                      <a:pt x="144713" y="0"/>
                    </a:lnTo>
                    <a:lnTo>
                      <a:pt x="144713" y="0"/>
                    </a:lnTo>
                    <a:lnTo>
                      <a:pt x="143438" y="638"/>
                    </a:lnTo>
                    <a:lnTo>
                      <a:pt x="140888" y="140888"/>
                    </a:lnTo>
                    <a:lnTo>
                      <a:pt x="120488" y="172125"/>
                    </a:lnTo>
                    <a:lnTo>
                      <a:pt x="96900" y="189975"/>
                    </a:lnTo>
                    <a:lnTo>
                      <a:pt x="92438" y="184875"/>
                    </a:lnTo>
                    <a:lnTo>
                      <a:pt x="65663" y="220575"/>
                    </a:lnTo>
                    <a:lnTo>
                      <a:pt x="67575" y="249263"/>
                    </a:lnTo>
                    <a:lnTo>
                      <a:pt x="51637" y="251813"/>
                    </a:lnTo>
                    <a:lnTo>
                      <a:pt x="29963" y="284963"/>
                    </a:lnTo>
                    <a:lnTo>
                      <a:pt x="37613" y="306638"/>
                    </a:lnTo>
                    <a:lnTo>
                      <a:pt x="27412" y="327676"/>
                    </a:lnTo>
                    <a:lnTo>
                      <a:pt x="0" y="341063"/>
                    </a:lnTo>
                    <a:lnTo>
                      <a:pt x="0" y="341063"/>
                    </a:lnTo>
                    <a:lnTo>
                      <a:pt x="0" y="342338"/>
                    </a:lnTo>
                    <a:lnTo>
                      <a:pt x="12750" y="387601"/>
                    </a:lnTo>
                    <a:lnTo>
                      <a:pt x="49088" y="432226"/>
                    </a:lnTo>
                    <a:lnTo>
                      <a:pt x="69488" y="443701"/>
                    </a:lnTo>
                    <a:lnTo>
                      <a:pt x="85425" y="443701"/>
                    </a:lnTo>
                    <a:lnTo>
                      <a:pt x="87338" y="444338"/>
                    </a:lnTo>
                    <a:lnTo>
                      <a:pt x="88613" y="444976"/>
                    </a:lnTo>
                    <a:lnTo>
                      <a:pt x="95625" y="464738"/>
                    </a:lnTo>
                    <a:lnTo>
                      <a:pt x="135788" y="479401"/>
                    </a:lnTo>
                    <a:lnTo>
                      <a:pt x="151725" y="465376"/>
                    </a:lnTo>
                    <a:lnTo>
                      <a:pt x="168300" y="462826"/>
                    </a:lnTo>
                    <a:lnTo>
                      <a:pt x="203363" y="434776"/>
                    </a:lnTo>
                    <a:lnTo>
                      <a:pt x="246075" y="422026"/>
                    </a:lnTo>
                    <a:lnTo>
                      <a:pt x="257551" y="403538"/>
                    </a:lnTo>
                    <a:lnTo>
                      <a:pt x="260100" y="365288"/>
                    </a:lnTo>
                    <a:lnTo>
                      <a:pt x="275401" y="335326"/>
                    </a:lnTo>
                    <a:lnTo>
                      <a:pt x="294526" y="247988"/>
                    </a:lnTo>
                    <a:lnTo>
                      <a:pt x="333413" y="261376"/>
                    </a:lnTo>
                    <a:lnTo>
                      <a:pt x="346163" y="223763"/>
                    </a:lnTo>
                    <a:lnTo>
                      <a:pt x="365926" y="202088"/>
                    </a:lnTo>
                    <a:lnTo>
                      <a:pt x="399076" y="139613"/>
                    </a:lnTo>
                    <a:lnTo>
                      <a:pt x="397801" y="102638"/>
                    </a:lnTo>
                    <a:lnTo>
                      <a:pt x="457089" y="128138"/>
                    </a:lnTo>
                    <a:lnTo>
                      <a:pt x="460913" y="100725"/>
                    </a:lnTo>
                    <a:lnTo>
                      <a:pt x="460913" y="100088"/>
                    </a:lnTo>
                    <a:lnTo>
                      <a:pt x="460913" y="100088"/>
                    </a:lnTo>
                    <a:lnTo>
                      <a:pt x="442426" y="67575"/>
                    </a:lnTo>
                    <a:lnTo>
                      <a:pt x="404176" y="63113"/>
                    </a:lnTo>
                    <a:lnTo>
                      <a:pt x="381863" y="80325"/>
                    </a:lnTo>
                    <a:lnTo>
                      <a:pt x="381863" y="93075"/>
                    </a:lnTo>
                    <a:lnTo>
                      <a:pt x="362738" y="97538"/>
                    </a:lnTo>
                    <a:lnTo>
                      <a:pt x="334051" y="117300"/>
                    </a:lnTo>
                    <a:lnTo>
                      <a:pt x="319388" y="120488"/>
                    </a:lnTo>
                    <a:lnTo>
                      <a:pt x="289426" y="161925"/>
                    </a:lnTo>
                    <a:lnTo>
                      <a:pt x="274763" y="94350"/>
                    </a:lnTo>
                    <a:lnTo>
                      <a:pt x="264563" y="99450"/>
                    </a:lnTo>
                    <a:lnTo>
                      <a:pt x="264563" y="9945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4" name="Freeform 60">
                <a:extLst>
                  <a:ext uri="{FF2B5EF4-FFF2-40B4-BE49-F238E27FC236}">
                    <a16:creationId xmlns:a16="http://schemas.microsoft.com/office/drawing/2014/main" id="{2A4ED132-CB4F-A520-B590-EE65646DF79E}"/>
                  </a:ext>
                </a:extLst>
              </p:cNvPr>
              <p:cNvSpPr/>
              <p:nvPr/>
            </p:nvSpPr>
            <p:spPr>
              <a:xfrm>
                <a:off x="6822731" y="2214661"/>
                <a:ext cx="120487" cy="183600"/>
              </a:xfrm>
              <a:custGeom>
                <a:avLst/>
                <a:gdLst>
                  <a:gd name="connsiteX0" fmla="*/ 0 w 120487"/>
                  <a:gd name="connsiteY0" fmla="*/ 21037 h 183600"/>
                  <a:gd name="connsiteX1" fmla="*/ 2550 w 120487"/>
                  <a:gd name="connsiteY1" fmla="*/ 31238 h 183600"/>
                  <a:gd name="connsiteX2" fmla="*/ 56100 w 120487"/>
                  <a:gd name="connsiteY2" fmla="*/ 183600 h 183600"/>
                  <a:gd name="connsiteX3" fmla="*/ 116663 w 120487"/>
                  <a:gd name="connsiteY3" fmla="*/ 165750 h 183600"/>
                  <a:gd name="connsiteX4" fmla="*/ 116025 w 120487"/>
                  <a:gd name="connsiteY4" fmla="*/ 164475 h 183600"/>
                  <a:gd name="connsiteX5" fmla="*/ 117300 w 120487"/>
                  <a:gd name="connsiteY5" fmla="*/ 164475 h 183600"/>
                  <a:gd name="connsiteX6" fmla="*/ 119213 w 120487"/>
                  <a:gd name="connsiteY6" fmla="*/ 165113 h 183600"/>
                  <a:gd name="connsiteX7" fmla="*/ 119213 w 120487"/>
                  <a:gd name="connsiteY7" fmla="*/ 165113 h 183600"/>
                  <a:gd name="connsiteX8" fmla="*/ 120488 w 120487"/>
                  <a:gd name="connsiteY8" fmla="*/ 164475 h 183600"/>
                  <a:gd name="connsiteX9" fmla="*/ 119213 w 120487"/>
                  <a:gd name="connsiteY9" fmla="*/ 161925 h 183600"/>
                  <a:gd name="connsiteX10" fmla="*/ 103913 w 120487"/>
                  <a:gd name="connsiteY10" fmla="*/ 121125 h 183600"/>
                  <a:gd name="connsiteX11" fmla="*/ 28688 w 120487"/>
                  <a:gd name="connsiteY11" fmla="*/ 49725 h 183600"/>
                  <a:gd name="connsiteX12" fmla="*/ 31875 w 120487"/>
                  <a:gd name="connsiteY12" fmla="*/ 0 h 183600"/>
                  <a:gd name="connsiteX13" fmla="*/ 31875 w 120487"/>
                  <a:gd name="connsiteY13" fmla="*/ 0 h 183600"/>
                  <a:gd name="connsiteX14" fmla="*/ 16575 w 120487"/>
                  <a:gd name="connsiteY14" fmla="*/ 0 h 183600"/>
                  <a:gd name="connsiteX15" fmla="*/ 5100 w 120487"/>
                  <a:gd name="connsiteY15" fmla="*/ 9563 h 183600"/>
                  <a:gd name="connsiteX16" fmla="*/ 0 w 120487"/>
                  <a:gd name="connsiteY16" fmla="*/ 21037 h 183600"/>
                  <a:gd name="connsiteX17" fmla="*/ 0 w 120487"/>
                  <a:gd name="connsiteY17" fmla="*/ 21037 h 183600"/>
                  <a:gd name="connsiteX18" fmla="*/ 0 w 120487"/>
                  <a:gd name="connsiteY18" fmla="*/ 21037 h 18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487" h="183600">
                    <a:moveTo>
                      <a:pt x="0" y="21037"/>
                    </a:moveTo>
                    <a:lnTo>
                      <a:pt x="2550" y="31238"/>
                    </a:lnTo>
                    <a:lnTo>
                      <a:pt x="56100" y="183600"/>
                    </a:lnTo>
                    <a:lnTo>
                      <a:pt x="116663" y="165750"/>
                    </a:lnTo>
                    <a:lnTo>
                      <a:pt x="116025" y="164475"/>
                    </a:lnTo>
                    <a:lnTo>
                      <a:pt x="117300" y="164475"/>
                    </a:lnTo>
                    <a:lnTo>
                      <a:pt x="119213" y="165113"/>
                    </a:lnTo>
                    <a:lnTo>
                      <a:pt x="119213" y="165113"/>
                    </a:lnTo>
                    <a:lnTo>
                      <a:pt x="120488" y="164475"/>
                    </a:lnTo>
                    <a:lnTo>
                      <a:pt x="119213" y="161925"/>
                    </a:lnTo>
                    <a:lnTo>
                      <a:pt x="103913" y="121125"/>
                    </a:lnTo>
                    <a:lnTo>
                      <a:pt x="28688" y="49725"/>
                    </a:lnTo>
                    <a:lnTo>
                      <a:pt x="31875" y="0"/>
                    </a:lnTo>
                    <a:lnTo>
                      <a:pt x="31875" y="0"/>
                    </a:lnTo>
                    <a:lnTo>
                      <a:pt x="16575" y="0"/>
                    </a:lnTo>
                    <a:lnTo>
                      <a:pt x="5100" y="9563"/>
                    </a:lnTo>
                    <a:lnTo>
                      <a:pt x="0" y="21037"/>
                    </a:lnTo>
                    <a:lnTo>
                      <a:pt x="0" y="21037"/>
                    </a:lnTo>
                    <a:lnTo>
                      <a:pt x="0" y="21037"/>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5" name="Freeform 61">
                <a:extLst>
                  <a:ext uri="{FF2B5EF4-FFF2-40B4-BE49-F238E27FC236}">
                    <a16:creationId xmlns:a16="http://schemas.microsoft.com/office/drawing/2014/main" id="{9FC78871-5907-E826-F48E-8E6055DF3B03}"/>
                  </a:ext>
                </a:extLst>
              </p:cNvPr>
              <p:cNvSpPr/>
              <p:nvPr/>
            </p:nvSpPr>
            <p:spPr>
              <a:xfrm>
                <a:off x="6719456" y="2371486"/>
                <a:ext cx="22312" cy="20400"/>
              </a:xfrm>
              <a:custGeom>
                <a:avLst/>
                <a:gdLst>
                  <a:gd name="connsiteX0" fmla="*/ 0 w 22312"/>
                  <a:gd name="connsiteY0" fmla="*/ 5738 h 20400"/>
                  <a:gd name="connsiteX1" fmla="*/ 3188 w 22312"/>
                  <a:gd name="connsiteY1" fmla="*/ 8288 h 20400"/>
                  <a:gd name="connsiteX2" fmla="*/ 4463 w 22312"/>
                  <a:gd name="connsiteY2" fmla="*/ 8925 h 20400"/>
                  <a:gd name="connsiteX3" fmla="*/ 5738 w 22312"/>
                  <a:gd name="connsiteY3" fmla="*/ 8288 h 20400"/>
                  <a:gd name="connsiteX4" fmla="*/ 7013 w 22312"/>
                  <a:gd name="connsiteY4" fmla="*/ 8925 h 20400"/>
                  <a:gd name="connsiteX5" fmla="*/ 11475 w 22312"/>
                  <a:gd name="connsiteY5" fmla="*/ 11475 h 20400"/>
                  <a:gd name="connsiteX6" fmla="*/ 12750 w 22312"/>
                  <a:gd name="connsiteY6" fmla="*/ 13388 h 20400"/>
                  <a:gd name="connsiteX7" fmla="*/ 12750 w 22312"/>
                  <a:gd name="connsiteY7" fmla="*/ 17850 h 20400"/>
                  <a:gd name="connsiteX8" fmla="*/ 14025 w 22312"/>
                  <a:gd name="connsiteY8" fmla="*/ 20400 h 20400"/>
                  <a:gd name="connsiteX9" fmla="*/ 22313 w 22312"/>
                  <a:gd name="connsiteY9" fmla="*/ 5100 h 20400"/>
                  <a:gd name="connsiteX10" fmla="*/ 12750 w 22312"/>
                  <a:gd name="connsiteY10" fmla="*/ 0 h 20400"/>
                  <a:gd name="connsiteX11" fmla="*/ 1275 w 22312"/>
                  <a:gd name="connsiteY11" fmla="*/ 638 h 20400"/>
                  <a:gd name="connsiteX12" fmla="*/ 0 w 22312"/>
                  <a:gd name="connsiteY12" fmla="*/ 5738 h 20400"/>
                  <a:gd name="connsiteX13" fmla="*/ 0 w 22312"/>
                  <a:gd name="connsiteY13" fmla="*/ 5738 h 2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12" h="20400">
                    <a:moveTo>
                      <a:pt x="0" y="5738"/>
                    </a:moveTo>
                    <a:lnTo>
                      <a:pt x="3188" y="8288"/>
                    </a:lnTo>
                    <a:lnTo>
                      <a:pt x="4463" y="8925"/>
                    </a:lnTo>
                    <a:lnTo>
                      <a:pt x="5738" y="8288"/>
                    </a:lnTo>
                    <a:lnTo>
                      <a:pt x="7013" y="8925"/>
                    </a:lnTo>
                    <a:lnTo>
                      <a:pt x="11475" y="11475"/>
                    </a:lnTo>
                    <a:lnTo>
                      <a:pt x="12750" y="13388"/>
                    </a:lnTo>
                    <a:lnTo>
                      <a:pt x="12750" y="17850"/>
                    </a:lnTo>
                    <a:lnTo>
                      <a:pt x="14025" y="20400"/>
                    </a:lnTo>
                    <a:lnTo>
                      <a:pt x="22313" y="5100"/>
                    </a:lnTo>
                    <a:lnTo>
                      <a:pt x="12750" y="0"/>
                    </a:lnTo>
                    <a:lnTo>
                      <a:pt x="1275" y="638"/>
                    </a:lnTo>
                    <a:lnTo>
                      <a:pt x="0" y="5738"/>
                    </a:lnTo>
                    <a:lnTo>
                      <a:pt x="0" y="5738"/>
                    </a:lnTo>
                    <a:close/>
                  </a:path>
                </a:pathLst>
              </a:custGeom>
              <a:solidFill>
                <a:srgbClr val="D8D8D8"/>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6" name="Freeform 62">
                <a:extLst>
                  <a:ext uri="{FF2B5EF4-FFF2-40B4-BE49-F238E27FC236}">
                    <a16:creationId xmlns:a16="http://schemas.microsoft.com/office/drawing/2014/main" id="{BC0609A9-0381-3FAF-C80E-BA94C06DAA5B}"/>
                  </a:ext>
                </a:extLst>
              </p:cNvPr>
              <p:cNvSpPr/>
              <p:nvPr/>
            </p:nvSpPr>
            <p:spPr>
              <a:xfrm>
                <a:off x="6458080" y="2235698"/>
                <a:ext cx="486413" cy="235237"/>
              </a:xfrm>
              <a:custGeom>
                <a:avLst/>
                <a:gdLst>
                  <a:gd name="connsiteX0" fmla="*/ 481951 w 486413"/>
                  <a:gd name="connsiteY0" fmla="*/ 202088 h 235237"/>
                  <a:gd name="connsiteX1" fmla="*/ 486414 w 486413"/>
                  <a:gd name="connsiteY1" fmla="*/ 167663 h 235237"/>
                  <a:gd name="connsiteX2" fmla="*/ 482589 w 486413"/>
                  <a:gd name="connsiteY2" fmla="*/ 193163 h 235237"/>
                  <a:gd name="connsiteX3" fmla="*/ 480039 w 486413"/>
                  <a:gd name="connsiteY3" fmla="*/ 204638 h 235237"/>
                  <a:gd name="connsiteX4" fmla="*/ 479401 w 486413"/>
                  <a:gd name="connsiteY4" fmla="*/ 205913 h 235237"/>
                  <a:gd name="connsiteX5" fmla="*/ 481313 w 486413"/>
                  <a:gd name="connsiteY5" fmla="*/ 205275 h 235237"/>
                  <a:gd name="connsiteX6" fmla="*/ 481951 w 486413"/>
                  <a:gd name="connsiteY6" fmla="*/ 202088 h 235237"/>
                  <a:gd name="connsiteX7" fmla="*/ 481951 w 486413"/>
                  <a:gd name="connsiteY7" fmla="*/ 202088 h 235237"/>
                  <a:gd name="connsiteX8" fmla="*/ 485139 w 486413"/>
                  <a:gd name="connsiteY8" fmla="*/ 142163 h 235237"/>
                  <a:gd name="connsiteX9" fmla="*/ 483864 w 486413"/>
                  <a:gd name="connsiteY9" fmla="*/ 142800 h 235237"/>
                  <a:gd name="connsiteX10" fmla="*/ 485139 w 486413"/>
                  <a:gd name="connsiteY10" fmla="*/ 146625 h 235237"/>
                  <a:gd name="connsiteX11" fmla="*/ 485139 w 486413"/>
                  <a:gd name="connsiteY11" fmla="*/ 154275 h 235237"/>
                  <a:gd name="connsiteX12" fmla="*/ 485139 w 486413"/>
                  <a:gd name="connsiteY12" fmla="*/ 142163 h 235237"/>
                  <a:gd name="connsiteX13" fmla="*/ 485139 w 486413"/>
                  <a:gd name="connsiteY13" fmla="*/ 142163 h 235237"/>
                  <a:gd name="connsiteX14" fmla="*/ 485139 w 486413"/>
                  <a:gd name="connsiteY14" fmla="*/ 142163 h 235237"/>
                  <a:gd name="connsiteX15" fmla="*/ 0 w 486413"/>
                  <a:gd name="connsiteY15" fmla="*/ 102638 h 235237"/>
                  <a:gd name="connsiteX16" fmla="*/ 14663 w 486413"/>
                  <a:gd name="connsiteY16" fmla="*/ 170213 h 235237"/>
                  <a:gd name="connsiteX17" fmla="*/ 44625 w 486413"/>
                  <a:gd name="connsiteY17" fmla="*/ 128775 h 235237"/>
                  <a:gd name="connsiteX18" fmla="*/ 59288 w 486413"/>
                  <a:gd name="connsiteY18" fmla="*/ 125588 h 235237"/>
                  <a:gd name="connsiteX19" fmla="*/ 87975 w 486413"/>
                  <a:gd name="connsiteY19" fmla="*/ 105825 h 235237"/>
                  <a:gd name="connsiteX20" fmla="*/ 107101 w 486413"/>
                  <a:gd name="connsiteY20" fmla="*/ 101363 h 235237"/>
                  <a:gd name="connsiteX21" fmla="*/ 107101 w 486413"/>
                  <a:gd name="connsiteY21" fmla="*/ 88613 h 235237"/>
                  <a:gd name="connsiteX22" fmla="*/ 129413 w 486413"/>
                  <a:gd name="connsiteY22" fmla="*/ 71400 h 235237"/>
                  <a:gd name="connsiteX23" fmla="*/ 167663 w 486413"/>
                  <a:gd name="connsiteY23" fmla="*/ 75863 h 235237"/>
                  <a:gd name="connsiteX24" fmla="*/ 186150 w 486413"/>
                  <a:gd name="connsiteY24" fmla="*/ 108375 h 235237"/>
                  <a:gd name="connsiteX25" fmla="*/ 186150 w 486413"/>
                  <a:gd name="connsiteY25" fmla="*/ 108375 h 235237"/>
                  <a:gd name="connsiteX26" fmla="*/ 188063 w 486413"/>
                  <a:gd name="connsiteY26" fmla="*/ 109013 h 235237"/>
                  <a:gd name="connsiteX27" fmla="*/ 218026 w 486413"/>
                  <a:gd name="connsiteY27" fmla="*/ 116663 h 235237"/>
                  <a:gd name="connsiteX28" fmla="*/ 239063 w 486413"/>
                  <a:gd name="connsiteY28" fmla="*/ 131963 h 235237"/>
                  <a:gd name="connsiteX29" fmla="*/ 259463 w 486413"/>
                  <a:gd name="connsiteY29" fmla="*/ 141525 h 235237"/>
                  <a:gd name="connsiteX30" fmla="*/ 261376 w 486413"/>
                  <a:gd name="connsiteY30" fmla="*/ 143438 h 235237"/>
                  <a:gd name="connsiteX31" fmla="*/ 263926 w 486413"/>
                  <a:gd name="connsiteY31" fmla="*/ 138338 h 235237"/>
                  <a:gd name="connsiteX32" fmla="*/ 275401 w 486413"/>
                  <a:gd name="connsiteY32" fmla="*/ 137700 h 235237"/>
                  <a:gd name="connsiteX33" fmla="*/ 284963 w 486413"/>
                  <a:gd name="connsiteY33" fmla="*/ 142800 h 235237"/>
                  <a:gd name="connsiteX34" fmla="*/ 276676 w 486413"/>
                  <a:gd name="connsiteY34" fmla="*/ 158100 h 235237"/>
                  <a:gd name="connsiteX35" fmla="*/ 276676 w 486413"/>
                  <a:gd name="connsiteY35" fmla="*/ 158738 h 235237"/>
                  <a:gd name="connsiteX36" fmla="*/ 264563 w 486413"/>
                  <a:gd name="connsiteY36" fmla="*/ 195713 h 235237"/>
                  <a:gd name="connsiteX37" fmla="*/ 304088 w 486413"/>
                  <a:gd name="connsiteY37" fmla="*/ 221213 h 235237"/>
                  <a:gd name="connsiteX38" fmla="*/ 343613 w 486413"/>
                  <a:gd name="connsiteY38" fmla="*/ 223125 h 235237"/>
                  <a:gd name="connsiteX39" fmla="*/ 370388 w 486413"/>
                  <a:gd name="connsiteY39" fmla="*/ 235238 h 235237"/>
                  <a:gd name="connsiteX40" fmla="*/ 358914 w 486413"/>
                  <a:gd name="connsiteY40" fmla="*/ 204000 h 235237"/>
                  <a:gd name="connsiteX41" fmla="*/ 325126 w 486413"/>
                  <a:gd name="connsiteY41" fmla="*/ 192525 h 235237"/>
                  <a:gd name="connsiteX42" fmla="*/ 316838 w 486413"/>
                  <a:gd name="connsiteY42" fmla="*/ 165750 h 235237"/>
                  <a:gd name="connsiteX43" fmla="*/ 337876 w 486413"/>
                  <a:gd name="connsiteY43" fmla="*/ 194438 h 235237"/>
                  <a:gd name="connsiteX44" fmla="*/ 355088 w 486413"/>
                  <a:gd name="connsiteY44" fmla="*/ 196988 h 235237"/>
                  <a:gd name="connsiteX45" fmla="*/ 339789 w 486413"/>
                  <a:gd name="connsiteY45" fmla="*/ 181688 h 235237"/>
                  <a:gd name="connsiteX46" fmla="*/ 327676 w 486413"/>
                  <a:gd name="connsiteY46" fmla="*/ 135788 h 235237"/>
                  <a:gd name="connsiteX47" fmla="*/ 330863 w 486413"/>
                  <a:gd name="connsiteY47" fmla="*/ 109013 h 235237"/>
                  <a:gd name="connsiteX48" fmla="*/ 317476 w 486413"/>
                  <a:gd name="connsiteY48" fmla="*/ 79688 h 235237"/>
                  <a:gd name="connsiteX49" fmla="*/ 331501 w 486413"/>
                  <a:gd name="connsiteY49" fmla="*/ 68213 h 235237"/>
                  <a:gd name="connsiteX50" fmla="*/ 342338 w 486413"/>
                  <a:gd name="connsiteY50" fmla="*/ 31238 h 235237"/>
                  <a:gd name="connsiteX51" fmla="*/ 338513 w 486413"/>
                  <a:gd name="connsiteY51" fmla="*/ 86063 h 235237"/>
                  <a:gd name="connsiteX52" fmla="*/ 349988 w 486413"/>
                  <a:gd name="connsiteY52" fmla="*/ 104550 h 235237"/>
                  <a:gd name="connsiteX53" fmla="*/ 360826 w 486413"/>
                  <a:gd name="connsiteY53" fmla="*/ 82875 h 235237"/>
                  <a:gd name="connsiteX54" fmla="*/ 366563 w 486413"/>
                  <a:gd name="connsiteY54" fmla="*/ 118575 h 235237"/>
                  <a:gd name="connsiteX55" fmla="*/ 355088 w 486413"/>
                  <a:gd name="connsiteY55" fmla="*/ 145350 h 235237"/>
                  <a:gd name="connsiteX56" fmla="*/ 386963 w 486413"/>
                  <a:gd name="connsiteY56" fmla="*/ 156825 h 235237"/>
                  <a:gd name="connsiteX57" fmla="*/ 359551 w 486413"/>
                  <a:gd name="connsiteY57" fmla="*/ 166388 h 235237"/>
                  <a:gd name="connsiteX58" fmla="*/ 373576 w 486413"/>
                  <a:gd name="connsiteY58" fmla="*/ 193163 h 235237"/>
                  <a:gd name="connsiteX59" fmla="*/ 396526 w 486413"/>
                  <a:gd name="connsiteY59" fmla="*/ 200813 h 235237"/>
                  <a:gd name="connsiteX60" fmla="*/ 409276 w 486413"/>
                  <a:gd name="connsiteY60" fmla="*/ 178500 h 235237"/>
                  <a:gd name="connsiteX61" fmla="*/ 408001 w 486413"/>
                  <a:gd name="connsiteY61" fmla="*/ 210375 h 235237"/>
                  <a:gd name="connsiteX62" fmla="*/ 429676 w 486413"/>
                  <a:gd name="connsiteY62" fmla="*/ 209738 h 235237"/>
                  <a:gd name="connsiteX63" fmla="*/ 443701 w 486413"/>
                  <a:gd name="connsiteY63" fmla="*/ 225675 h 235237"/>
                  <a:gd name="connsiteX64" fmla="*/ 444338 w 486413"/>
                  <a:gd name="connsiteY64" fmla="*/ 225675 h 235237"/>
                  <a:gd name="connsiteX65" fmla="*/ 448801 w 486413"/>
                  <a:gd name="connsiteY65" fmla="*/ 219938 h 235237"/>
                  <a:gd name="connsiteX66" fmla="*/ 461551 w 486413"/>
                  <a:gd name="connsiteY66" fmla="*/ 214200 h 235237"/>
                  <a:gd name="connsiteX67" fmla="*/ 469839 w 486413"/>
                  <a:gd name="connsiteY67" fmla="*/ 211013 h 235237"/>
                  <a:gd name="connsiteX68" fmla="*/ 469201 w 486413"/>
                  <a:gd name="connsiteY68" fmla="*/ 209738 h 235237"/>
                  <a:gd name="connsiteX69" fmla="*/ 485776 w 486413"/>
                  <a:gd name="connsiteY69" fmla="*/ 160013 h 235237"/>
                  <a:gd name="connsiteX70" fmla="*/ 485776 w 486413"/>
                  <a:gd name="connsiteY70" fmla="*/ 158100 h 235237"/>
                  <a:gd name="connsiteX71" fmla="*/ 482589 w 486413"/>
                  <a:gd name="connsiteY71" fmla="*/ 145350 h 235237"/>
                  <a:gd name="connsiteX72" fmla="*/ 482589 w 486413"/>
                  <a:gd name="connsiteY72" fmla="*/ 144713 h 235237"/>
                  <a:gd name="connsiteX73" fmla="*/ 422026 w 486413"/>
                  <a:gd name="connsiteY73" fmla="*/ 162563 h 235237"/>
                  <a:gd name="connsiteX74" fmla="*/ 368476 w 486413"/>
                  <a:gd name="connsiteY74" fmla="*/ 10200 h 235237"/>
                  <a:gd name="connsiteX75" fmla="*/ 365926 w 486413"/>
                  <a:gd name="connsiteY75" fmla="*/ 0 h 235237"/>
                  <a:gd name="connsiteX76" fmla="*/ 354451 w 486413"/>
                  <a:gd name="connsiteY76" fmla="*/ 3188 h 235237"/>
                  <a:gd name="connsiteX77" fmla="*/ 308551 w 486413"/>
                  <a:gd name="connsiteY77" fmla="*/ 17213 h 235237"/>
                  <a:gd name="connsiteX78" fmla="*/ 57375 w 486413"/>
                  <a:gd name="connsiteY78" fmla="*/ 87338 h 235237"/>
                  <a:gd name="connsiteX79" fmla="*/ 11475 w 486413"/>
                  <a:gd name="connsiteY79" fmla="*/ 99450 h 235237"/>
                  <a:gd name="connsiteX80" fmla="*/ 0 w 486413"/>
                  <a:gd name="connsiteY80" fmla="*/ 102638 h 235237"/>
                  <a:gd name="connsiteX81" fmla="*/ 0 w 486413"/>
                  <a:gd name="connsiteY81" fmla="*/ 102638 h 23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6413" h="235237">
                    <a:moveTo>
                      <a:pt x="481951" y="202088"/>
                    </a:moveTo>
                    <a:lnTo>
                      <a:pt x="486414" y="167663"/>
                    </a:lnTo>
                    <a:lnTo>
                      <a:pt x="482589" y="193163"/>
                    </a:lnTo>
                    <a:lnTo>
                      <a:pt x="480039" y="204638"/>
                    </a:lnTo>
                    <a:lnTo>
                      <a:pt x="479401" y="205913"/>
                    </a:lnTo>
                    <a:lnTo>
                      <a:pt x="481313" y="205275"/>
                    </a:lnTo>
                    <a:lnTo>
                      <a:pt x="481951" y="202088"/>
                    </a:lnTo>
                    <a:lnTo>
                      <a:pt x="481951" y="202088"/>
                    </a:lnTo>
                    <a:close/>
                    <a:moveTo>
                      <a:pt x="485139" y="142163"/>
                    </a:moveTo>
                    <a:lnTo>
                      <a:pt x="483864" y="142800"/>
                    </a:lnTo>
                    <a:lnTo>
                      <a:pt x="485139" y="146625"/>
                    </a:lnTo>
                    <a:lnTo>
                      <a:pt x="485139" y="154275"/>
                    </a:lnTo>
                    <a:lnTo>
                      <a:pt x="485139" y="142163"/>
                    </a:lnTo>
                    <a:lnTo>
                      <a:pt x="485139" y="142163"/>
                    </a:lnTo>
                    <a:lnTo>
                      <a:pt x="485139" y="142163"/>
                    </a:lnTo>
                    <a:close/>
                    <a:moveTo>
                      <a:pt x="0" y="102638"/>
                    </a:moveTo>
                    <a:lnTo>
                      <a:pt x="14663" y="170213"/>
                    </a:lnTo>
                    <a:lnTo>
                      <a:pt x="44625" y="128775"/>
                    </a:lnTo>
                    <a:lnTo>
                      <a:pt x="59288" y="125588"/>
                    </a:lnTo>
                    <a:lnTo>
                      <a:pt x="87975" y="105825"/>
                    </a:lnTo>
                    <a:lnTo>
                      <a:pt x="107101" y="101363"/>
                    </a:lnTo>
                    <a:lnTo>
                      <a:pt x="107101" y="88613"/>
                    </a:lnTo>
                    <a:lnTo>
                      <a:pt x="129413" y="71400"/>
                    </a:lnTo>
                    <a:lnTo>
                      <a:pt x="167663" y="75863"/>
                    </a:lnTo>
                    <a:lnTo>
                      <a:pt x="186150" y="108375"/>
                    </a:lnTo>
                    <a:lnTo>
                      <a:pt x="186150" y="108375"/>
                    </a:lnTo>
                    <a:lnTo>
                      <a:pt x="188063" y="109013"/>
                    </a:lnTo>
                    <a:lnTo>
                      <a:pt x="218026" y="116663"/>
                    </a:lnTo>
                    <a:lnTo>
                      <a:pt x="239063" y="131963"/>
                    </a:lnTo>
                    <a:lnTo>
                      <a:pt x="259463" y="141525"/>
                    </a:lnTo>
                    <a:lnTo>
                      <a:pt x="261376" y="143438"/>
                    </a:lnTo>
                    <a:lnTo>
                      <a:pt x="263926" y="138338"/>
                    </a:lnTo>
                    <a:lnTo>
                      <a:pt x="275401" y="137700"/>
                    </a:lnTo>
                    <a:lnTo>
                      <a:pt x="284963" y="142800"/>
                    </a:lnTo>
                    <a:lnTo>
                      <a:pt x="276676" y="158100"/>
                    </a:lnTo>
                    <a:lnTo>
                      <a:pt x="276676" y="158738"/>
                    </a:lnTo>
                    <a:lnTo>
                      <a:pt x="264563" y="195713"/>
                    </a:lnTo>
                    <a:lnTo>
                      <a:pt x="304088" y="221213"/>
                    </a:lnTo>
                    <a:lnTo>
                      <a:pt x="343613" y="223125"/>
                    </a:lnTo>
                    <a:lnTo>
                      <a:pt x="370388" y="235238"/>
                    </a:lnTo>
                    <a:lnTo>
                      <a:pt x="358914" y="204000"/>
                    </a:lnTo>
                    <a:lnTo>
                      <a:pt x="325126" y="192525"/>
                    </a:lnTo>
                    <a:lnTo>
                      <a:pt x="316838" y="165750"/>
                    </a:lnTo>
                    <a:lnTo>
                      <a:pt x="337876" y="194438"/>
                    </a:lnTo>
                    <a:lnTo>
                      <a:pt x="355088" y="196988"/>
                    </a:lnTo>
                    <a:lnTo>
                      <a:pt x="339789" y="181688"/>
                    </a:lnTo>
                    <a:lnTo>
                      <a:pt x="327676" y="135788"/>
                    </a:lnTo>
                    <a:lnTo>
                      <a:pt x="330863" y="109013"/>
                    </a:lnTo>
                    <a:lnTo>
                      <a:pt x="317476" y="79688"/>
                    </a:lnTo>
                    <a:lnTo>
                      <a:pt x="331501" y="68213"/>
                    </a:lnTo>
                    <a:lnTo>
                      <a:pt x="342338" y="31238"/>
                    </a:lnTo>
                    <a:lnTo>
                      <a:pt x="338513" y="86063"/>
                    </a:lnTo>
                    <a:lnTo>
                      <a:pt x="349988" y="104550"/>
                    </a:lnTo>
                    <a:lnTo>
                      <a:pt x="360826" y="82875"/>
                    </a:lnTo>
                    <a:lnTo>
                      <a:pt x="366563" y="118575"/>
                    </a:lnTo>
                    <a:lnTo>
                      <a:pt x="355088" y="145350"/>
                    </a:lnTo>
                    <a:lnTo>
                      <a:pt x="386963" y="156825"/>
                    </a:lnTo>
                    <a:lnTo>
                      <a:pt x="359551" y="166388"/>
                    </a:lnTo>
                    <a:lnTo>
                      <a:pt x="373576" y="193163"/>
                    </a:lnTo>
                    <a:lnTo>
                      <a:pt x="396526" y="200813"/>
                    </a:lnTo>
                    <a:lnTo>
                      <a:pt x="409276" y="178500"/>
                    </a:lnTo>
                    <a:lnTo>
                      <a:pt x="408001" y="210375"/>
                    </a:lnTo>
                    <a:lnTo>
                      <a:pt x="429676" y="209738"/>
                    </a:lnTo>
                    <a:lnTo>
                      <a:pt x="443701" y="225675"/>
                    </a:lnTo>
                    <a:lnTo>
                      <a:pt x="444338" y="225675"/>
                    </a:lnTo>
                    <a:lnTo>
                      <a:pt x="448801" y="219938"/>
                    </a:lnTo>
                    <a:lnTo>
                      <a:pt x="461551" y="214200"/>
                    </a:lnTo>
                    <a:lnTo>
                      <a:pt x="469839" y="211013"/>
                    </a:lnTo>
                    <a:lnTo>
                      <a:pt x="469201" y="209738"/>
                    </a:lnTo>
                    <a:lnTo>
                      <a:pt x="485776" y="160013"/>
                    </a:lnTo>
                    <a:lnTo>
                      <a:pt x="485776" y="158100"/>
                    </a:lnTo>
                    <a:lnTo>
                      <a:pt x="482589" y="145350"/>
                    </a:lnTo>
                    <a:lnTo>
                      <a:pt x="482589" y="144713"/>
                    </a:lnTo>
                    <a:lnTo>
                      <a:pt x="422026" y="162563"/>
                    </a:lnTo>
                    <a:lnTo>
                      <a:pt x="368476" y="10200"/>
                    </a:lnTo>
                    <a:lnTo>
                      <a:pt x="365926" y="0"/>
                    </a:lnTo>
                    <a:lnTo>
                      <a:pt x="354451" y="3188"/>
                    </a:lnTo>
                    <a:lnTo>
                      <a:pt x="308551" y="17213"/>
                    </a:lnTo>
                    <a:lnTo>
                      <a:pt x="57375" y="87338"/>
                    </a:lnTo>
                    <a:lnTo>
                      <a:pt x="11475" y="99450"/>
                    </a:lnTo>
                    <a:lnTo>
                      <a:pt x="0" y="102638"/>
                    </a:lnTo>
                    <a:lnTo>
                      <a:pt x="0" y="102638"/>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7" name="Freeform 63">
                <a:extLst>
                  <a:ext uri="{FF2B5EF4-FFF2-40B4-BE49-F238E27FC236}">
                    <a16:creationId xmlns:a16="http://schemas.microsoft.com/office/drawing/2014/main" id="{0AC8C29B-A2C3-4906-81E1-9546B38602A6}"/>
                  </a:ext>
                </a:extLst>
              </p:cNvPr>
              <p:cNvSpPr/>
              <p:nvPr/>
            </p:nvSpPr>
            <p:spPr>
              <a:xfrm>
                <a:off x="6836756" y="1989623"/>
                <a:ext cx="146625" cy="322575"/>
              </a:xfrm>
              <a:custGeom>
                <a:avLst/>
                <a:gdLst>
                  <a:gd name="connsiteX0" fmla="*/ 137700 w 146625"/>
                  <a:gd name="connsiteY0" fmla="*/ 242888 h 322575"/>
                  <a:gd name="connsiteX1" fmla="*/ 134513 w 146625"/>
                  <a:gd name="connsiteY1" fmla="*/ 235238 h 322575"/>
                  <a:gd name="connsiteX2" fmla="*/ 134513 w 146625"/>
                  <a:gd name="connsiteY2" fmla="*/ 242888 h 322575"/>
                  <a:gd name="connsiteX3" fmla="*/ 137700 w 146625"/>
                  <a:gd name="connsiteY3" fmla="*/ 242888 h 322575"/>
                  <a:gd name="connsiteX4" fmla="*/ 144713 w 146625"/>
                  <a:gd name="connsiteY4" fmla="*/ 219300 h 322575"/>
                  <a:gd name="connsiteX5" fmla="*/ 146625 w 146625"/>
                  <a:gd name="connsiteY5" fmla="*/ 200175 h 322575"/>
                  <a:gd name="connsiteX6" fmla="*/ 142800 w 146625"/>
                  <a:gd name="connsiteY6" fmla="*/ 216750 h 322575"/>
                  <a:gd name="connsiteX7" fmla="*/ 144713 w 146625"/>
                  <a:gd name="connsiteY7" fmla="*/ 219300 h 322575"/>
                  <a:gd name="connsiteX8" fmla="*/ 144713 w 146625"/>
                  <a:gd name="connsiteY8" fmla="*/ 219300 h 322575"/>
                  <a:gd name="connsiteX9" fmla="*/ 117938 w 146625"/>
                  <a:gd name="connsiteY9" fmla="*/ 22313 h 322575"/>
                  <a:gd name="connsiteX10" fmla="*/ 50363 w 146625"/>
                  <a:gd name="connsiteY10" fmla="*/ 5737 h 322575"/>
                  <a:gd name="connsiteX11" fmla="*/ 38887 w 146625"/>
                  <a:gd name="connsiteY11" fmla="*/ 2550 h 322575"/>
                  <a:gd name="connsiteX12" fmla="*/ 27412 w 146625"/>
                  <a:gd name="connsiteY12" fmla="*/ 0 h 322575"/>
                  <a:gd name="connsiteX13" fmla="*/ 27412 w 146625"/>
                  <a:gd name="connsiteY13" fmla="*/ 0 h 322575"/>
                  <a:gd name="connsiteX14" fmla="*/ 0 w 146625"/>
                  <a:gd name="connsiteY14" fmla="*/ 59288 h 322575"/>
                  <a:gd name="connsiteX15" fmla="*/ 11475 w 146625"/>
                  <a:gd name="connsiteY15" fmla="*/ 73313 h 322575"/>
                  <a:gd name="connsiteX16" fmla="*/ 10838 w 146625"/>
                  <a:gd name="connsiteY16" fmla="*/ 116025 h 322575"/>
                  <a:gd name="connsiteX17" fmla="*/ 22950 w 146625"/>
                  <a:gd name="connsiteY17" fmla="*/ 117938 h 322575"/>
                  <a:gd name="connsiteX18" fmla="*/ 47813 w 146625"/>
                  <a:gd name="connsiteY18" fmla="*/ 183600 h 322575"/>
                  <a:gd name="connsiteX19" fmla="*/ 46538 w 146625"/>
                  <a:gd name="connsiteY19" fmla="*/ 185513 h 322575"/>
                  <a:gd name="connsiteX20" fmla="*/ 14662 w 146625"/>
                  <a:gd name="connsiteY20" fmla="*/ 232050 h 322575"/>
                  <a:gd name="connsiteX21" fmla="*/ 17850 w 146625"/>
                  <a:gd name="connsiteY21" fmla="*/ 267113 h 322575"/>
                  <a:gd name="connsiteX22" fmla="*/ 93713 w 146625"/>
                  <a:gd name="connsiteY22" fmla="*/ 292613 h 322575"/>
                  <a:gd name="connsiteX23" fmla="*/ 94350 w 146625"/>
                  <a:gd name="connsiteY23" fmla="*/ 322576 h 322575"/>
                  <a:gd name="connsiteX24" fmla="*/ 111563 w 146625"/>
                  <a:gd name="connsiteY24" fmla="*/ 298351 h 322575"/>
                  <a:gd name="connsiteX25" fmla="*/ 114113 w 146625"/>
                  <a:gd name="connsiteY25" fmla="*/ 263288 h 322575"/>
                  <a:gd name="connsiteX26" fmla="*/ 131963 w 146625"/>
                  <a:gd name="connsiteY26" fmla="*/ 251175 h 322575"/>
                  <a:gd name="connsiteX27" fmla="*/ 124950 w 146625"/>
                  <a:gd name="connsiteY27" fmla="*/ 224401 h 322575"/>
                  <a:gd name="connsiteX28" fmla="*/ 138338 w 146625"/>
                  <a:gd name="connsiteY28" fmla="*/ 192525 h 322575"/>
                  <a:gd name="connsiteX29" fmla="*/ 138338 w 146625"/>
                  <a:gd name="connsiteY29" fmla="*/ 123675 h 322575"/>
                  <a:gd name="connsiteX30" fmla="*/ 133875 w 146625"/>
                  <a:gd name="connsiteY30" fmla="*/ 101363 h 322575"/>
                  <a:gd name="connsiteX31" fmla="*/ 103275 w 146625"/>
                  <a:gd name="connsiteY31" fmla="*/ 102000 h 322575"/>
                  <a:gd name="connsiteX32" fmla="*/ 110925 w 146625"/>
                  <a:gd name="connsiteY32" fmla="*/ 70763 h 322575"/>
                  <a:gd name="connsiteX33" fmla="*/ 117938 w 146625"/>
                  <a:gd name="connsiteY33" fmla="*/ 22313 h 322575"/>
                  <a:gd name="connsiteX34" fmla="*/ 117938 w 146625"/>
                  <a:gd name="connsiteY34" fmla="*/ 22313 h 322575"/>
                  <a:gd name="connsiteX35" fmla="*/ 117938 w 146625"/>
                  <a:gd name="connsiteY35" fmla="*/ 22313 h 32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625" h="322575">
                    <a:moveTo>
                      <a:pt x="137700" y="242888"/>
                    </a:moveTo>
                    <a:lnTo>
                      <a:pt x="134513" y="235238"/>
                    </a:lnTo>
                    <a:lnTo>
                      <a:pt x="134513" y="242888"/>
                    </a:lnTo>
                    <a:lnTo>
                      <a:pt x="137700" y="242888"/>
                    </a:lnTo>
                    <a:close/>
                    <a:moveTo>
                      <a:pt x="144713" y="219300"/>
                    </a:moveTo>
                    <a:lnTo>
                      <a:pt x="146625" y="200175"/>
                    </a:lnTo>
                    <a:lnTo>
                      <a:pt x="142800" y="216750"/>
                    </a:lnTo>
                    <a:lnTo>
                      <a:pt x="144713" y="219300"/>
                    </a:lnTo>
                    <a:lnTo>
                      <a:pt x="144713" y="219300"/>
                    </a:lnTo>
                    <a:close/>
                    <a:moveTo>
                      <a:pt x="117938" y="22313"/>
                    </a:moveTo>
                    <a:lnTo>
                      <a:pt x="50363" y="5737"/>
                    </a:lnTo>
                    <a:lnTo>
                      <a:pt x="38887" y="2550"/>
                    </a:lnTo>
                    <a:lnTo>
                      <a:pt x="27412" y="0"/>
                    </a:lnTo>
                    <a:lnTo>
                      <a:pt x="27412" y="0"/>
                    </a:lnTo>
                    <a:lnTo>
                      <a:pt x="0" y="59288"/>
                    </a:lnTo>
                    <a:lnTo>
                      <a:pt x="11475" y="73313"/>
                    </a:lnTo>
                    <a:lnTo>
                      <a:pt x="10838" y="116025"/>
                    </a:lnTo>
                    <a:lnTo>
                      <a:pt x="22950" y="117938"/>
                    </a:lnTo>
                    <a:lnTo>
                      <a:pt x="47813" y="183600"/>
                    </a:lnTo>
                    <a:lnTo>
                      <a:pt x="46538" y="185513"/>
                    </a:lnTo>
                    <a:lnTo>
                      <a:pt x="14662" y="232050"/>
                    </a:lnTo>
                    <a:lnTo>
                      <a:pt x="17850" y="267113"/>
                    </a:lnTo>
                    <a:lnTo>
                      <a:pt x="93713" y="292613"/>
                    </a:lnTo>
                    <a:lnTo>
                      <a:pt x="94350" y="322576"/>
                    </a:lnTo>
                    <a:lnTo>
                      <a:pt x="111563" y="298351"/>
                    </a:lnTo>
                    <a:lnTo>
                      <a:pt x="114113" y="263288"/>
                    </a:lnTo>
                    <a:lnTo>
                      <a:pt x="131963" y="251175"/>
                    </a:lnTo>
                    <a:lnTo>
                      <a:pt x="124950" y="224401"/>
                    </a:lnTo>
                    <a:lnTo>
                      <a:pt x="138338" y="192525"/>
                    </a:lnTo>
                    <a:lnTo>
                      <a:pt x="138338" y="123675"/>
                    </a:lnTo>
                    <a:lnTo>
                      <a:pt x="133875" y="101363"/>
                    </a:lnTo>
                    <a:lnTo>
                      <a:pt x="103275" y="102000"/>
                    </a:lnTo>
                    <a:lnTo>
                      <a:pt x="110925" y="70763"/>
                    </a:lnTo>
                    <a:lnTo>
                      <a:pt x="117938" y="22313"/>
                    </a:lnTo>
                    <a:lnTo>
                      <a:pt x="117938" y="22313"/>
                    </a:lnTo>
                    <a:lnTo>
                      <a:pt x="117938" y="22313"/>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8" name="Freeform 64">
                <a:extLst>
                  <a:ext uri="{FF2B5EF4-FFF2-40B4-BE49-F238E27FC236}">
                    <a16:creationId xmlns:a16="http://schemas.microsoft.com/office/drawing/2014/main" id="{85E5BEF3-2244-DB0F-2A34-85EF11FDB3F8}"/>
                  </a:ext>
                </a:extLst>
              </p:cNvPr>
              <p:cNvSpPr/>
              <p:nvPr/>
            </p:nvSpPr>
            <p:spPr>
              <a:xfrm>
                <a:off x="6348430" y="1473247"/>
                <a:ext cx="796238" cy="608176"/>
              </a:xfrm>
              <a:custGeom>
                <a:avLst/>
                <a:gdLst>
                  <a:gd name="connsiteX0" fmla="*/ 604351 w 796238"/>
                  <a:gd name="connsiteY0" fmla="*/ 590964 h 608176"/>
                  <a:gd name="connsiteX1" fmla="*/ 594151 w 796238"/>
                  <a:gd name="connsiteY1" fmla="*/ 604351 h 608176"/>
                  <a:gd name="connsiteX2" fmla="*/ 591601 w 796238"/>
                  <a:gd name="connsiteY2" fmla="*/ 608176 h 608176"/>
                  <a:gd name="connsiteX3" fmla="*/ 604351 w 796238"/>
                  <a:gd name="connsiteY3" fmla="*/ 590964 h 608176"/>
                  <a:gd name="connsiteX4" fmla="*/ 692964 w 796238"/>
                  <a:gd name="connsiteY4" fmla="*/ 559089 h 608176"/>
                  <a:gd name="connsiteX5" fmla="*/ 725476 w 796238"/>
                  <a:gd name="connsiteY5" fmla="*/ 530401 h 608176"/>
                  <a:gd name="connsiteX6" fmla="*/ 725476 w 796238"/>
                  <a:gd name="connsiteY6" fmla="*/ 529126 h 608176"/>
                  <a:gd name="connsiteX7" fmla="*/ 692964 w 796238"/>
                  <a:gd name="connsiteY7" fmla="*/ 559089 h 608176"/>
                  <a:gd name="connsiteX8" fmla="*/ 692964 w 796238"/>
                  <a:gd name="connsiteY8" fmla="*/ 559089 h 608176"/>
                  <a:gd name="connsiteX9" fmla="*/ 608814 w 796238"/>
                  <a:gd name="connsiteY9" fmla="*/ 578851 h 608176"/>
                  <a:gd name="connsiteX10" fmla="*/ 608814 w 796238"/>
                  <a:gd name="connsiteY10" fmla="*/ 557176 h 608176"/>
                  <a:gd name="connsiteX11" fmla="*/ 606901 w 796238"/>
                  <a:gd name="connsiteY11" fmla="*/ 568651 h 608176"/>
                  <a:gd name="connsiteX12" fmla="*/ 608814 w 796238"/>
                  <a:gd name="connsiteY12" fmla="*/ 578851 h 608176"/>
                  <a:gd name="connsiteX13" fmla="*/ 757989 w 796238"/>
                  <a:gd name="connsiteY13" fmla="*/ 476214 h 608176"/>
                  <a:gd name="connsiteX14" fmla="*/ 750339 w 796238"/>
                  <a:gd name="connsiteY14" fmla="*/ 474301 h 608176"/>
                  <a:gd name="connsiteX15" fmla="*/ 749064 w 796238"/>
                  <a:gd name="connsiteY15" fmla="*/ 480039 h 608176"/>
                  <a:gd name="connsiteX16" fmla="*/ 757989 w 796238"/>
                  <a:gd name="connsiteY16" fmla="*/ 476214 h 608176"/>
                  <a:gd name="connsiteX17" fmla="*/ 775201 w 796238"/>
                  <a:gd name="connsiteY17" fmla="*/ 465376 h 608176"/>
                  <a:gd name="connsiteX18" fmla="*/ 774564 w 796238"/>
                  <a:gd name="connsiteY18" fmla="*/ 471751 h 608176"/>
                  <a:gd name="connsiteX19" fmla="*/ 775839 w 796238"/>
                  <a:gd name="connsiteY19" fmla="*/ 467926 h 608176"/>
                  <a:gd name="connsiteX20" fmla="*/ 775201 w 796238"/>
                  <a:gd name="connsiteY20" fmla="*/ 465376 h 608176"/>
                  <a:gd name="connsiteX21" fmla="*/ 775201 w 796238"/>
                  <a:gd name="connsiteY21" fmla="*/ 465376 h 608176"/>
                  <a:gd name="connsiteX22" fmla="*/ 757351 w 796238"/>
                  <a:gd name="connsiteY22" fmla="*/ 466013 h 608176"/>
                  <a:gd name="connsiteX23" fmla="*/ 714639 w 796238"/>
                  <a:gd name="connsiteY23" fmla="*/ 505539 h 608176"/>
                  <a:gd name="connsiteX24" fmla="*/ 648339 w 796238"/>
                  <a:gd name="connsiteY24" fmla="*/ 534226 h 608176"/>
                  <a:gd name="connsiteX25" fmla="*/ 631126 w 796238"/>
                  <a:gd name="connsiteY25" fmla="*/ 548889 h 608176"/>
                  <a:gd name="connsiteX26" fmla="*/ 629851 w 796238"/>
                  <a:gd name="connsiteY26" fmla="*/ 562914 h 608176"/>
                  <a:gd name="connsiteX27" fmla="*/ 612001 w 796238"/>
                  <a:gd name="connsiteY27" fmla="*/ 577576 h 608176"/>
                  <a:gd name="connsiteX28" fmla="*/ 614551 w 796238"/>
                  <a:gd name="connsiteY28" fmla="*/ 596701 h 608176"/>
                  <a:gd name="connsiteX29" fmla="*/ 642601 w 796238"/>
                  <a:gd name="connsiteY29" fmla="*/ 585226 h 608176"/>
                  <a:gd name="connsiteX30" fmla="*/ 682764 w 796238"/>
                  <a:gd name="connsiteY30" fmla="*/ 552076 h 608176"/>
                  <a:gd name="connsiteX31" fmla="*/ 728026 w 796238"/>
                  <a:gd name="connsiteY31" fmla="*/ 528489 h 608176"/>
                  <a:gd name="connsiteX32" fmla="*/ 796239 w 796238"/>
                  <a:gd name="connsiteY32" fmla="*/ 464101 h 608176"/>
                  <a:gd name="connsiteX33" fmla="*/ 747789 w 796238"/>
                  <a:gd name="connsiteY33" fmla="*/ 500439 h 608176"/>
                  <a:gd name="connsiteX34" fmla="*/ 732489 w 796238"/>
                  <a:gd name="connsiteY34" fmla="*/ 506814 h 608176"/>
                  <a:gd name="connsiteX35" fmla="*/ 757351 w 796238"/>
                  <a:gd name="connsiteY35" fmla="*/ 466013 h 608176"/>
                  <a:gd name="connsiteX36" fmla="*/ 757351 w 796238"/>
                  <a:gd name="connsiteY36" fmla="*/ 466013 h 608176"/>
                  <a:gd name="connsiteX37" fmla="*/ 777114 w 796238"/>
                  <a:gd name="connsiteY37" fmla="*/ 438601 h 608176"/>
                  <a:gd name="connsiteX38" fmla="*/ 779664 w 796238"/>
                  <a:gd name="connsiteY38" fmla="*/ 434776 h 608176"/>
                  <a:gd name="connsiteX39" fmla="*/ 772014 w 796238"/>
                  <a:gd name="connsiteY39" fmla="*/ 444338 h 608176"/>
                  <a:gd name="connsiteX40" fmla="*/ 777114 w 796238"/>
                  <a:gd name="connsiteY40" fmla="*/ 438601 h 608176"/>
                  <a:gd name="connsiteX41" fmla="*/ 54825 w 796238"/>
                  <a:gd name="connsiteY41" fmla="*/ 415013 h 608176"/>
                  <a:gd name="connsiteX42" fmla="*/ 44625 w 796238"/>
                  <a:gd name="connsiteY42" fmla="*/ 413738 h 608176"/>
                  <a:gd name="connsiteX43" fmla="*/ 52275 w 796238"/>
                  <a:gd name="connsiteY43" fmla="*/ 424576 h 608176"/>
                  <a:gd name="connsiteX44" fmla="*/ 54825 w 796238"/>
                  <a:gd name="connsiteY44" fmla="*/ 415013 h 608176"/>
                  <a:gd name="connsiteX45" fmla="*/ 54825 w 796238"/>
                  <a:gd name="connsiteY45" fmla="*/ 415013 h 608176"/>
                  <a:gd name="connsiteX46" fmla="*/ 268388 w 796238"/>
                  <a:gd name="connsiteY46" fmla="*/ 218026 h 608176"/>
                  <a:gd name="connsiteX47" fmla="*/ 269663 w 796238"/>
                  <a:gd name="connsiteY47" fmla="*/ 211013 h 608176"/>
                  <a:gd name="connsiteX48" fmla="*/ 264563 w 796238"/>
                  <a:gd name="connsiteY48" fmla="*/ 217388 h 608176"/>
                  <a:gd name="connsiteX49" fmla="*/ 268388 w 796238"/>
                  <a:gd name="connsiteY49" fmla="*/ 218026 h 608176"/>
                  <a:gd name="connsiteX50" fmla="*/ 268388 w 796238"/>
                  <a:gd name="connsiteY50" fmla="*/ 218026 h 608176"/>
                  <a:gd name="connsiteX51" fmla="*/ 271575 w 796238"/>
                  <a:gd name="connsiteY51" fmla="*/ 172125 h 608176"/>
                  <a:gd name="connsiteX52" fmla="*/ 269025 w 796238"/>
                  <a:gd name="connsiteY52" fmla="*/ 173400 h 608176"/>
                  <a:gd name="connsiteX53" fmla="*/ 265838 w 796238"/>
                  <a:gd name="connsiteY53" fmla="*/ 180413 h 608176"/>
                  <a:gd name="connsiteX54" fmla="*/ 271575 w 796238"/>
                  <a:gd name="connsiteY54" fmla="*/ 172125 h 608176"/>
                  <a:gd name="connsiteX55" fmla="*/ 271575 w 796238"/>
                  <a:gd name="connsiteY55" fmla="*/ 172125 h 608176"/>
                  <a:gd name="connsiteX56" fmla="*/ 0 w 796238"/>
                  <a:gd name="connsiteY56" fmla="*/ 536776 h 608176"/>
                  <a:gd name="connsiteX57" fmla="*/ 4462 w 796238"/>
                  <a:gd name="connsiteY57" fmla="*/ 555901 h 608176"/>
                  <a:gd name="connsiteX58" fmla="*/ 38250 w 796238"/>
                  <a:gd name="connsiteY58" fmla="*/ 564189 h 608176"/>
                  <a:gd name="connsiteX59" fmla="*/ 233325 w 796238"/>
                  <a:gd name="connsiteY59" fmla="*/ 510639 h 608176"/>
                  <a:gd name="connsiteX60" fmla="*/ 429676 w 796238"/>
                  <a:gd name="connsiteY60" fmla="*/ 451988 h 608176"/>
                  <a:gd name="connsiteX61" fmla="*/ 465376 w 796238"/>
                  <a:gd name="connsiteY61" fmla="*/ 480039 h 608176"/>
                  <a:gd name="connsiteX62" fmla="*/ 472388 w 796238"/>
                  <a:gd name="connsiteY62" fmla="*/ 495976 h 608176"/>
                  <a:gd name="connsiteX63" fmla="*/ 513826 w 796238"/>
                  <a:gd name="connsiteY63" fmla="*/ 513826 h 608176"/>
                  <a:gd name="connsiteX64" fmla="*/ 515101 w 796238"/>
                  <a:gd name="connsiteY64" fmla="*/ 516376 h 608176"/>
                  <a:gd name="connsiteX65" fmla="*/ 526576 w 796238"/>
                  <a:gd name="connsiteY65" fmla="*/ 518926 h 608176"/>
                  <a:gd name="connsiteX66" fmla="*/ 538051 w 796238"/>
                  <a:gd name="connsiteY66" fmla="*/ 522114 h 608176"/>
                  <a:gd name="connsiteX67" fmla="*/ 605626 w 796238"/>
                  <a:gd name="connsiteY67" fmla="*/ 538689 h 608176"/>
                  <a:gd name="connsiteX68" fmla="*/ 604351 w 796238"/>
                  <a:gd name="connsiteY68" fmla="*/ 535501 h 608176"/>
                  <a:gd name="connsiteX69" fmla="*/ 610088 w 796238"/>
                  <a:gd name="connsiteY69" fmla="*/ 562276 h 608176"/>
                  <a:gd name="connsiteX70" fmla="*/ 622838 w 796238"/>
                  <a:gd name="connsiteY70" fmla="*/ 559089 h 608176"/>
                  <a:gd name="connsiteX71" fmla="*/ 629851 w 796238"/>
                  <a:gd name="connsiteY71" fmla="*/ 529764 h 608176"/>
                  <a:gd name="connsiteX72" fmla="*/ 629851 w 796238"/>
                  <a:gd name="connsiteY72" fmla="*/ 529126 h 608176"/>
                  <a:gd name="connsiteX73" fmla="*/ 618376 w 796238"/>
                  <a:gd name="connsiteY73" fmla="*/ 517651 h 608176"/>
                  <a:gd name="connsiteX74" fmla="*/ 634951 w 796238"/>
                  <a:gd name="connsiteY74" fmla="*/ 497251 h 608176"/>
                  <a:gd name="connsiteX75" fmla="*/ 627301 w 796238"/>
                  <a:gd name="connsiteY75" fmla="*/ 487051 h 608176"/>
                  <a:gd name="connsiteX76" fmla="*/ 603076 w 796238"/>
                  <a:gd name="connsiteY76" fmla="*/ 392701 h 608176"/>
                  <a:gd name="connsiteX77" fmla="*/ 601801 w 796238"/>
                  <a:gd name="connsiteY77" fmla="*/ 386326 h 608176"/>
                  <a:gd name="connsiteX78" fmla="*/ 598613 w 796238"/>
                  <a:gd name="connsiteY78" fmla="*/ 384413 h 608176"/>
                  <a:gd name="connsiteX79" fmla="*/ 596701 w 796238"/>
                  <a:gd name="connsiteY79" fmla="*/ 355726 h 608176"/>
                  <a:gd name="connsiteX80" fmla="*/ 594789 w 796238"/>
                  <a:gd name="connsiteY80" fmla="*/ 324488 h 608176"/>
                  <a:gd name="connsiteX81" fmla="*/ 592876 w 796238"/>
                  <a:gd name="connsiteY81" fmla="*/ 291338 h 608176"/>
                  <a:gd name="connsiteX82" fmla="*/ 592876 w 796238"/>
                  <a:gd name="connsiteY82" fmla="*/ 289426 h 608176"/>
                  <a:gd name="connsiteX83" fmla="*/ 591601 w 796238"/>
                  <a:gd name="connsiteY83" fmla="*/ 290063 h 608176"/>
                  <a:gd name="connsiteX84" fmla="*/ 559088 w 796238"/>
                  <a:gd name="connsiteY84" fmla="*/ 184875 h 608176"/>
                  <a:gd name="connsiteX85" fmla="*/ 525301 w 796238"/>
                  <a:gd name="connsiteY85" fmla="*/ 131325 h 608176"/>
                  <a:gd name="connsiteX86" fmla="*/ 515101 w 796238"/>
                  <a:gd name="connsiteY86" fmla="*/ 67575 h 608176"/>
                  <a:gd name="connsiteX87" fmla="*/ 485776 w 796238"/>
                  <a:gd name="connsiteY87" fmla="*/ 0 h 608176"/>
                  <a:gd name="connsiteX88" fmla="*/ 481951 w 796238"/>
                  <a:gd name="connsiteY88" fmla="*/ 1913 h 608176"/>
                  <a:gd name="connsiteX89" fmla="*/ 348713 w 796238"/>
                  <a:gd name="connsiteY89" fmla="*/ 49088 h 608176"/>
                  <a:gd name="connsiteX90" fmla="*/ 321300 w 796238"/>
                  <a:gd name="connsiteY90" fmla="*/ 78413 h 608176"/>
                  <a:gd name="connsiteX91" fmla="*/ 290700 w 796238"/>
                  <a:gd name="connsiteY91" fmla="*/ 135788 h 608176"/>
                  <a:gd name="connsiteX92" fmla="*/ 291976 w 796238"/>
                  <a:gd name="connsiteY92" fmla="*/ 148538 h 608176"/>
                  <a:gd name="connsiteX93" fmla="*/ 252450 w 796238"/>
                  <a:gd name="connsiteY93" fmla="*/ 208463 h 608176"/>
                  <a:gd name="connsiteX94" fmla="*/ 276675 w 796238"/>
                  <a:gd name="connsiteY94" fmla="*/ 216750 h 608176"/>
                  <a:gd name="connsiteX95" fmla="*/ 283688 w 796238"/>
                  <a:gd name="connsiteY95" fmla="*/ 262651 h 608176"/>
                  <a:gd name="connsiteX96" fmla="*/ 255001 w 796238"/>
                  <a:gd name="connsiteY96" fmla="*/ 299626 h 608176"/>
                  <a:gd name="connsiteX97" fmla="*/ 170213 w 796238"/>
                  <a:gd name="connsiteY97" fmla="*/ 351263 h 608176"/>
                  <a:gd name="connsiteX98" fmla="*/ 154275 w 796238"/>
                  <a:gd name="connsiteY98" fmla="*/ 344888 h 608176"/>
                  <a:gd name="connsiteX99" fmla="*/ 91163 w 796238"/>
                  <a:gd name="connsiteY99" fmla="*/ 354451 h 608176"/>
                  <a:gd name="connsiteX100" fmla="*/ 33150 w 796238"/>
                  <a:gd name="connsiteY100" fmla="*/ 389513 h 608176"/>
                  <a:gd name="connsiteX101" fmla="*/ 36337 w 796238"/>
                  <a:gd name="connsiteY101" fmla="*/ 408001 h 608176"/>
                  <a:gd name="connsiteX102" fmla="*/ 56737 w 796238"/>
                  <a:gd name="connsiteY102" fmla="*/ 425851 h 608176"/>
                  <a:gd name="connsiteX103" fmla="*/ 45262 w 796238"/>
                  <a:gd name="connsiteY103" fmla="*/ 481951 h 608176"/>
                  <a:gd name="connsiteX104" fmla="*/ 0 w 796238"/>
                  <a:gd name="connsiteY104" fmla="*/ 536776 h 608176"/>
                  <a:gd name="connsiteX105" fmla="*/ 0 w 796238"/>
                  <a:gd name="connsiteY105" fmla="*/ 536776 h 608176"/>
                  <a:gd name="connsiteX106" fmla="*/ 0 w 796238"/>
                  <a:gd name="connsiteY106" fmla="*/ 536776 h 6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96238" h="608176">
                    <a:moveTo>
                      <a:pt x="604351" y="590964"/>
                    </a:moveTo>
                    <a:lnTo>
                      <a:pt x="594151" y="604351"/>
                    </a:lnTo>
                    <a:lnTo>
                      <a:pt x="591601" y="608176"/>
                    </a:lnTo>
                    <a:lnTo>
                      <a:pt x="604351" y="590964"/>
                    </a:lnTo>
                    <a:close/>
                    <a:moveTo>
                      <a:pt x="692964" y="559089"/>
                    </a:moveTo>
                    <a:lnTo>
                      <a:pt x="725476" y="530401"/>
                    </a:lnTo>
                    <a:lnTo>
                      <a:pt x="725476" y="529126"/>
                    </a:lnTo>
                    <a:lnTo>
                      <a:pt x="692964" y="559089"/>
                    </a:lnTo>
                    <a:lnTo>
                      <a:pt x="692964" y="559089"/>
                    </a:lnTo>
                    <a:close/>
                    <a:moveTo>
                      <a:pt x="608814" y="578851"/>
                    </a:moveTo>
                    <a:lnTo>
                      <a:pt x="608814" y="557176"/>
                    </a:lnTo>
                    <a:lnTo>
                      <a:pt x="606901" y="568651"/>
                    </a:lnTo>
                    <a:lnTo>
                      <a:pt x="608814" y="578851"/>
                    </a:lnTo>
                    <a:close/>
                    <a:moveTo>
                      <a:pt x="757989" y="476214"/>
                    </a:moveTo>
                    <a:lnTo>
                      <a:pt x="750339" y="474301"/>
                    </a:lnTo>
                    <a:lnTo>
                      <a:pt x="749064" y="480039"/>
                    </a:lnTo>
                    <a:lnTo>
                      <a:pt x="757989" y="476214"/>
                    </a:lnTo>
                    <a:close/>
                    <a:moveTo>
                      <a:pt x="775201" y="465376"/>
                    </a:moveTo>
                    <a:lnTo>
                      <a:pt x="774564" y="471751"/>
                    </a:lnTo>
                    <a:lnTo>
                      <a:pt x="775839" y="467926"/>
                    </a:lnTo>
                    <a:lnTo>
                      <a:pt x="775201" y="465376"/>
                    </a:lnTo>
                    <a:lnTo>
                      <a:pt x="775201" y="465376"/>
                    </a:lnTo>
                    <a:close/>
                    <a:moveTo>
                      <a:pt x="757351" y="466013"/>
                    </a:moveTo>
                    <a:lnTo>
                      <a:pt x="714639" y="505539"/>
                    </a:lnTo>
                    <a:lnTo>
                      <a:pt x="648339" y="534226"/>
                    </a:lnTo>
                    <a:lnTo>
                      <a:pt x="631126" y="548889"/>
                    </a:lnTo>
                    <a:lnTo>
                      <a:pt x="629851" y="562914"/>
                    </a:lnTo>
                    <a:lnTo>
                      <a:pt x="612001" y="577576"/>
                    </a:lnTo>
                    <a:lnTo>
                      <a:pt x="614551" y="596701"/>
                    </a:lnTo>
                    <a:lnTo>
                      <a:pt x="642601" y="585226"/>
                    </a:lnTo>
                    <a:lnTo>
                      <a:pt x="682764" y="552076"/>
                    </a:lnTo>
                    <a:lnTo>
                      <a:pt x="728026" y="528489"/>
                    </a:lnTo>
                    <a:lnTo>
                      <a:pt x="796239" y="464101"/>
                    </a:lnTo>
                    <a:lnTo>
                      <a:pt x="747789" y="500439"/>
                    </a:lnTo>
                    <a:lnTo>
                      <a:pt x="732489" y="506814"/>
                    </a:lnTo>
                    <a:lnTo>
                      <a:pt x="757351" y="466013"/>
                    </a:lnTo>
                    <a:lnTo>
                      <a:pt x="757351" y="466013"/>
                    </a:lnTo>
                    <a:close/>
                    <a:moveTo>
                      <a:pt x="777114" y="438601"/>
                    </a:moveTo>
                    <a:lnTo>
                      <a:pt x="779664" y="434776"/>
                    </a:lnTo>
                    <a:lnTo>
                      <a:pt x="772014" y="444338"/>
                    </a:lnTo>
                    <a:lnTo>
                      <a:pt x="777114" y="438601"/>
                    </a:lnTo>
                    <a:close/>
                    <a:moveTo>
                      <a:pt x="54825" y="415013"/>
                    </a:moveTo>
                    <a:lnTo>
                      <a:pt x="44625" y="413738"/>
                    </a:lnTo>
                    <a:lnTo>
                      <a:pt x="52275" y="424576"/>
                    </a:lnTo>
                    <a:lnTo>
                      <a:pt x="54825" y="415013"/>
                    </a:lnTo>
                    <a:lnTo>
                      <a:pt x="54825" y="415013"/>
                    </a:lnTo>
                    <a:close/>
                    <a:moveTo>
                      <a:pt x="268388" y="218026"/>
                    </a:moveTo>
                    <a:lnTo>
                      <a:pt x="269663" y="211013"/>
                    </a:lnTo>
                    <a:lnTo>
                      <a:pt x="264563" y="217388"/>
                    </a:lnTo>
                    <a:lnTo>
                      <a:pt x="268388" y="218026"/>
                    </a:lnTo>
                    <a:lnTo>
                      <a:pt x="268388" y="218026"/>
                    </a:lnTo>
                    <a:close/>
                    <a:moveTo>
                      <a:pt x="271575" y="172125"/>
                    </a:moveTo>
                    <a:lnTo>
                      <a:pt x="269025" y="173400"/>
                    </a:lnTo>
                    <a:lnTo>
                      <a:pt x="265838" y="180413"/>
                    </a:lnTo>
                    <a:lnTo>
                      <a:pt x="271575" y="172125"/>
                    </a:lnTo>
                    <a:lnTo>
                      <a:pt x="271575" y="172125"/>
                    </a:lnTo>
                    <a:close/>
                    <a:moveTo>
                      <a:pt x="0" y="536776"/>
                    </a:moveTo>
                    <a:lnTo>
                      <a:pt x="4462" y="555901"/>
                    </a:lnTo>
                    <a:lnTo>
                      <a:pt x="38250" y="564189"/>
                    </a:lnTo>
                    <a:lnTo>
                      <a:pt x="233325" y="510639"/>
                    </a:lnTo>
                    <a:lnTo>
                      <a:pt x="429676" y="451988"/>
                    </a:lnTo>
                    <a:lnTo>
                      <a:pt x="465376" y="480039"/>
                    </a:lnTo>
                    <a:lnTo>
                      <a:pt x="472388" y="495976"/>
                    </a:lnTo>
                    <a:lnTo>
                      <a:pt x="513826" y="513826"/>
                    </a:lnTo>
                    <a:lnTo>
                      <a:pt x="515101" y="516376"/>
                    </a:lnTo>
                    <a:lnTo>
                      <a:pt x="526576" y="518926"/>
                    </a:lnTo>
                    <a:lnTo>
                      <a:pt x="538051" y="522114"/>
                    </a:lnTo>
                    <a:lnTo>
                      <a:pt x="605626" y="538689"/>
                    </a:lnTo>
                    <a:lnTo>
                      <a:pt x="604351" y="535501"/>
                    </a:lnTo>
                    <a:lnTo>
                      <a:pt x="610088" y="562276"/>
                    </a:lnTo>
                    <a:lnTo>
                      <a:pt x="622838" y="559089"/>
                    </a:lnTo>
                    <a:lnTo>
                      <a:pt x="629851" y="529764"/>
                    </a:lnTo>
                    <a:lnTo>
                      <a:pt x="629851" y="529126"/>
                    </a:lnTo>
                    <a:lnTo>
                      <a:pt x="618376" y="517651"/>
                    </a:lnTo>
                    <a:lnTo>
                      <a:pt x="634951" y="497251"/>
                    </a:lnTo>
                    <a:lnTo>
                      <a:pt x="627301" y="487051"/>
                    </a:lnTo>
                    <a:lnTo>
                      <a:pt x="603076" y="392701"/>
                    </a:lnTo>
                    <a:lnTo>
                      <a:pt x="601801" y="386326"/>
                    </a:lnTo>
                    <a:lnTo>
                      <a:pt x="598613" y="384413"/>
                    </a:lnTo>
                    <a:lnTo>
                      <a:pt x="596701" y="355726"/>
                    </a:lnTo>
                    <a:lnTo>
                      <a:pt x="594789" y="324488"/>
                    </a:lnTo>
                    <a:lnTo>
                      <a:pt x="592876" y="291338"/>
                    </a:lnTo>
                    <a:lnTo>
                      <a:pt x="592876" y="289426"/>
                    </a:lnTo>
                    <a:lnTo>
                      <a:pt x="591601" y="290063"/>
                    </a:lnTo>
                    <a:lnTo>
                      <a:pt x="559088" y="184875"/>
                    </a:lnTo>
                    <a:lnTo>
                      <a:pt x="525301" y="131325"/>
                    </a:lnTo>
                    <a:lnTo>
                      <a:pt x="515101" y="67575"/>
                    </a:lnTo>
                    <a:lnTo>
                      <a:pt x="485776" y="0"/>
                    </a:lnTo>
                    <a:lnTo>
                      <a:pt x="481951" y="1913"/>
                    </a:lnTo>
                    <a:lnTo>
                      <a:pt x="348713" y="49088"/>
                    </a:lnTo>
                    <a:lnTo>
                      <a:pt x="321300" y="78413"/>
                    </a:lnTo>
                    <a:lnTo>
                      <a:pt x="290700" y="135788"/>
                    </a:lnTo>
                    <a:lnTo>
                      <a:pt x="291976" y="148538"/>
                    </a:lnTo>
                    <a:lnTo>
                      <a:pt x="252450" y="208463"/>
                    </a:lnTo>
                    <a:lnTo>
                      <a:pt x="276675" y="216750"/>
                    </a:lnTo>
                    <a:lnTo>
                      <a:pt x="283688" y="262651"/>
                    </a:lnTo>
                    <a:lnTo>
                      <a:pt x="255001" y="299626"/>
                    </a:lnTo>
                    <a:lnTo>
                      <a:pt x="170213" y="351263"/>
                    </a:lnTo>
                    <a:lnTo>
                      <a:pt x="154275" y="344888"/>
                    </a:lnTo>
                    <a:lnTo>
                      <a:pt x="91163" y="354451"/>
                    </a:lnTo>
                    <a:lnTo>
                      <a:pt x="33150" y="389513"/>
                    </a:lnTo>
                    <a:lnTo>
                      <a:pt x="36337" y="408001"/>
                    </a:lnTo>
                    <a:lnTo>
                      <a:pt x="56737" y="425851"/>
                    </a:lnTo>
                    <a:lnTo>
                      <a:pt x="45262" y="481951"/>
                    </a:lnTo>
                    <a:lnTo>
                      <a:pt x="0" y="536776"/>
                    </a:lnTo>
                    <a:lnTo>
                      <a:pt x="0" y="536776"/>
                    </a:lnTo>
                    <a:lnTo>
                      <a:pt x="0" y="536776"/>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59" name="Freeform 65">
                <a:extLst>
                  <a:ext uri="{FF2B5EF4-FFF2-40B4-BE49-F238E27FC236}">
                    <a16:creationId xmlns:a16="http://schemas.microsoft.com/office/drawing/2014/main" id="{163108F9-6CFE-FDA5-DBD5-7554C87241A1}"/>
                  </a:ext>
                </a:extLst>
              </p:cNvPr>
              <p:cNvSpPr/>
              <p:nvPr/>
            </p:nvSpPr>
            <p:spPr>
              <a:xfrm>
                <a:off x="6285318" y="1924598"/>
                <a:ext cx="601801" cy="438600"/>
              </a:xfrm>
              <a:custGeom>
                <a:avLst/>
                <a:gdLst>
                  <a:gd name="connsiteX0" fmla="*/ 578214 w 601801"/>
                  <a:gd name="connsiteY0" fmla="*/ 61838 h 438600"/>
                  <a:gd name="connsiteX1" fmla="*/ 536776 w 601801"/>
                  <a:gd name="connsiteY1" fmla="*/ 43988 h 438600"/>
                  <a:gd name="connsiteX2" fmla="*/ 529763 w 601801"/>
                  <a:gd name="connsiteY2" fmla="*/ 28050 h 438600"/>
                  <a:gd name="connsiteX3" fmla="*/ 494064 w 601801"/>
                  <a:gd name="connsiteY3" fmla="*/ 0 h 438600"/>
                  <a:gd name="connsiteX4" fmla="*/ 297713 w 601801"/>
                  <a:gd name="connsiteY4" fmla="*/ 58650 h 438600"/>
                  <a:gd name="connsiteX5" fmla="*/ 102638 w 601801"/>
                  <a:gd name="connsiteY5" fmla="*/ 112200 h 438600"/>
                  <a:gd name="connsiteX6" fmla="*/ 68850 w 601801"/>
                  <a:gd name="connsiteY6" fmla="*/ 103913 h 438600"/>
                  <a:gd name="connsiteX7" fmla="*/ 64387 w 601801"/>
                  <a:gd name="connsiteY7" fmla="*/ 84788 h 438600"/>
                  <a:gd name="connsiteX8" fmla="*/ 52913 w 601801"/>
                  <a:gd name="connsiteY8" fmla="*/ 93075 h 438600"/>
                  <a:gd name="connsiteX9" fmla="*/ 35700 w 601801"/>
                  <a:gd name="connsiteY9" fmla="*/ 105188 h 438600"/>
                  <a:gd name="connsiteX10" fmla="*/ 3825 w 601801"/>
                  <a:gd name="connsiteY10" fmla="*/ 137700 h 438600"/>
                  <a:gd name="connsiteX11" fmla="*/ 0 w 601801"/>
                  <a:gd name="connsiteY11" fmla="*/ 140888 h 438600"/>
                  <a:gd name="connsiteX12" fmla="*/ 17850 w 601801"/>
                  <a:gd name="connsiteY12" fmla="*/ 219938 h 438600"/>
                  <a:gd name="connsiteX13" fmla="*/ 21037 w 601801"/>
                  <a:gd name="connsiteY13" fmla="*/ 233963 h 438600"/>
                  <a:gd name="connsiteX14" fmla="*/ 36975 w 601801"/>
                  <a:gd name="connsiteY14" fmla="*/ 303450 h 438600"/>
                  <a:gd name="connsiteX15" fmla="*/ 40163 w 601801"/>
                  <a:gd name="connsiteY15" fmla="*/ 316838 h 438600"/>
                  <a:gd name="connsiteX16" fmla="*/ 40163 w 601801"/>
                  <a:gd name="connsiteY16" fmla="*/ 316838 h 438600"/>
                  <a:gd name="connsiteX17" fmla="*/ 68850 w 601801"/>
                  <a:gd name="connsiteY17" fmla="*/ 438601 h 438600"/>
                  <a:gd name="connsiteX18" fmla="*/ 160013 w 601801"/>
                  <a:gd name="connsiteY18" fmla="*/ 416288 h 438600"/>
                  <a:gd name="connsiteX19" fmla="*/ 172763 w 601801"/>
                  <a:gd name="connsiteY19" fmla="*/ 413101 h 438600"/>
                  <a:gd name="connsiteX20" fmla="*/ 184238 w 601801"/>
                  <a:gd name="connsiteY20" fmla="*/ 409913 h 438600"/>
                  <a:gd name="connsiteX21" fmla="*/ 230138 w 601801"/>
                  <a:gd name="connsiteY21" fmla="*/ 397801 h 438600"/>
                  <a:gd name="connsiteX22" fmla="*/ 481313 w 601801"/>
                  <a:gd name="connsiteY22" fmla="*/ 327676 h 438600"/>
                  <a:gd name="connsiteX23" fmla="*/ 527214 w 601801"/>
                  <a:gd name="connsiteY23" fmla="*/ 313651 h 438600"/>
                  <a:gd name="connsiteX24" fmla="*/ 538689 w 601801"/>
                  <a:gd name="connsiteY24" fmla="*/ 310463 h 438600"/>
                  <a:gd name="connsiteX25" fmla="*/ 538689 w 601801"/>
                  <a:gd name="connsiteY25" fmla="*/ 310463 h 438600"/>
                  <a:gd name="connsiteX26" fmla="*/ 543789 w 601801"/>
                  <a:gd name="connsiteY26" fmla="*/ 297713 h 438600"/>
                  <a:gd name="connsiteX27" fmla="*/ 555263 w 601801"/>
                  <a:gd name="connsiteY27" fmla="*/ 288150 h 438600"/>
                  <a:gd name="connsiteX28" fmla="*/ 570564 w 601801"/>
                  <a:gd name="connsiteY28" fmla="*/ 288150 h 438600"/>
                  <a:gd name="connsiteX29" fmla="*/ 572476 w 601801"/>
                  <a:gd name="connsiteY29" fmla="*/ 282413 h 438600"/>
                  <a:gd name="connsiteX30" fmla="*/ 597339 w 601801"/>
                  <a:gd name="connsiteY30" fmla="*/ 253725 h 438600"/>
                  <a:gd name="connsiteX31" fmla="*/ 599889 w 601801"/>
                  <a:gd name="connsiteY31" fmla="*/ 249263 h 438600"/>
                  <a:gd name="connsiteX32" fmla="*/ 601801 w 601801"/>
                  <a:gd name="connsiteY32" fmla="*/ 247988 h 438600"/>
                  <a:gd name="connsiteX33" fmla="*/ 576939 w 601801"/>
                  <a:gd name="connsiteY33" fmla="*/ 182325 h 438600"/>
                  <a:gd name="connsiteX34" fmla="*/ 564826 w 601801"/>
                  <a:gd name="connsiteY34" fmla="*/ 180413 h 438600"/>
                  <a:gd name="connsiteX35" fmla="*/ 565464 w 601801"/>
                  <a:gd name="connsiteY35" fmla="*/ 137700 h 438600"/>
                  <a:gd name="connsiteX36" fmla="*/ 553989 w 601801"/>
                  <a:gd name="connsiteY36" fmla="*/ 123675 h 438600"/>
                  <a:gd name="connsiteX37" fmla="*/ 581401 w 601801"/>
                  <a:gd name="connsiteY37" fmla="*/ 64387 h 438600"/>
                  <a:gd name="connsiteX38" fmla="*/ 581401 w 601801"/>
                  <a:gd name="connsiteY38" fmla="*/ 64387 h 438600"/>
                  <a:gd name="connsiteX39" fmla="*/ 578214 w 601801"/>
                  <a:gd name="connsiteY39" fmla="*/ 61838 h 438600"/>
                  <a:gd name="connsiteX40" fmla="*/ 578214 w 601801"/>
                  <a:gd name="connsiteY40" fmla="*/ 61838 h 4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1801" h="438600">
                    <a:moveTo>
                      <a:pt x="578214" y="61838"/>
                    </a:moveTo>
                    <a:lnTo>
                      <a:pt x="536776" y="43988"/>
                    </a:lnTo>
                    <a:lnTo>
                      <a:pt x="529763" y="28050"/>
                    </a:lnTo>
                    <a:lnTo>
                      <a:pt x="494064" y="0"/>
                    </a:lnTo>
                    <a:lnTo>
                      <a:pt x="297713" y="58650"/>
                    </a:lnTo>
                    <a:lnTo>
                      <a:pt x="102638" y="112200"/>
                    </a:lnTo>
                    <a:lnTo>
                      <a:pt x="68850" y="103913"/>
                    </a:lnTo>
                    <a:lnTo>
                      <a:pt x="64387" y="84788"/>
                    </a:lnTo>
                    <a:lnTo>
                      <a:pt x="52913" y="93075"/>
                    </a:lnTo>
                    <a:lnTo>
                      <a:pt x="35700" y="105188"/>
                    </a:lnTo>
                    <a:lnTo>
                      <a:pt x="3825" y="137700"/>
                    </a:lnTo>
                    <a:lnTo>
                      <a:pt x="0" y="140888"/>
                    </a:lnTo>
                    <a:lnTo>
                      <a:pt x="17850" y="219938"/>
                    </a:lnTo>
                    <a:lnTo>
                      <a:pt x="21037" y="233963"/>
                    </a:lnTo>
                    <a:lnTo>
                      <a:pt x="36975" y="303450"/>
                    </a:lnTo>
                    <a:lnTo>
                      <a:pt x="40163" y="316838"/>
                    </a:lnTo>
                    <a:lnTo>
                      <a:pt x="40163" y="316838"/>
                    </a:lnTo>
                    <a:lnTo>
                      <a:pt x="68850" y="438601"/>
                    </a:lnTo>
                    <a:lnTo>
                      <a:pt x="160013" y="416288"/>
                    </a:lnTo>
                    <a:lnTo>
                      <a:pt x="172763" y="413101"/>
                    </a:lnTo>
                    <a:lnTo>
                      <a:pt x="184238" y="409913"/>
                    </a:lnTo>
                    <a:lnTo>
                      <a:pt x="230138" y="397801"/>
                    </a:lnTo>
                    <a:lnTo>
                      <a:pt x="481313" y="327676"/>
                    </a:lnTo>
                    <a:lnTo>
                      <a:pt x="527214" y="313651"/>
                    </a:lnTo>
                    <a:lnTo>
                      <a:pt x="538689" y="310463"/>
                    </a:lnTo>
                    <a:lnTo>
                      <a:pt x="538689" y="310463"/>
                    </a:lnTo>
                    <a:lnTo>
                      <a:pt x="543789" y="297713"/>
                    </a:lnTo>
                    <a:lnTo>
                      <a:pt x="555263" y="288150"/>
                    </a:lnTo>
                    <a:lnTo>
                      <a:pt x="570564" y="288150"/>
                    </a:lnTo>
                    <a:lnTo>
                      <a:pt x="572476" y="282413"/>
                    </a:lnTo>
                    <a:lnTo>
                      <a:pt x="597339" y="253725"/>
                    </a:lnTo>
                    <a:lnTo>
                      <a:pt x="599889" y="249263"/>
                    </a:lnTo>
                    <a:lnTo>
                      <a:pt x="601801" y="247988"/>
                    </a:lnTo>
                    <a:lnTo>
                      <a:pt x="576939" y="182325"/>
                    </a:lnTo>
                    <a:lnTo>
                      <a:pt x="564826" y="180413"/>
                    </a:lnTo>
                    <a:lnTo>
                      <a:pt x="565464" y="137700"/>
                    </a:lnTo>
                    <a:lnTo>
                      <a:pt x="553989" y="123675"/>
                    </a:lnTo>
                    <a:lnTo>
                      <a:pt x="581401" y="64387"/>
                    </a:lnTo>
                    <a:lnTo>
                      <a:pt x="581401" y="64387"/>
                    </a:lnTo>
                    <a:lnTo>
                      <a:pt x="578214" y="61838"/>
                    </a:lnTo>
                    <a:lnTo>
                      <a:pt x="578214" y="61838"/>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60" name="Freeform 66">
                <a:extLst>
                  <a:ext uri="{FF2B5EF4-FFF2-40B4-BE49-F238E27FC236}">
                    <a16:creationId xmlns:a16="http://schemas.microsoft.com/office/drawing/2014/main" id="{4451B017-1B11-CB96-658D-E662A1CC0220}"/>
                  </a:ext>
                </a:extLst>
              </p:cNvPr>
              <p:cNvSpPr/>
              <p:nvPr/>
            </p:nvSpPr>
            <p:spPr>
              <a:xfrm>
                <a:off x="7021632" y="1004683"/>
                <a:ext cx="382500" cy="640051"/>
              </a:xfrm>
              <a:custGeom>
                <a:avLst/>
                <a:gdLst>
                  <a:gd name="connsiteX0" fmla="*/ 151725 w 382500"/>
                  <a:gd name="connsiteY0" fmla="*/ 640051 h 640051"/>
                  <a:gd name="connsiteX1" fmla="*/ 151725 w 382500"/>
                  <a:gd name="connsiteY1" fmla="*/ 640051 h 640051"/>
                  <a:gd name="connsiteX2" fmla="*/ 151725 w 382500"/>
                  <a:gd name="connsiteY2" fmla="*/ 640051 h 640051"/>
                  <a:gd name="connsiteX3" fmla="*/ 151725 w 382500"/>
                  <a:gd name="connsiteY3" fmla="*/ 640051 h 640051"/>
                  <a:gd name="connsiteX4" fmla="*/ 151725 w 382500"/>
                  <a:gd name="connsiteY4" fmla="*/ 640051 h 640051"/>
                  <a:gd name="connsiteX5" fmla="*/ 198900 w 382500"/>
                  <a:gd name="connsiteY5" fmla="*/ 502988 h 640051"/>
                  <a:gd name="connsiteX6" fmla="*/ 193801 w 382500"/>
                  <a:gd name="connsiteY6" fmla="*/ 495339 h 640051"/>
                  <a:gd name="connsiteX7" fmla="*/ 193801 w 382500"/>
                  <a:gd name="connsiteY7" fmla="*/ 499164 h 640051"/>
                  <a:gd name="connsiteX8" fmla="*/ 198900 w 382500"/>
                  <a:gd name="connsiteY8" fmla="*/ 502988 h 640051"/>
                  <a:gd name="connsiteX9" fmla="*/ 189975 w 382500"/>
                  <a:gd name="connsiteY9" fmla="*/ 495976 h 640051"/>
                  <a:gd name="connsiteX10" fmla="*/ 189975 w 382500"/>
                  <a:gd name="connsiteY10" fmla="*/ 489601 h 640051"/>
                  <a:gd name="connsiteX11" fmla="*/ 189338 w 382500"/>
                  <a:gd name="connsiteY11" fmla="*/ 485776 h 640051"/>
                  <a:gd name="connsiteX12" fmla="*/ 189975 w 382500"/>
                  <a:gd name="connsiteY12" fmla="*/ 495976 h 640051"/>
                  <a:gd name="connsiteX13" fmla="*/ 212926 w 382500"/>
                  <a:gd name="connsiteY13" fmla="*/ 469201 h 640051"/>
                  <a:gd name="connsiteX14" fmla="*/ 211651 w 382500"/>
                  <a:gd name="connsiteY14" fmla="*/ 468563 h 640051"/>
                  <a:gd name="connsiteX15" fmla="*/ 212288 w 382500"/>
                  <a:gd name="connsiteY15" fmla="*/ 470476 h 640051"/>
                  <a:gd name="connsiteX16" fmla="*/ 212926 w 382500"/>
                  <a:gd name="connsiteY16" fmla="*/ 469201 h 640051"/>
                  <a:gd name="connsiteX17" fmla="*/ 212926 w 382500"/>
                  <a:gd name="connsiteY17" fmla="*/ 469201 h 640051"/>
                  <a:gd name="connsiteX18" fmla="*/ 277313 w 382500"/>
                  <a:gd name="connsiteY18" fmla="*/ 436688 h 640051"/>
                  <a:gd name="connsiteX19" fmla="*/ 276038 w 382500"/>
                  <a:gd name="connsiteY19" fmla="*/ 426488 h 640051"/>
                  <a:gd name="connsiteX20" fmla="*/ 273488 w 382500"/>
                  <a:gd name="connsiteY20" fmla="*/ 430951 h 640051"/>
                  <a:gd name="connsiteX21" fmla="*/ 277313 w 382500"/>
                  <a:gd name="connsiteY21" fmla="*/ 436688 h 640051"/>
                  <a:gd name="connsiteX22" fmla="*/ 261376 w 382500"/>
                  <a:gd name="connsiteY22" fmla="*/ 440513 h 640051"/>
                  <a:gd name="connsiteX23" fmla="*/ 262013 w 382500"/>
                  <a:gd name="connsiteY23" fmla="*/ 433501 h 640051"/>
                  <a:gd name="connsiteX24" fmla="*/ 254363 w 382500"/>
                  <a:gd name="connsiteY24" fmla="*/ 434776 h 640051"/>
                  <a:gd name="connsiteX25" fmla="*/ 261376 w 382500"/>
                  <a:gd name="connsiteY25" fmla="*/ 440513 h 640051"/>
                  <a:gd name="connsiteX26" fmla="*/ 261376 w 382500"/>
                  <a:gd name="connsiteY26" fmla="*/ 440513 h 640051"/>
                  <a:gd name="connsiteX27" fmla="*/ 284963 w 382500"/>
                  <a:gd name="connsiteY27" fmla="*/ 419476 h 640051"/>
                  <a:gd name="connsiteX28" fmla="*/ 282413 w 382500"/>
                  <a:gd name="connsiteY28" fmla="*/ 419476 h 640051"/>
                  <a:gd name="connsiteX29" fmla="*/ 282413 w 382500"/>
                  <a:gd name="connsiteY29" fmla="*/ 420751 h 640051"/>
                  <a:gd name="connsiteX30" fmla="*/ 284963 w 382500"/>
                  <a:gd name="connsiteY30" fmla="*/ 419476 h 640051"/>
                  <a:gd name="connsiteX31" fmla="*/ 253088 w 382500"/>
                  <a:gd name="connsiteY31" fmla="*/ 429676 h 640051"/>
                  <a:gd name="connsiteX32" fmla="*/ 247350 w 382500"/>
                  <a:gd name="connsiteY32" fmla="*/ 428401 h 640051"/>
                  <a:gd name="connsiteX33" fmla="*/ 246713 w 382500"/>
                  <a:gd name="connsiteY33" fmla="*/ 434138 h 640051"/>
                  <a:gd name="connsiteX34" fmla="*/ 253088 w 382500"/>
                  <a:gd name="connsiteY34" fmla="*/ 429676 h 640051"/>
                  <a:gd name="connsiteX35" fmla="*/ 253088 w 382500"/>
                  <a:gd name="connsiteY35" fmla="*/ 429676 h 640051"/>
                  <a:gd name="connsiteX36" fmla="*/ 285601 w 382500"/>
                  <a:gd name="connsiteY36" fmla="*/ 409276 h 640051"/>
                  <a:gd name="connsiteX37" fmla="*/ 291338 w 382500"/>
                  <a:gd name="connsiteY37" fmla="*/ 413738 h 640051"/>
                  <a:gd name="connsiteX38" fmla="*/ 289426 w 382500"/>
                  <a:gd name="connsiteY38" fmla="*/ 408638 h 640051"/>
                  <a:gd name="connsiteX39" fmla="*/ 285601 w 382500"/>
                  <a:gd name="connsiteY39" fmla="*/ 409276 h 640051"/>
                  <a:gd name="connsiteX40" fmla="*/ 268388 w 382500"/>
                  <a:gd name="connsiteY40" fmla="*/ 409913 h 640051"/>
                  <a:gd name="connsiteX41" fmla="*/ 262651 w 382500"/>
                  <a:gd name="connsiteY41" fmla="*/ 421388 h 640051"/>
                  <a:gd name="connsiteX42" fmla="*/ 270301 w 382500"/>
                  <a:gd name="connsiteY42" fmla="*/ 417563 h 640051"/>
                  <a:gd name="connsiteX43" fmla="*/ 268388 w 382500"/>
                  <a:gd name="connsiteY43" fmla="*/ 409913 h 640051"/>
                  <a:gd name="connsiteX44" fmla="*/ 268388 w 382500"/>
                  <a:gd name="connsiteY44" fmla="*/ 409913 h 640051"/>
                  <a:gd name="connsiteX45" fmla="*/ 240975 w 382500"/>
                  <a:gd name="connsiteY45" fmla="*/ 409913 h 640051"/>
                  <a:gd name="connsiteX46" fmla="*/ 238426 w 382500"/>
                  <a:gd name="connsiteY46" fmla="*/ 413738 h 640051"/>
                  <a:gd name="connsiteX47" fmla="*/ 240338 w 382500"/>
                  <a:gd name="connsiteY47" fmla="*/ 419476 h 640051"/>
                  <a:gd name="connsiteX48" fmla="*/ 240975 w 382500"/>
                  <a:gd name="connsiteY48" fmla="*/ 409913 h 640051"/>
                  <a:gd name="connsiteX49" fmla="*/ 240975 w 382500"/>
                  <a:gd name="connsiteY49" fmla="*/ 409913 h 640051"/>
                  <a:gd name="connsiteX50" fmla="*/ 278588 w 382500"/>
                  <a:gd name="connsiteY50" fmla="*/ 388876 h 640051"/>
                  <a:gd name="connsiteX51" fmla="*/ 277950 w 382500"/>
                  <a:gd name="connsiteY51" fmla="*/ 383776 h 640051"/>
                  <a:gd name="connsiteX52" fmla="*/ 276038 w 382500"/>
                  <a:gd name="connsiteY52" fmla="*/ 386963 h 640051"/>
                  <a:gd name="connsiteX53" fmla="*/ 278588 w 382500"/>
                  <a:gd name="connsiteY53" fmla="*/ 388876 h 640051"/>
                  <a:gd name="connsiteX54" fmla="*/ 278588 w 382500"/>
                  <a:gd name="connsiteY54" fmla="*/ 388876 h 640051"/>
                  <a:gd name="connsiteX55" fmla="*/ 275401 w 382500"/>
                  <a:gd name="connsiteY55" fmla="*/ 391426 h 640051"/>
                  <a:gd name="connsiteX56" fmla="*/ 269663 w 382500"/>
                  <a:gd name="connsiteY56" fmla="*/ 386326 h 640051"/>
                  <a:gd name="connsiteX57" fmla="*/ 269663 w 382500"/>
                  <a:gd name="connsiteY57" fmla="*/ 390788 h 640051"/>
                  <a:gd name="connsiteX58" fmla="*/ 275401 w 382500"/>
                  <a:gd name="connsiteY58" fmla="*/ 391426 h 640051"/>
                  <a:gd name="connsiteX59" fmla="*/ 239700 w 382500"/>
                  <a:gd name="connsiteY59" fmla="*/ 406726 h 640051"/>
                  <a:gd name="connsiteX60" fmla="*/ 238426 w 382500"/>
                  <a:gd name="connsiteY60" fmla="*/ 399713 h 640051"/>
                  <a:gd name="connsiteX61" fmla="*/ 235875 w 382500"/>
                  <a:gd name="connsiteY61" fmla="*/ 405451 h 640051"/>
                  <a:gd name="connsiteX62" fmla="*/ 239700 w 382500"/>
                  <a:gd name="connsiteY62" fmla="*/ 406726 h 640051"/>
                  <a:gd name="connsiteX63" fmla="*/ 300263 w 382500"/>
                  <a:gd name="connsiteY63" fmla="*/ 384413 h 640051"/>
                  <a:gd name="connsiteX64" fmla="*/ 290063 w 382500"/>
                  <a:gd name="connsiteY64" fmla="*/ 398438 h 640051"/>
                  <a:gd name="connsiteX65" fmla="*/ 289426 w 382500"/>
                  <a:gd name="connsiteY65" fmla="*/ 387601 h 640051"/>
                  <a:gd name="connsiteX66" fmla="*/ 300263 w 382500"/>
                  <a:gd name="connsiteY66" fmla="*/ 384413 h 640051"/>
                  <a:gd name="connsiteX67" fmla="*/ 347438 w 382500"/>
                  <a:gd name="connsiteY67" fmla="*/ 341063 h 640051"/>
                  <a:gd name="connsiteX68" fmla="*/ 342976 w 382500"/>
                  <a:gd name="connsiteY68" fmla="*/ 334688 h 640051"/>
                  <a:gd name="connsiteX69" fmla="*/ 340426 w 382500"/>
                  <a:gd name="connsiteY69" fmla="*/ 335963 h 640051"/>
                  <a:gd name="connsiteX70" fmla="*/ 347438 w 382500"/>
                  <a:gd name="connsiteY70" fmla="*/ 341063 h 640051"/>
                  <a:gd name="connsiteX71" fmla="*/ 364651 w 382500"/>
                  <a:gd name="connsiteY71" fmla="*/ 312376 h 640051"/>
                  <a:gd name="connsiteX72" fmla="*/ 360826 w 382500"/>
                  <a:gd name="connsiteY72" fmla="*/ 310463 h 640051"/>
                  <a:gd name="connsiteX73" fmla="*/ 360188 w 382500"/>
                  <a:gd name="connsiteY73" fmla="*/ 312376 h 640051"/>
                  <a:gd name="connsiteX74" fmla="*/ 364651 w 382500"/>
                  <a:gd name="connsiteY74" fmla="*/ 312376 h 640051"/>
                  <a:gd name="connsiteX75" fmla="*/ 364651 w 382500"/>
                  <a:gd name="connsiteY75" fmla="*/ 312376 h 640051"/>
                  <a:gd name="connsiteX76" fmla="*/ 372938 w 382500"/>
                  <a:gd name="connsiteY76" fmla="*/ 262013 h 640051"/>
                  <a:gd name="connsiteX77" fmla="*/ 367201 w 382500"/>
                  <a:gd name="connsiteY77" fmla="*/ 262013 h 640051"/>
                  <a:gd name="connsiteX78" fmla="*/ 373576 w 382500"/>
                  <a:gd name="connsiteY78" fmla="*/ 263926 h 640051"/>
                  <a:gd name="connsiteX79" fmla="*/ 372938 w 382500"/>
                  <a:gd name="connsiteY79" fmla="*/ 262013 h 640051"/>
                  <a:gd name="connsiteX80" fmla="*/ 372938 w 382500"/>
                  <a:gd name="connsiteY80" fmla="*/ 262013 h 640051"/>
                  <a:gd name="connsiteX81" fmla="*/ 382501 w 382500"/>
                  <a:gd name="connsiteY81" fmla="*/ 268388 h 640051"/>
                  <a:gd name="connsiteX82" fmla="*/ 380588 w 382500"/>
                  <a:gd name="connsiteY82" fmla="*/ 256913 h 640051"/>
                  <a:gd name="connsiteX83" fmla="*/ 375488 w 382500"/>
                  <a:gd name="connsiteY83" fmla="*/ 256276 h 640051"/>
                  <a:gd name="connsiteX84" fmla="*/ 382501 w 382500"/>
                  <a:gd name="connsiteY84" fmla="*/ 268388 h 640051"/>
                  <a:gd name="connsiteX85" fmla="*/ 372301 w 382500"/>
                  <a:gd name="connsiteY85" fmla="*/ 258188 h 640051"/>
                  <a:gd name="connsiteX86" fmla="*/ 371026 w 382500"/>
                  <a:gd name="connsiteY86" fmla="*/ 246076 h 640051"/>
                  <a:gd name="connsiteX87" fmla="*/ 366563 w 382500"/>
                  <a:gd name="connsiteY87" fmla="*/ 254363 h 640051"/>
                  <a:gd name="connsiteX88" fmla="*/ 372301 w 382500"/>
                  <a:gd name="connsiteY88" fmla="*/ 258188 h 640051"/>
                  <a:gd name="connsiteX89" fmla="*/ 372301 w 382500"/>
                  <a:gd name="connsiteY89" fmla="*/ 258188 h 640051"/>
                  <a:gd name="connsiteX90" fmla="*/ 0 w 382500"/>
                  <a:gd name="connsiteY90" fmla="*/ 359551 h 640051"/>
                  <a:gd name="connsiteX91" fmla="*/ 93075 w 382500"/>
                  <a:gd name="connsiteY91" fmla="*/ 578214 h 640051"/>
                  <a:gd name="connsiteX92" fmla="*/ 94350 w 382500"/>
                  <a:gd name="connsiteY92" fmla="*/ 582676 h 640051"/>
                  <a:gd name="connsiteX93" fmla="*/ 134513 w 382500"/>
                  <a:gd name="connsiteY93" fmla="*/ 632401 h 640051"/>
                  <a:gd name="connsiteX94" fmla="*/ 134513 w 382500"/>
                  <a:gd name="connsiteY94" fmla="*/ 631126 h 640051"/>
                  <a:gd name="connsiteX95" fmla="*/ 140888 w 382500"/>
                  <a:gd name="connsiteY95" fmla="*/ 629214 h 640051"/>
                  <a:gd name="connsiteX96" fmla="*/ 142163 w 382500"/>
                  <a:gd name="connsiteY96" fmla="*/ 592876 h 640051"/>
                  <a:gd name="connsiteX97" fmla="*/ 153000 w 382500"/>
                  <a:gd name="connsiteY97" fmla="*/ 580126 h 640051"/>
                  <a:gd name="connsiteX98" fmla="*/ 159375 w 382500"/>
                  <a:gd name="connsiteY98" fmla="*/ 546339 h 640051"/>
                  <a:gd name="connsiteX99" fmla="*/ 153638 w 382500"/>
                  <a:gd name="connsiteY99" fmla="*/ 540601 h 640051"/>
                  <a:gd name="connsiteX100" fmla="*/ 165113 w 382500"/>
                  <a:gd name="connsiteY100" fmla="*/ 507451 h 640051"/>
                  <a:gd name="connsiteX101" fmla="*/ 202088 w 382500"/>
                  <a:gd name="connsiteY101" fmla="*/ 490238 h 640051"/>
                  <a:gd name="connsiteX102" fmla="*/ 226313 w 382500"/>
                  <a:gd name="connsiteY102" fmla="*/ 460276 h 640051"/>
                  <a:gd name="connsiteX103" fmla="*/ 235875 w 382500"/>
                  <a:gd name="connsiteY103" fmla="*/ 408638 h 640051"/>
                  <a:gd name="connsiteX104" fmla="*/ 274763 w 382500"/>
                  <a:gd name="connsiteY104" fmla="*/ 406088 h 640051"/>
                  <a:gd name="connsiteX105" fmla="*/ 269663 w 382500"/>
                  <a:gd name="connsiteY105" fmla="*/ 379313 h 640051"/>
                  <a:gd name="connsiteX106" fmla="*/ 318751 w 382500"/>
                  <a:gd name="connsiteY106" fmla="*/ 360826 h 640051"/>
                  <a:gd name="connsiteX107" fmla="*/ 321938 w 382500"/>
                  <a:gd name="connsiteY107" fmla="*/ 331501 h 640051"/>
                  <a:gd name="connsiteX108" fmla="*/ 333413 w 382500"/>
                  <a:gd name="connsiteY108" fmla="*/ 334051 h 640051"/>
                  <a:gd name="connsiteX109" fmla="*/ 365926 w 382500"/>
                  <a:gd name="connsiteY109" fmla="*/ 307276 h 640051"/>
                  <a:gd name="connsiteX110" fmla="*/ 379951 w 382500"/>
                  <a:gd name="connsiteY110" fmla="*/ 273488 h 640051"/>
                  <a:gd name="connsiteX111" fmla="*/ 346801 w 382500"/>
                  <a:gd name="connsiteY111" fmla="*/ 240338 h 640051"/>
                  <a:gd name="connsiteX112" fmla="*/ 312376 w 382500"/>
                  <a:gd name="connsiteY112" fmla="*/ 233326 h 640051"/>
                  <a:gd name="connsiteX113" fmla="*/ 299626 w 382500"/>
                  <a:gd name="connsiteY113" fmla="*/ 206550 h 640051"/>
                  <a:gd name="connsiteX114" fmla="*/ 299626 w 382500"/>
                  <a:gd name="connsiteY114" fmla="*/ 191250 h 640051"/>
                  <a:gd name="connsiteX115" fmla="*/ 278588 w 382500"/>
                  <a:gd name="connsiteY115" fmla="*/ 197625 h 640051"/>
                  <a:gd name="connsiteX116" fmla="*/ 255001 w 382500"/>
                  <a:gd name="connsiteY116" fmla="*/ 189338 h 640051"/>
                  <a:gd name="connsiteX117" fmla="*/ 255001 w 382500"/>
                  <a:gd name="connsiteY117" fmla="*/ 163200 h 640051"/>
                  <a:gd name="connsiteX118" fmla="*/ 190613 w 382500"/>
                  <a:gd name="connsiteY118" fmla="*/ 24225 h 640051"/>
                  <a:gd name="connsiteX119" fmla="*/ 143438 w 382500"/>
                  <a:gd name="connsiteY119" fmla="*/ 0 h 640051"/>
                  <a:gd name="connsiteX120" fmla="*/ 91163 w 382500"/>
                  <a:gd name="connsiteY120" fmla="*/ 43988 h 640051"/>
                  <a:gd name="connsiteX121" fmla="*/ 77138 w 382500"/>
                  <a:gd name="connsiteY121" fmla="*/ 41438 h 640051"/>
                  <a:gd name="connsiteX122" fmla="*/ 65025 w 382500"/>
                  <a:gd name="connsiteY122" fmla="*/ 19125 h 640051"/>
                  <a:gd name="connsiteX123" fmla="*/ 48450 w 382500"/>
                  <a:gd name="connsiteY123" fmla="*/ 25500 h 640051"/>
                  <a:gd name="connsiteX124" fmla="*/ 24863 w 382500"/>
                  <a:gd name="connsiteY124" fmla="*/ 144075 h 640051"/>
                  <a:gd name="connsiteX125" fmla="*/ 33150 w 382500"/>
                  <a:gd name="connsiteY125" fmla="*/ 182325 h 640051"/>
                  <a:gd name="connsiteX126" fmla="*/ 40163 w 382500"/>
                  <a:gd name="connsiteY126" fmla="*/ 260101 h 640051"/>
                  <a:gd name="connsiteX127" fmla="*/ 21675 w 382500"/>
                  <a:gd name="connsiteY127" fmla="*/ 320026 h 640051"/>
                  <a:gd name="connsiteX128" fmla="*/ 34425 w 382500"/>
                  <a:gd name="connsiteY128" fmla="*/ 330226 h 640051"/>
                  <a:gd name="connsiteX129" fmla="*/ 19125 w 382500"/>
                  <a:gd name="connsiteY129" fmla="*/ 360188 h 640051"/>
                  <a:gd name="connsiteX130" fmla="*/ 2550 w 382500"/>
                  <a:gd name="connsiteY130" fmla="*/ 357638 h 640051"/>
                  <a:gd name="connsiteX131" fmla="*/ 0 w 382500"/>
                  <a:gd name="connsiteY131" fmla="*/ 359551 h 640051"/>
                  <a:gd name="connsiteX132" fmla="*/ 0 w 382500"/>
                  <a:gd name="connsiteY132" fmla="*/ 359551 h 64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82500" h="640051">
                    <a:moveTo>
                      <a:pt x="151725" y="640051"/>
                    </a:moveTo>
                    <a:lnTo>
                      <a:pt x="151725" y="640051"/>
                    </a:lnTo>
                    <a:lnTo>
                      <a:pt x="151725" y="640051"/>
                    </a:lnTo>
                    <a:lnTo>
                      <a:pt x="151725" y="640051"/>
                    </a:lnTo>
                    <a:lnTo>
                      <a:pt x="151725" y="640051"/>
                    </a:lnTo>
                    <a:close/>
                    <a:moveTo>
                      <a:pt x="198900" y="502988"/>
                    </a:moveTo>
                    <a:lnTo>
                      <a:pt x="193801" y="495339"/>
                    </a:lnTo>
                    <a:lnTo>
                      <a:pt x="193801" y="499164"/>
                    </a:lnTo>
                    <a:lnTo>
                      <a:pt x="198900" y="502988"/>
                    </a:lnTo>
                    <a:close/>
                    <a:moveTo>
                      <a:pt x="189975" y="495976"/>
                    </a:moveTo>
                    <a:lnTo>
                      <a:pt x="189975" y="489601"/>
                    </a:lnTo>
                    <a:lnTo>
                      <a:pt x="189338" y="485776"/>
                    </a:lnTo>
                    <a:lnTo>
                      <a:pt x="189975" y="495976"/>
                    </a:lnTo>
                    <a:close/>
                    <a:moveTo>
                      <a:pt x="212926" y="469201"/>
                    </a:moveTo>
                    <a:lnTo>
                      <a:pt x="211651" y="468563"/>
                    </a:lnTo>
                    <a:lnTo>
                      <a:pt x="212288" y="470476"/>
                    </a:lnTo>
                    <a:lnTo>
                      <a:pt x="212926" y="469201"/>
                    </a:lnTo>
                    <a:lnTo>
                      <a:pt x="212926" y="469201"/>
                    </a:lnTo>
                    <a:close/>
                    <a:moveTo>
                      <a:pt x="277313" y="436688"/>
                    </a:moveTo>
                    <a:lnTo>
                      <a:pt x="276038" y="426488"/>
                    </a:lnTo>
                    <a:lnTo>
                      <a:pt x="273488" y="430951"/>
                    </a:lnTo>
                    <a:lnTo>
                      <a:pt x="277313" y="436688"/>
                    </a:lnTo>
                    <a:close/>
                    <a:moveTo>
                      <a:pt x="261376" y="440513"/>
                    </a:moveTo>
                    <a:lnTo>
                      <a:pt x="262013" y="433501"/>
                    </a:lnTo>
                    <a:lnTo>
                      <a:pt x="254363" y="434776"/>
                    </a:lnTo>
                    <a:lnTo>
                      <a:pt x="261376" y="440513"/>
                    </a:lnTo>
                    <a:lnTo>
                      <a:pt x="261376" y="440513"/>
                    </a:lnTo>
                    <a:close/>
                    <a:moveTo>
                      <a:pt x="284963" y="419476"/>
                    </a:moveTo>
                    <a:lnTo>
                      <a:pt x="282413" y="419476"/>
                    </a:lnTo>
                    <a:lnTo>
                      <a:pt x="282413" y="420751"/>
                    </a:lnTo>
                    <a:lnTo>
                      <a:pt x="284963" y="419476"/>
                    </a:lnTo>
                    <a:close/>
                    <a:moveTo>
                      <a:pt x="253088" y="429676"/>
                    </a:moveTo>
                    <a:lnTo>
                      <a:pt x="247350" y="428401"/>
                    </a:lnTo>
                    <a:lnTo>
                      <a:pt x="246713" y="434138"/>
                    </a:lnTo>
                    <a:lnTo>
                      <a:pt x="253088" y="429676"/>
                    </a:lnTo>
                    <a:lnTo>
                      <a:pt x="253088" y="429676"/>
                    </a:lnTo>
                    <a:close/>
                    <a:moveTo>
                      <a:pt x="285601" y="409276"/>
                    </a:moveTo>
                    <a:lnTo>
                      <a:pt x="291338" y="413738"/>
                    </a:lnTo>
                    <a:lnTo>
                      <a:pt x="289426" y="408638"/>
                    </a:lnTo>
                    <a:lnTo>
                      <a:pt x="285601" y="409276"/>
                    </a:lnTo>
                    <a:close/>
                    <a:moveTo>
                      <a:pt x="268388" y="409913"/>
                    </a:moveTo>
                    <a:lnTo>
                      <a:pt x="262651" y="421388"/>
                    </a:lnTo>
                    <a:lnTo>
                      <a:pt x="270301" y="417563"/>
                    </a:lnTo>
                    <a:lnTo>
                      <a:pt x="268388" y="409913"/>
                    </a:lnTo>
                    <a:lnTo>
                      <a:pt x="268388" y="409913"/>
                    </a:lnTo>
                    <a:close/>
                    <a:moveTo>
                      <a:pt x="240975" y="409913"/>
                    </a:moveTo>
                    <a:lnTo>
                      <a:pt x="238426" y="413738"/>
                    </a:lnTo>
                    <a:lnTo>
                      <a:pt x="240338" y="419476"/>
                    </a:lnTo>
                    <a:lnTo>
                      <a:pt x="240975" y="409913"/>
                    </a:lnTo>
                    <a:lnTo>
                      <a:pt x="240975" y="409913"/>
                    </a:lnTo>
                    <a:close/>
                    <a:moveTo>
                      <a:pt x="278588" y="388876"/>
                    </a:moveTo>
                    <a:lnTo>
                      <a:pt x="277950" y="383776"/>
                    </a:lnTo>
                    <a:lnTo>
                      <a:pt x="276038" y="386963"/>
                    </a:lnTo>
                    <a:lnTo>
                      <a:pt x="278588" y="388876"/>
                    </a:lnTo>
                    <a:lnTo>
                      <a:pt x="278588" y="388876"/>
                    </a:lnTo>
                    <a:close/>
                    <a:moveTo>
                      <a:pt x="275401" y="391426"/>
                    </a:moveTo>
                    <a:lnTo>
                      <a:pt x="269663" y="386326"/>
                    </a:lnTo>
                    <a:lnTo>
                      <a:pt x="269663" y="390788"/>
                    </a:lnTo>
                    <a:lnTo>
                      <a:pt x="275401" y="391426"/>
                    </a:lnTo>
                    <a:close/>
                    <a:moveTo>
                      <a:pt x="239700" y="406726"/>
                    </a:moveTo>
                    <a:lnTo>
                      <a:pt x="238426" y="399713"/>
                    </a:lnTo>
                    <a:lnTo>
                      <a:pt x="235875" y="405451"/>
                    </a:lnTo>
                    <a:lnTo>
                      <a:pt x="239700" y="406726"/>
                    </a:lnTo>
                    <a:close/>
                    <a:moveTo>
                      <a:pt x="300263" y="384413"/>
                    </a:moveTo>
                    <a:lnTo>
                      <a:pt x="290063" y="398438"/>
                    </a:lnTo>
                    <a:lnTo>
                      <a:pt x="289426" y="387601"/>
                    </a:lnTo>
                    <a:lnTo>
                      <a:pt x="300263" y="384413"/>
                    </a:lnTo>
                    <a:close/>
                    <a:moveTo>
                      <a:pt x="347438" y="341063"/>
                    </a:moveTo>
                    <a:lnTo>
                      <a:pt x="342976" y="334688"/>
                    </a:lnTo>
                    <a:lnTo>
                      <a:pt x="340426" y="335963"/>
                    </a:lnTo>
                    <a:lnTo>
                      <a:pt x="347438" y="341063"/>
                    </a:lnTo>
                    <a:close/>
                    <a:moveTo>
                      <a:pt x="364651" y="312376"/>
                    </a:moveTo>
                    <a:lnTo>
                      <a:pt x="360826" y="310463"/>
                    </a:lnTo>
                    <a:lnTo>
                      <a:pt x="360188" y="312376"/>
                    </a:lnTo>
                    <a:lnTo>
                      <a:pt x="364651" y="312376"/>
                    </a:lnTo>
                    <a:lnTo>
                      <a:pt x="364651" y="312376"/>
                    </a:lnTo>
                    <a:close/>
                    <a:moveTo>
                      <a:pt x="372938" y="262013"/>
                    </a:moveTo>
                    <a:lnTo>
                      <a:pt x="367201" y="262013"/>
                    </a:lnTo>
                    <a:lnTo>
                      <a:pt x="373576" y="263926"/>
                    </a:lnTo>
                    <a:lnTo>
                      <a:pt x="372938" y="262013"/>
                    </a:lnTo>
                    <a:lnTo>
                      <a:pt x="372938" y="262013"/>
                    </a:lnTo>
                    <a:close/>
                    <a:moveTo>
                      <a:pt x="382501" y="268388"/>
                    </a:moveTo>
                    <a:lnTo>
                      <a:pt x="380588" y="256913"/>
                    </a:lnTo>
                    <a:lnTo>
                      <a:pt x="375488" y="256276"/>
                    </a:lnTo>
                    <a:cubicBezTo>
                      <a:pt x="376126" y="256913"/>
                      <a:pt x="382501" y="268388"/>
                      <a:pt x="382501" y="268388"/>
                    </a:cubicBezTo>
                    <a:close/>
                    <a:moveTo>
                      <a:pt x="372301" y="258188"/>
                    </a:moveTo>
                    <a:lnTo>
                      <a:pt x="371026" y="246076"/>
                    </a:lnTo>
                    <a:lnTo>
                      <a:pt x="366563" y="254363"/>
                    </a:lnTo>
                    <a:lnTo>
                      <a:pt x="372301" y="258188"/>
                    </a:lnTo>
                    <a:lnTo>
                      <a:pt x="372301" y="258188"/>
                    </a:lnTo>
                    <a:close/>
                    <a:moveTo>
                      <a:pt x="0" y="359551"/>
                    </a:moveTo>
                    <a:lnTo>
                      <a:pt x="93075" y="578214"/>
                    </a:lnTo>
                    <a:lnTo>
                      <a:pt x="94350" y="582676"/>
                    </a:lnTo>
                    <a:lnTo>
                      <a:pt x="134513" y="632401"/>
                    </a:lnTo>
                    <a:lnTo>
                      <a:pt x="134513" y="631126"/>
                    </a:lnTo>
                    <a:lnTo>
                      <a:pt x="140888" y="629214"/>
                    </a:lnTo>
                    <a:lnTo>
                      <a:pt x="142163" y="592876"/>
                    </a:lnTo>
                    <a:lnTo>
                      <a:pt x="153000" y="580126"/>
                    </a:lnTo>
                    <a:lnTo>
                      <a:pt x="159375" y="546339"/>
                    </a:lnTo>
                    <a:lnTo>
                      <a:pt x="153638" y="540601"/>
                    </a:lnTo>
                    <a:lnTo>
                      <a:pt x="165113" y="507451"/>
                    </a:lnTo>
                    <a:lnTo>
                      <a:pt x="202088" y="490238"/>
                    </a:lnTo>
                    <a:lnTo>
                      <a:pt x="226313" y="460276"/>
                    </a:lnTo>
                    <a:lnTo>
                      <a:pt x="235875" y="408638"/>
                    </a:lnTo>
                    <a:lnTo>
                      <a:pt x="274763" y="406088"/>
                    </a:lnTo>
                    <a:lnTo>
                      <a:pt x="269663" y="379313"/>
                    </a:lnTo>
                    <a:lnTo>
                      <a:pt x="318751" y="360826"/>
                    </a:lnTo>
                    <a:lnTo>
                      <a:pt x="321938" y="331501"/>
                    </a:lnTo>
                    <a:lnTo>
                      <a:pt x="333413" y="334051"/>
                    </a:lnTo>
                    <a:lnTo>
                      <a:pt x="365926" y="307276"/>
                    </a:lnTo>
                    <a:lnTo>
                      <a:pt x="379951" y="273488"/>
                    </a:lnTo>
                    <a:lnTo>
                      <a:pt x="346801" y="240338"/>
                    </a:lnTo>
                    <a:lnTo>
                      <a:pt x="312376" y="233326"/>
                    </a:lnTo>
                    <a:lnTo>
                      <a:pt x="299626" y="206550"/>
                    </a:lnTo>
                    <a:lnTo>
                      <a:pt x="299626" y="191250"/>
                    </a:lnTo>
                    <a:lnTo>
                      <a:pt x="278588" y="197625"/>
                    </a:lnTo>
                    <a:lnTo>
                      <a:pt x="255001" y="189338"/>
                    </a:lnTo>
                    <a:lnTo>
                      <a:pt x="255001" y="163200"/>
                    </a:lnTo>
                    <a:lnTo>
                      <a:pt x="190613" y="24225"/>
                    </a:lnTo>
                    <a:lnTo>
                      <a:pt x="143438" y="0"/>
                    </a:lnTo>
                    <a:lnTo>
                      <a:pt x="91163" y="43988"/>
                    </a:lnTo>
                    <a:lnTo>
                      <a:pt x="77138" y="41438"/>
                    </a:lnTo>
                    <a:lnTo>
                      <a:pt x="65025" y="19125"/>
                    </a:lnTo>
                    <a:lnTo>
                      <a:pt x="48450" y="25500"/>
                    </a:lnTo>
                    <a:lnTo>
                      <a:pt x="24863" y="144075"/>
                    </a:lnTo>
                    <a:lnTo>
                      <a:pt x="33150" y="182325"/>
                    </a:lnTo>
                    <a:lnTo>
                      <a:pt x="40163" y="260101"/>
                    </a:lnTo>
                    <a:lnTo>
                      <a:pt x="21675" y="320026"/>
                    </a:lnTo>
                    <a:lnTo>
                      <a:pt x="34425" y="330226"/>
                    </a:lnTo>
                    <a:lnTo>
                      <a:pt x="19125" y="360188"/>
                    </a:lnTo>
                    <a:lnTo>
                      <a:pt x="2550" y="357638"/>
                    </a:lnTo>
                    <a:lnTo>
                      <a:pt x="0" y="359551"/>
                    </a:lnTo>
                    <a:lnTo>
                      <a:pt x="0" y="359551"/>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61" name="Freeform 67">
                <a:extLst>
                  <a:ext uri="{FF2B5EF4-FFF2-40B4-BE49-F238E27FC236}">
                    <a16:creationId xmlns:a16="http://schemas.microsoft.com/office/drawing/2014/main" id="{519AF542-E971-D44C-1E96-ADC61820BD43}"/>
                  </a:ext>
                </a:extLst>
              </p:cNvPr>
              <p:cNvSpPr/>
              <p:nvPr/>
            </p:nvSpPr>
            <p:spPr>
              <a:xfrm>
                <a:off x="5243003" y="1390372"/>
                <a:ext cx="829389" cy="830664"/>
              </a:xfrm>
              <a:custGeom>
                <a:avLst/>
                <a:gdLst>
                  <a:gd name="connsiteX0" fmla="*/ 429038 w 829389"/>
                  <a:gd name="connsiteY0" fmla="*/ 385051 h 830664"/>
                  <a:gd name="connsiteX1" fmla="*/ 425851 w 829389"/>
                  <a:gd name="connsiteY1" fmla="*/ 379951 h 830664"/>
                  <a:gd name="connsiteX2" fmla="*/ 425213 w 829389"/>
                  <a:gd name="connsiteY2" fmla="*/ 386326 h 830664"/>
                  <a:gd name="connsiteX3" fmla="*/ 429038 w 829389"/>
                  <a:gd name="connsiteY3" fmla="*/ 385051 h 830664"/>
                  <a:gd name="connsiteX4" fmla="*/ 439239 w 829389"/>
                  <a:gd name="connsiteY4" fmla="*/ 374213 h 830664"/>
                  <a:gd name="connsiteX5" fmla="*/ 431588 w 829389"/>
                  <a:gd name="connsiteY5" fmla="*/ 363376 h 830664"/>
                  <a:gd name="connsiteX6" fmla="*/ 430313 w 829389"/>
                  <a:gd name="connsiteY6" fmla="*/ 367838 h 830664"/>
                  <a:gd name="connsiteX7" fmla="*/ 439239 w 829389"/>
                  <a:gd name="connsiteY7" fmla="*/ 374213 h 830664"/>
                  <a:gd name="connsiteX8" fmla="*/ 445614 w 829389"/>
                  <a:gd name="connsiteY8" fmla="*/ 327676 h 830664"/>
                  <a:gd name="connsiteX9" fmla="*/ 439239 w 829389"/>
                  <a:gd name="connsiteY9" fmla="*/ 321938 h 830664"/>
                  <a:gd name="connsiteX10" fmla="*/ 439239 w 829389"/>
                  <a:gd name="connsiteY10" fmla="*/ 323213 h 830664"/>
                  <a:gd name="connsiteX11" fmla="*/ 445614 w 829389"/>
                  <a:gd name="connsiteY11" fmla="*/ 327676 h 830664"/>
                  <a:gd name="connsiteX12" fmla="*/ 429676 w 829389"/>
                  <a:gd name="connsiteY12" fmla="*/ 830664 h 830664"/>
                  <a:gd name="connsiteX13" fmla="*/ 509364 w 829389"/>
                  <a:gd name="connsiteY13" fmla="*/ 817914 h 830664"/>
                  <a:gd name="connsiteX14" fmla="*/ 531676 w 829389"/>
                  <a:gd name="connsiteY14" fmla="*/ 813452 h 830664"/>
                  <a:gd name="connsiteX15" fmla="*/ 630489 w 829389"/>
                  <a:gd name="connsiteY15" fmla="*/ 796239 h 830664"/>
                  <a:gd name="connsiteX16" fmla="*/ 632401 w 829389"/>
                  <a:gd name="connsiteY16" fmla="*/ 804527 h 830664"/>
                  <a:gd name="connsiteX17" fmla="*/ 638776 w 829389"/>
                  <a:gd name="connsiteY17" fmla="*/ 802614 h 830664"/>
                  <a:gd name="connsiteX18" fmla="*/ 680851 w 829389"/>
                  <a:gd name="connsiteY18" fmla="*/ 793052 h 830664"/>
                  <a:gd name="connsiteX19" fmla="*/ 721014 w 829389"/>
                  <a:gd name="connsiteY19" fmla="*/ 782852 h 830664"/>
                  <a:gd name="connsiteX20" fmla="*/ 761814 w 829389"/>
                  <a:gd name="connsiteY20" fmla="*/ 772014 h 830664"/>
                  <a:gd name="connsiteX21" fmla="*/ 761177 w 829389"/>
                  <a:gd name="connsiteY21" fmla="*/ 770102 h 830664"/>
                  <a:gd name="connsiteX22" fmla="*/ 782214 w 829389"/>
                  <a:gd name="connsiteY22" fmla="*/ 728664 h 830664"/>
                  <a:gd name="connsiteX23" fmla="*/ 780302 w 829389"/>
                  <a:gd name="connsiteY23" fmla="*/ 694239 h 830664"/>
                  <a:gd name="connsiteX24" fmla="*/ 803889 w 829389"/>
                  <a:gd name="connsiteY24" fmla="*/ 634951 h 830664"/>
                  <a:gd name="connsiteX25" fmla="*/ 822377 w 829389"/>
                  <a:gd name="connsiteY25" fmla="*/ 646426 h 830664"/>
                  <a:gd name="connsiteX26" fmla="*/ 829389 w 829389"/>
                  <a:gd name="connsiteY26" fmla="*/ 633039 h 830664"/>
                  <a:gd name="connsiteX27" fmla="*/ 827477 w 829389"/>
                  <a:gd name="connsiteY27" fmla="*/ 581401 h 830664"/>
                  <a:gd name="connsiteX28" fmla="*/ 810264 w 829389"/>
                  <a:gd name="connsiteY28" fmla="*/ 548889 h 830664"/>
                  <a:gd name="connsiteX29" fmla="*/ 784764 w 829389"/>
                  <a:gd name="connsiteY29" fmla="*/ 480676 h 830664"/>
                  <a:gd name="connsiteX30" fmla="*/ 762451 w 829389"/>
                  <a:gd name="connsiteY30" fmla="*/ 455813 h 830664"/>
                  <a:gd name="connsiteX31" fmla="*/ 750976 w 829389"/>
                  <a:gd name="connsiteY31" fmla="*/ 452626 h 830664"/>
                  <a:gd name="connsiteX32" fmla="*/ 709539 w 829389"/>
                  <a:gd name="connsiteY32" fmla="*/ 481951 h 830664"/>
                  <a:gd name="connsiteX33" fmla="*/ 714001 w 829389"/>
                  <a:gd name="connsiteY33" fmla="*/ 487688 h 830664"/>
                  <a:gd name="connsiteX34" fmla="*/ 692326 w 829389"/>
                  <a:gd name="connsiteY34" fmla="*/ 528489 h 830664"/>
                  <a:gd name="connsiteX35" fmla="*/ 671289 w 829389"/>
                  <a:gd name="connsiteY35" fmla="*/ 524664 h 830664"/>
                  <a:gd name="connsiteX36" fmla="*/ 664914 w 829389"/>
                  <a:gd name="connsiteY36" fmla="*/ 481951 h 830664"/>
                  <a:gd name="connsiteX37" fmla="*/ 674476 w 829389"/>
                  <a:gd name="connsiteY37" fmla="*/ 478764 h 830664"/>
                  <a:gd name="connsiteX38" fmla="*/ 692964 w 829389"/>
                  <a:gd name="connsiteY38" fmla="*/ 436051 h 830664"/>
                  <a:gd name="connsiteX39" fmla="*/ 694876 w 829389"/>
                  <a:gd name="connsiteY39" fmla="*/ 360188 h 830664"/>
                  <a:gd name="connsiteX40" fmla="*/ 665552 w 829389"/>
                  <a:gd name="connsiteY40" fmla="*/ 295801 h 830664"/>
                  <a:gd name="connsiteX41" fmla="*/ 600526 w 829389"/>
                  <a:gd name="connsiteY41" fmla="*/ 284963 h 830664"/>
                  <a:gd name="connsiteX42" fmla="*/ 594151 w 829389"/>
                  <a:gd name="connsiteY42" fmla="*/ 274763 h 830664"/>
                  <a:gd name="connsiteX43" fmla="*/ 534864 w 829389"/>
                  <a:gd name="connsiteY43" fmla="*/ 257550 h 830664"/>
                  <a:gd name="connsiteX44" fmla="*/ 507451 w 829389"/>
                  <a:gd name="connsiteY44" fmla="*/ 290701 h 830664"/>
                  <a:gd name="connsiteX45" fmla="*/ 510001 w 829389"/>
                  <a:gd name="connsiteY45" fmla="*/ 320026 h 830664"/>
                  <a:gd name="connsiteX46" fmla="*/ 489601 w 829389"/>
                  <a:gd name="connsiteY46" fmla="*/ 345526 h 830664"/>
                  <a:gd name="connsiteX47" fmla="*/ 494064 w 829389"/>
                  <a:gd name="connsiteY47" fmla="*/ 385051 h 830664"/>
                  <a:gd name="connsiteX48" fmla="*/ 474301 w 829389"/>
                  <a:gd name="connsiteY48" fmla="*/ 399076 h 830664"/>
                  <a:gd name="connsiteX49" fmla="*/ 474301 w 829389"/>
                  <a:gd name="connsiteY49" fmla="*/ 348713 h 830664"/>
                  <a:gd name="connsiteX50" fmla="*/ 456451 w 829389"/>
                  <a:gd name="connsiteY50" fmla="*/ 386326 h 830664"/>
                  <a:gd name="connsiteX51" fmla="*/ 435413 w 829389"/>
                  <a:gd name="connsiteY51" fmla="*/ 419476 h 830664"/>
                  <a:gd name="connsiteX52" fmla="*/ 421388 w 829389"/>
                  <a:gd name="connsiteY52" fmla="*/ 430951 h 830664"/>
                  <a:gd name="connsiteX53" fmla="*/ 428401 w 829389"/>
                  <a:gd name="connsiteY53" fmla="*/ 466013 h 830664"/>
                  <a:gd name="connsiteX54" fmla="*/ 418838 w 829389"/>
                  <a:gd name="connsiteY54" fmla="*/ 502351 h 830664"/>
                  <a:gd name="connsiteX55" fmla="*/ 423938 w 829389"/>
                  <a:gd name="connsiteY55" fmla="*/ 548251 h 830664"/>
                  <a:gd name="connsiteX56" fmla="*/ 417563 w 829389"/>
                  <a:gd name="connsiteY56" fmla="*/ 570564 h 830664"/>
                  <a:gd name="connsiteX57" fmla="*/ 464101 w 829389"/>
                  <a:gd name="connsiteY57" fmla="*/ 659176 h 830664"/>
                  <a:gd name="connsiteX58" fmla="*/ 469839 w 829389"/>
                  <a:gd name="connsiteY58" fmla="*/ 692964 h 830664"/>
                  <a:gd name="connsiteX59" fmla="*/ 464101 w 829389"/>
                  <a:gd name="connsiteY59" fmla="*/ 756077 h 830664"/>
                  <a:gd name="connsiteX60" fmla="*/ 432864 w 829389"/>
                  <a:gd name="connsiteY60" fmla="*/ 826839 h 830664"/>
                  <a:gd name="connsiteX61" fmla="*/ 429676 w 829389"/>
                  <a:gd name="connsiteY61" fmla="*/ 830664 h 830664"/>
                  <a:gd name="connsiteX62" fmla="*/ 429676 w 829389"/>
                  <a:gd name="connsiteY62" fmla="*/ 830664 h 830664"/>
                  <a:gd name="connsiteX63" fmla="*/ 566739 w 829389"/>
                  <a:gd name="connsiteY63" fmla="*/ 251175 h 830664"/>
                  <a:gd name="connsiteX64" fmla="*/ 550164 w 829389"/>
                  <a:gd name="connsiteY64" fmla="*/ 252451 h 830664"/>
                  <a:gd name="connsiteX65" fmla="*/ 561001 w 829389"/>
                  <a:gd name="connsiteY65" fmla="*/ 260101 h 830664"/>
                  <a:gd name="connsiteX66" fmla="*/ 566739 w 829389"/>
                  <a:gd name="connsiteY66" fmla="*/ 251175 h 830664"/>
                  <a:gd name="connsiteX67" fmla="*/ 566739 w 829389"/>
                  <a:gd name="connsiteY67" fmla="*/ 251175 h 830664"/>
                  <a:gd name="connsiteX68" fmla="*/ 469839 w 829389"/>
                  <a:gd name="connsiteY68" fmla="*/ 267751 h 830664"/>
                  <a:gd name="connsiteX69" fmla="*/ 464739 w 829389"/>
                  <a:gd name="connsiteY69" fmla="*/ 267751 h 830664"/>
                  <a:gd name="connsiteX70" fmla="*/ 470476 w 829389"/>
                  <a:gd name="connsiteY70" fmla="*/ 270301 h 830664"/>
                  <a:gd name="connsiteX71" fmla="*/ 469839 w 829389"/>
                  <a:gd name="connsiteY71" fmla="*/ 267751 h 830664"/>
                  <a:gd name="connsiteX72" fmla="*/ 582039 w 829389"/>
                  <a:gd name="connsiteY72" fmla="*/ 186788 h 830664"/>
                  <a:gd name="connsiteX73" fmla="*/ 575664 w 829389"/>
                  <a:gd name="connsiteY73" fmla="*/ 175950 h 830664"/>
                  <a:gd name="connsiteX74" fmla="*/ 573114 w 829389"/>
                  <a:gd name="connsiteY74" fmla="*/ 176588 h 830664"/>
                  <a:gd name="connsiteX75" fmla="*/ 582039 w 829389"/>
                  <a:gd name="connsiteY75" fmla="*/ 186788 h 830664"/>
                  <a:gd name="connsiteX76" fmla="*/ 582039 w 829389"/>
                  <a:gd name="connsiteY76" fmla="*/ 186788 h 830664"/>
                  <a:gd name="connsiteX77" fmla="*/ 0 w 829389"/>
                  <a:gd name="connsiteY77" fmla="*/ 233326 h 830664"/>
                  <a:gd name="connsiteX78" fmla="*/ 20400 w 829389"/>
                  <a:gd name="connsiteY78" fmla="*/ 244800 h 830664"/>
                  <a:gd name="connsiteX79" fmla="*/ 125588 w 829389"/>
                  <a:gd name="connsiteY79" fmla="*/ 277313 h 830664"/>
                  <a:gd name="connsiteX80" fmla="*/ 174676 w 829389"/>
                  <a:gd name="connsiteY80" fmla="*/ 290063 h 830664"/>
                  <a:gd name="connsiteX81" fmla="*/ 222488 w 829389"/>
                  <a:gd name="connsiteY81" fmla="*/ 293251 h 830664"/>
                  <a:gd name="connsiteX82" fmla="*/ 256913 w 829389"/>
                  <a:gd name="connsiteY82" fmla="*/ 321938 h 830664"/>
                  <a:gd name="connsiteX83" fmla="*/ 256913 w 829389"/>
                  <a:gd name="connsiteY83" fmla="*/ 365926 h 830664"/>
                  <a:gd name="connsiteX84" fmla="*/ 288151 w 829389"/>
                  <a:gd name="connsiteY84" fmla="*/ 397163 h 830664"/>
                  <a:gd name="connsiteX85" fmla="*/ 288151 w 829389"/>
                  <a:gd name="connsiteY85" fmla="*/ 395888 h 830664"/>
                  <a:gd name="connsiteX86" fmla="*/ 313013 w 829389"/>
                  <a:gd name="connsiteY86" fmla="*/ 323213 h 830664"/>
                  <a:gd name="connsiteX87" fmla="*/ 343613 w 829389"/>
                  <a:gd name="connsiteY87" fmla="*/ 302176 h 830664"/>
                  <a:gd name="connsiteX88" fmla="*/ 366563 w 829389"/>
                  <a:gd name="connsiteY88" fmla="*/ 276676 h 830664"/>
                  <a:gd name="connsiteX89" fmla="*/ 370388 w 829389"/>
                  <a:gd name="connsiteY89" fmla="*/ 299626 h 830664"/>
                  <a:gd name="connsiteX90" fmla="*/ 393976 w 829389"/>
                  <a:gd name="connsiteY90" fmla="*/ 263288 h 830664"/>
                  <a:gd name="connsiteX91" fmla="*/ 450713 w 829389"/>
                  <a:gd name="connsiteY91" fmla="*/ 241613 h 830664"/>
                  <a:gd name="connsiteX92" fmla="*/ 455176 w 829389"/>
                  <a:gd name="connsiteY92" fmla="*/ 232050 h 830664"/>
                  <a:gd name="connsiteX93" fmla="*/ 512551 w 829389"/>
                  <a:gd name="connsiteY93" fmla="*/ 239063 h 830664"/>
                  <a:gd name="connsiteX94" fmla="*/ 534864 w 829389"/>
                  <a:gd name="connsiteY94" fmla="*/ 250538 h 830664"/>
                  <a:gd name="connsiteX95" fmla="*/ 546339 w 829389"/>
                  <a:gd name="connsiteY95" fmla="*/ 221851 h 830664"/>
                  <a:gd name="connsiteX96" fmla="*/ 557176 w 829389"/>
                  <a:gd name="connsiteY96" fmla="*/ 228226 h 830664"/>
                  <a:gd name="connsiteX97" fmla="*/ 602439 w 829389"/>
                  <a:gd name="connsiteY97" fmla="*/ 221213 h 830664"/>
                  <a:gd name="connsiteX98" fmla="*/ 590964 w 829389"/>
                  <a:gd name="connsiteY98" fmla="*/ 203363 h 830664"/>
                  <a:gd name="connsiteX99" fmla="*/ 571201 w 829389"/>
                  <a:gd name="connsiteY99" fmla="*/ 191888 h 830664"/>
                  <a:gd name="connsiteX100" fmla="*/ 575026 w 829389"/>
                  <a:gd name="connsiteY100" fmla="*/ 150450 h 830664"/>
                  <a:gd name="connsiteX101" fmla="*/ 536138 w 829389"/>
                  <a:gd name="connsiteY101" fmla="*/ 172125 h 830664"/>
                  <a:gd name="connsiteX102" fmla="*/ 500439 w 829389"/>
                  <a:gd name="connsiteY102" fmla="*/ 167663 h 830664"/>
                  <a:gd name="connsiteX103" fmla="*/ 488964 w 829389"/>
                  <a:gd name="connsiteY103" fmla="*/ 139613 h 830664"/>
                  <a:gd name="connsiteX104" fmla="*/ 492788 w 829389"/>
                  <a:gd name="connsiteY104" fmla="*/ 130050 h 830664"/>
                  <a:gd name="connsiteX105" fmla="*/ 443701 w 829389"/>
                  <a:gd name="connsiteY105" fmla="*/ 153000 h 830664"/>
                  <a:gd name="connsiteX106" fmla="*/ 411826 w 829389"/>
                  <a:gd name="connsiteY106" fmla="*/ 154913 h 830664"/>
                  <a:gd name="connsiteX107" fmla="*/ 355726 w 829389"/>
                  <a:gd name="connsiteY107" fmla="*/ 189338 h 830664"/>
                  <a:gd name="connsiteX108" fmla="*/ 349351 w 829389"/>
                  <a:gd name="connsiteY108" fmla="*/ 202088 h 830664"/>
                  <a:gd name="connsiteX109" fmla="*/ 314926 w 829389"/>
                  <a:gd name="connsiteY109" fmla="*/ 193800 h 830664"/>
                  <a:gd name="connsiteX110" fmla="*/ 293251 w 829389"/>
                  <a:gd name="connsiteY110" fmla="*/ 204000 h 830664"/>
                  <a:gd name="connsiteX111" fmla="*/ 249263 w 829389"/>
                  <a:gd name="connsiteY111" fmla="*/ 166388 h 830664"/>
                  <a:gd name="connsiteX112" fmla="*/ 151725 w 829389"/>
                  <a:gd name="connsiteY112" fmla="*/ 136425 h 830664"/>
                  <a:gd name="connsiteX113" fmla="*/ 149813 w 829389"/>
                  <a:gd name="connsiteY113" fmla="*/ 124950 h 830664"/>
                  <a:gd name="connsiteX114" fmla="*/ 87338 w 829389"/>
                  <a:gd name="connsiteY114" fmla="*/ 184238 h 830664"/>
                  <a:gd name="connsiteX115" fmla="*/ 52275 w 829389"/>
                  <a:gd name="connsiteY115" fmla="*/ 193800 h 830664"/>
                  <a:gd name="connsiteX116" fmla="*/ 1912 w 829389"/>
                  <a:gd name="connsiteY116" fmla="*/ 231413 h 830664"/>
                  <a:gd name="connsiteX117" fmla="*/ 0 w 829389"/>
                  <a:gd name="connsiteY117" fmla="*/ 233326 h 830664"/>
                  <a:gd name="connsiteX118" fmla="*/ 0 w 829389"/>
                  <a:gd name="connsiteY118" fmla="*/ 233326 h 830664"/>
                  <a:gd name="connsiteX119" fmla="*/ 227588 w 829389"/>
                  <a:gd name="connsiteY119" fmla="*/ 87975 h 830664"/>
                  <a:gd name="connsiteX120" fmla="*/ 152363 w 829389"/>
                  <a:gd name="connsiteY120" fmla="*/ 124950 h 830664"/>
                  <a:gd name="connsiteX121" fmla="*/ 177225 w 829389"/>
                  <a:gd name="connsiteY121" fmla="*/ 149175 h 830664"/>
                  <a:gd name="connsiteX122" fmla="*/ 187426 w 829389"/>
                  <a:gd name="connsiteY122" fmla="*/ 124950 h 830664"/>
                  <a:gd name="connsiteX123" fmla="*/ 212926 w 829389"/>
                  <a:gd name="connsiteY123" fmla="*/ 93075 h 830664"/>
                  <a:gd name="connsiteX124" fmla="*/ 227588 w 829389"/>
                  <a:gd name="connsiteY124" fmla="*/ 87975 h 830664"/>
                  <a:gd name="connsiteX125" fmla="*/ 227588 w 829389"/>
                  <a:gd name="connsiteY125" fmla="*/ 87975 h 830664"/>
                  <a:gd name="connsiteX126" fmla="*/ 143438 w 829389"/>
                  <a:gd name="connsiteY126" fmla="*/ 0 h 830664"/>
                  <a:gd name="connsiteX127" fmla="*/ 91800 w 829389"/>
                  <a:gd name="connsiteY127" fmla="*/ 35063 h 830664"/>
                  <a:gd name="connsiteX128" fmla="*/ 89250 w 829389"/>
                  <a:gd name="connsiteY128" fmla="*/ 52275 h 830664"/>
                  <a:gd name="connsiteX129" fmla="*/ 129413 w 829389"/>
                  <a:gd name="connsiteY129" fmla="*/ 22313 h 830664"/>
                  <a:gd name="connsiteX130" fmla="*/ 143438 w 829389"/>
                  <a:gd name="connsiteY130" fmla="*/ 0 h 83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829389" h="830664">
                    <a:moveTo>
                      <a:pt x="429038" y="385051"/>
                    </a:moveTo>
                    <a:lnTo>
                      <a:pt x="425851" y="379951"/>
                    </a:lnTo>
                    <a:lnTo>
                      <a:pt x="425213" y="386326"/>
                    </a:lnTo>
                    <a:lnTo>
                      <a:pt x="429038" y="385051"/>
                    </a:lnTo>
                    <a:close/>
                    <a:moveTo>
                      <a:pt x="439239" y="374213"/>
                    </a:moveTo>
                    <a:lnTo>
                      <a:pt x="431588" y="363376"/>
                    </a:lnTo>
                    <a:lnTo>
                      <a:pt x="430313" y="367838"/>
                    </a:lnTo>
                    <a:lnTo>
                      <a:pt x="439239" y="374213"/>
                    </a:lnTo>
                    <a:close/>
                    <a:moveTo>
                      <a:pt x="445614" y="327676"/>
                    </a:moveTo>
                    <a:lnTo>
                      <a:pt x="439239" y="321938"/>
                    </a:lnTo>
                    <a:lnTo>
                      <a:pt x="439239" y="323213"/>
                    </a:lnTo>
                    <a:lnTo>
                      <a:pt x="445614" y="327676"/>
                    </a:lnTo>
                    <a:close/>
                    <a:moveTo>
                      <a:pt x="429676" y="830664"/>
                    </a:moveTo>
                    <a:lnTo>
                      <a:pt x="509364" y="817914"/>
                    </a:lnTo>
                    <a:lnTo>
                      <a:pt x="531676" y="813452"/>
                    </a:lnTo>
                    <a:lnTo>
                      <a:pt x="630489" y="796239"/>
                    </a:lnTo>
                    <a:lnTo>
                      <a:pt x="632401" y="804527"/>
                    </a:lnTo>
                    <a:lnTo>
                      <a:pt x="638776" y="802614"/>
                    </a:lnTo>
                    <a:lnTo>
                      <a:pt x="680851" y="793052"/>
                    </a:lnTo>
                    <a:lnTo>
                      <a:pt x="721014" y="782852"/>
                    </a:lnTo>
                    <a:lnTo>
                      <a:pt x="761814" y="772014"/>
                    </a:lnTo>
                    <a:lnTo>
                      <a:pt x="761177" y="770102"/>
                    </a:lnTo>
                    <a:lnTo>
                      <a:pt x="782214" y="728664"/>
                    </a:lnTo>
                    <a:lnTo>
                      <a:pt x="780302" y="694239"/>
                    </a:lnTo>
                    <a:lnTo>
                      <a:pt x="803889" y="634951"/>
                    </a:lnTo>
                    <a:lnTo>
                      <a:pt x="822377" y="646426"/>
                    </a:lnTo>
                    <a:lnTo>
                      <a:pt x="829389" y="633039"/>
                    </a:lnTo>
                    <a:lnTo>
                      <a:pt x="827477" y="581401"/>
                    </a:lnTo>
                    <a:lnTo>
                      <a:pt x="810264" y="548889"/>
                    </a:lnTo>
                    <a:lnTo>
                      <a:pt x="784764" y="480676"/>
                    </a:lnTo>
                    <a:lnTo>
                      <a:pt x="762451" y="455813"/>
                    </a:lnTo>
                    <a:lnTo>
                      <a:pt x="750976" y="452626"/>
                    </a:lnTo>
                    <a:lnTo>
                      <a:pt x="709539" y="481951"/>
                    </a:lnTo>
                    <a:lnTo>
                      <a:pt x="714001" y="487688"/>
                    </a:lnTo>
                    <a:lnTo>
                      <a:pt x="692326" y="528489"/>
                    </a:lnTo>
                    <a:lnTo>
                      <a:pt x="671289" y="524664"/>
                    </a:lnTo>
                    <a:lnTo>
                      <a:pt x="664914" y="481951"/>
                    </a:lnTo>
                    <a:lnTo>
                      <a:pt x="674476" y="478764"/>
                    </a:lnTo>
                    <a:lnTo>
                      <a:pt x="692964" y="436051"/>
                    </a:lnTo>
                    <a:lnTo>
                      <a:pt x="694876" y="360188"/>
                    </a:lnTo>
                    <a:lnTo>
                      <a:pt x="665552" y="295801"/>
                    </a:lnTo>
                    <a:lnTo>
                      <a:pt x="600526" y="284963"/>
                    </a:lnTo>
                    <a:lnTo>
                      <a:pt x="594151" y="274763"/>
                    </a:lnTo>
                    <a:lnTo>
                      <a:pt x="534864" y="257550"/>
                    </a:lnTo>
                    <a:lnTo>
                      <a:pt x="507451" y="290701"/>
                    </a:lnTo>
                    <a:lnTo>
                      <a:pt x="510001" y="320026"/>
                    </a:lnTo>
                    <a:lnTo>
                      <a:pt x="489601" y="345526"/>
                    </a:lnTo>
                    <a:lnTo>
                      <a:pt x="494064" y="385051"/>
                    </a:lnTo>
                    <a:lnTo>
                      <a:pt x="474301" y="399076"/>
                    </a:lnTo>
                    <a:lnTo>
                      <a:pt x="474301" y="348713"/>
                    </a:lnTo>
                    <a:lnTo>
                      <a:pt x="456451" y="386326"/>
                    </a:lnTo>
                    <a:lnTo>
                      <a:pt x="435413" y="419476"/>
                    </a:lnTo>
                    <a:lnTo>
                      <a:pt x="421388" y="430951"/>
                    </a:lnTo>
                    <a:lnTo>
                      <a:pt x="428401" y="466013"/>
                    </a:lnTo>
                    <a:lnTo>
                      <a:pt x="418838" y="502351"/>
                    </a:lnTo>
                    <a:lnTo>
                      <a:pt x="423938" y="548251"/>
                    </a:lnTo>
                    <a:lnTo>
                      <a:pt x="417563" y="570564"/>
                    </a:lnTo>
                    <a:lnTo>
                      <a:pt x="464101" y="659176"/>
                    </a:lnTo>
                    <a:lnTo>
                      <a:pt x="469839" y="692964"/>
                    </a:lnTo>
                    <a:lnTo>
                      <a:pt x="464101" y="756077"/>
                    </a:lnTo>
                    <a:lnTo>
                      <a:pt x="432864" y="826839"/>
                    </a:lnTo>
                    <a:lnTo>
                      <a:pt x="429676" y="830664"/>
                    </a:lnTo>
                    <a:lnTo>
                      <a:pt x="429676" y="830664"/>
                    </a:lnTo>
                    <a:close/>
                    <a:moveTo>
                      <a:pt x="566739" y="251175"/>
                    </a:moveTo>
                    <a:lnTo>
                      <a:pt x="550164" y="252451"/>
                    </a:lnTo>
                    <a:lnTo>
                      <a:pt x="561001" y="260101"/>
                    </a:lnTo>
                    <a:lnTo>
                      <a:pt x="566739" y="251175"/>
                    </a:lnTo>
                    <a:lnTo>
                      <a:pt x="566739" y="251175"/>
                    </a:lnTo>
                    <a:close/>
                    <a:moveTo>
                      <a:pt x="469839" y="267751"/>
                    </a:moveTo>
                    <a:lnTo>
                      <a:pt x="464739" y="267751"/>
                    </a:lnTo>
                    <a:lnTo>
                      <a:pt x="470476" y="270301"/>
                    </a:lnTo>
                    <a:lnTo>
                      <a:pt x="469839" y="267751"/>
                    </a:lnTo>
                    <a:close/>
                    <a:moveTo>
                      <a:pt x="582039" y="186788"/>
                    </a:moveTo>
                    <a:lnTo>
                      <a:pt x="575664" y="175950"/>
                    </a:lnTo>
                    <a:lnTo>
                      <a:pt x="573114" y="176588"/>
                    </a:lnTo>
                    <a:lnTo>
                      <a:pt x="582039" y="186788"/>
                    </a:lnTo>
                    <a:lnTo>
                      <a:pt x="582039" y="186788"/>
                    </a:lnTo>
                    <a:close/>
                    <a:moveTo>
                      <a:pt x="0" y="233326"/>
                    </a:moveTo>
                    <a:lnTo>
                      <a:pt x="20400" y="244800"/>
                    </a:lnTo>
                    <a:lnTo>
                      <a:pt x="125588" y="277313"/>
                    </a:lnTo>
                    <a:lnTo>
                      <a:pt x="174676" y="290063"/>
                    </a:lnTo>
                    <a:lnTo>
                      <a:pt x="222488" y="293251"/>
                    </a:lnTo>
                    <a:lnTo>
                      <a:pt x="256913" y="321938"/>
                    </a:lnTo>
                    <a:lnTo>
                      <a:pt x="256913" y="365926"/>
                    </a:lnTo>
                    <a:lnTo>
                      <a:pt x="288151" y="397163"/>
                    </a:lnTo>
                    <a:lnTo>
                      <a:pt x="288151" y="395888"/>
                    </a:lnTo>
                    <a:lnTo>
                      <a:pt x="313013" y="323213"/>
                    </a:lnTo>
                    <a:lnTo>
                      <a:pt x="343613" y="302176"/>
                    </a:lnTo>
                    <a:lnTo>
                      <a:pt x="366563" y="276676"/>
                    </a:lnTo>
                    <a:lnTo>
                      <a:pt x="370388" y="299626"/>
                    </a:lnTo>
                    <a:lnTo>
                      <a:pt x="393976" y="263288"/>
                    </a:lnTo>
                    <a:lnTo>
                      <a:pt x="450713" y="241613"/>
                    </a:lnTo>
                    <a:lnTo>
                      <a:pt x="455176" y="232050"/>
                    </a:lnTo>
                    <a:lnTo>
                      <a:pt x="512551" y="239063"/>
                    </a:lnTo>
                    <a:lnTo>
                      <a:pt x="534864" y="250538"/>
                    </a:lnTo>
                    <a:lnTo>
                      <a:pt x="546339" y="221851"/>
                    </a:lnTo>
                    <a:lnTo>
                      <a:pt x="557176" y="228226"/>
                    </a:lnTo>
                    <a:lnTo>
                      <a:pt x="602439" y="221213"/>
                    </a:lnTo>
                    <a:lnTo>
                      <a:pt x="590964" y="203363"/>
                    </a:lnTo>
                    <a:lnTo>
                      <a:pt x="571201" y="191888"/>
                    </a:lnTo>
                    <a:lnTo>
                      <a:pt x="575026" y="150450"/>
                    </a:lnTo>
                    <a:lnTo>
                      <a:pt x="536138" y="172125"/>
                    </a:lnTo>
                    <a:lnTo>
                      <a:pt x="500439" y="167663"/>
                    </a:lnTo>
                    <a:lnTo>
                      <a:pt x="488964" y="139613"/>
                    </a:lnTo>
                    <a:lnTo>
                      <a:pt x="492788" y="130050"/>
                    </a:lnTo>
                    <a:lnTo>
                      <a:pt x="443701" y="153000"/>
                    </a:lnTo>
                    <a:lnTo>
                      <a:pt x="411826" y="154913"/>
                    </a:lnTo>
                    <a:lnTo>
                      <a:pt x="355726" y="189338"/>
                    </a:lnTo>
                    <a:lnTo>
                      <a:pt x="349351" y="202088"/>
                    </a:lnTo>
                    <a:lnTo>
                      <a:pt x="314926" y="193800"/>
                    </a:lnTo>
                    <a:lnTo>
                      <a:pt x="293251" y="204000"/>
                    </a:lnTo>
                    <a:lnTo>
                      <a:pt x="249263" y="166388"/>
                    </a:lnTo>
                    <a:lnTo>
                      <a:pt x="151725" y="136425"/>
                    </a:lnTo>
                    <a:lnTo>
                      <a:pt x="149813" y="124950"/>
                    </a:lnTo>
                    <a:lnTo>
                      <a:pt x="87338" y="184238"/>
                    </a:lnTo>
                    <a:lnTo>
                      <a:pt x="52275" y="193800"/>
                    </a:lnTo>
                    <a:lnTo>
                      <a:pt x="1912" y="231413"/>
                    </a:lnTo>
                    <a:lnTo>
                      <a:pt x="0" y="233326"/>
                    </a:lnTo>
                    <a:lnTo>
                      <a:pt x="0" y="233326"/>
                    </a:lnTo>
                    <a:close/>
                    <a:moveTo>
                      <a:pt x="227588" y="87975"/>
                    </a:moveTo>
                    <a:lnTo>
                      <a:pt x="152363" y="124950"/>
                    </a:lnTo>
                    <a:lnTo>
                      <a:pt x="177225" y="149175"/>
                    </a:lnTo>
                    <a:lnTo>
                      <a:pt x="187426" y="124950"/>
                    </a:lnTo>
                    <a:lnTo>
                      <a:pt x="212926" y="93075"/>
                    </a:lnTo>
                    <a:lnTo>
                      <a:pt x="227588" y="87975"/>
                    </a:lnTo>
                    <a:lnTo>
                      <a:pt x="227588" y="87975"/>
                    </a:lnTo>
                    <a:close/>
                    <a:moveTo>
                      <a:pt x="143438" y="0"/>
                    </a:moveTo>
                    <a:lnTo>
                      <a:pt x="91800" y="35063"/>
                    </a:lnTo>
                    <a:lnTo>
                      <a:pt x="89250" y="52275"/>
                    </a:lnTo>
                    <a:lnTo>
                      <a:pt x="129413" y="22313"/>
                    </a:lnTo>
                    <a:lnTo>
                      <a:pt x="143438" y="0"/>
                    </a:lnTo>
                    <a:close/>
                  </a:path>
                </a:pathLst>
              </a:custGeom>
              <a:solidFill>
                <a:schemeClr val="tx1">
                  <a:lumMod val="20000"/>
                  <a:lumOff val="80000"/>
                </a:schemeClr>
              </a:solidFill>
              <a:ln w="6372" cap="flat">
                <a:solidFill>
                  <a:schemeClr val="bg1">
                    <a:lumMod val="95000"/>
                  </a:schemeClr>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62" name="Freeform 27">
                <a:extLst>
                  <a:ext uri="{FF2B5EF4-FFF2-40B4-BE49-F238E27FC236}">
                    <a16:creationId xmlns:a16="http://schemas.microsoft.com/office/drawing/2014/main" id="{C086D55C-CEBE-4F27-93B4-E7CD7B2B17C0}"/>
                  </a:ext>
                </a:extLst>
              </p:cNvPr>
              <p:cNvSpPr/>
              <p:nvPr/>
            </p:nvSpPr>
            <p:spPr>
              <a:xfrm>
                <a:off x="3387874" y="2377861"/>
                <a:ext cx="762451" cy="586501"/>
              </a:xfrm>
              <a:custGeom>
                <a:avLst/>
                <a:gdLst>
                  <a:gd name="connsiteX0" fmla="*/ 759902 w 762451"/>
                  <a:gd name="connsiteY0" fmla="*/ 174038 h 586501"/>
                  <a:gd name="connsiteX1" fmla="*/ 762452 w 762451"/>
                  <a:gd name="connsiteY1" fmla="*/ 48450 h 586501"/>
                  <a:gd name="connsiteX2" fmla="*/ 731214 w 762451"/>
                  <a:gd name="connsiteY2" fmla="*/ 47175 h 586501"/>
                  <a:gd name="connsiteX3" fmla="*/ 574389 w 762451"/>
                  <a:gd name="connsiteY3" fmla="*/ 41438 h 586501"/>
                  <a:gd name="connsiteX4" fmla="*/ 559089 w 762451"/>
                  <a:gd name="connsiteY4" fmla="*/ 40800 h 586501"/>
                  <a:gd name="connsiteX5" fmla="*/ 546339 w 762451"/>
                  <a:gd name="connsiteY5" fmla="*/ 40163 h 586501"/>
                  <a:gd name="connsiteX6" fmla="*/ 355726 w 762451"/>
                  <a:gd name="connsiteY6" fmla="*/ 28050 h 586501"/>
                  <a:gd name="connsiteX7" fmla="*/ 228863 w 762451"/>
                  <a:gd name="connsiteY7" fmla="*/ 17213 h 586501"/>
                  <a:gd name="connsiteX8" fmla="*/ 70125 w 762451"/>
                  <a:gd name="connsiteY8" fmla="*/ 1913 h 586501"/>
                  <a:gd name="connsiteX9" fmla="*/ 54825 w 762451"/>
                  <a:gd name="connsiteY9" fmla="*/ 0 h 586501"/>
                  <a:gd name="connsiteX10" fmla="*/ 52913 w 762451"/>
                  <a:gd name="connsiteY10" fmla="*/ 16575 h 586501"/>
                  <a:gd name="connsiteX11" fmla="*/ 18487 w 762451"/>
                  <a:gd name="connsiteY11" fmla="*/ 351263 h 586501"/>
                  <a:gd name="connsiteX12" fmla="*/ 6375 w 762451"/>
                  <a:gd name="connsiteY12" fmla="*/ 468563 h 586501"/>
                  <a:gd name="connsiteX13" fmla="*/ 1275 w 762451"/>
                  <a:gd name="connsiteY13" fmla="*/ 519564 h 586501"/>
                  <a:gd name="connsiteX14" fmla="*/ 0 w 762451"/>
                  <a:gd name="connsiteY14" fmla="*/ 536139 h 586501"/>
                  <a:gd name="connsiteX15" fmla="*/ 19763 w 762451"/>
                  <a:gd name="connsiteY15" fmla="*/ 538051 h 586501"/>
                  <a:gd name="connsiteX16" fmla="*/ 343613 w 762451"/>
                  <a:gd name="connsiteY16" fmla="*/ 566739 h 586501"/>
                  <a:gd name="connsiteX17" fmla="*/ 485776 w 762451"/>
                  <a:gd name="connsiteY17" fmla="*/ 576301 h 586501"/>
                  <a:gd name="connsiteX18" fmla="*/ 627939 w 762451"/>
                  <a:gd name="connsiteY18" fmla="*/ 582676 h 586501"/>
                  <a:gd name="connsiteX19" fmla="*/ 648339 w 762451"/>
                  <a:gd name="connsiteY19" fmla="*/ 583314 h 586501"/>
                  <a:gd name="connsiteX20" fmla="*/ 661089 w 762451"/>
                  <a:gd name="connsiteY20" fmla="*/ 583951 h 586501"/>
                  <a:gd name="connsiteX21" fmla="*/ 688501 w 762451"/>
                  <a:gd name="connsiteY21" fmla="*/ 584589 h 586501"/>
                  <a:gd name="connsiteX22" fmla="*/ 701251 w 762451"/>
                  <a:gd name="connsiteY22" fmla="*/ 585226 h 586501"/>
                  <a:gd name="connsiteX23" fmla="*/ 741414 w 762451"/>
                  <a:gd name="connsiteY23" fmla="*/ 586501 h 586501"/>
                  <a:gd name="connsiteX24" fmla="*/ 752252 w 762451"/>
                  <a:gd name="connsiteY24" fmla="*/ 586501 h 586501"/>
                  <a:gd name="connsiteX25" fmla="*/ 752252 w 762451"/>
                  <a:gd name="connsiteY25" fmla="*/ 573751 h 586501"/>
                  <a:gd name="connsiteX26" fmla="*/ 759264 w 762451"/>
                  <a:gd name="connsiteY26" fmla="*/ 233963 h 586501"/>
                  <a:gd name="connsiteX27" fmla="*/ 759902 w 762451"/>
                  <a:gd name="connsiteY27" fmla="*/ 196351 h 586501"/>
                  <a:gd name="connsiteX28" fmla="*/ 759902 w 762451"/>
                  <a:gd name="connsiteY28" fmla="*/ 184238 h 586501"/>
                  <a:gd name="connsiteX29" fmla="*/ 759902 w 762451"/>
                  <a:gd name="connsiteY29" fmla="*/ 174038 h 586501"/>
                  <a:gd name="connsiteX30" fmla="*/ 759902 w 762451"/>
                  <a:gd name="connsiteY30" fmla="*/ 174038 h 5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2451" h="586501">
                    <a:moveTo>
                      <a:pt x="759902" y="174038"/>
                    </a:moveTo>
                    <a:lnTo>
                      <a:pt x="762452" y="48450"/>
                    </a:lnTo>
                    <a:lnTo>
                      <a:pt x="731214" y="47175"/>
                    </a:lnTo>
                    <a:lnTo>
                      <a:pt x="574389" y="41438"/>
                    </a:lnTo>
                    <a:lnTo>
                      <a:pt x="559089" y="40800"/>
                    </a:lnTo>
                    <a:lnTo>
                      <a:pt x="546339" y="40163"/>
                    </a:lnTo>
                    <a:lnTo>
                      <a:pt x="355726" y="28050"/>
                    </a:lnTo>
                    <a:lnTo>
                      <a:pt x="228863" y="17213"/>
                    </a:lnTo>
                    <a:lnTo>
                      <a:pt x="70125" y="1913"/>
                    </a:lnTo>
                    <a:lnTo>
                      <a:pt x="54825" y="0"/>
                    </a:lnTo>
                    <a:lnTo>
                      <a:pt x="52913" y="16575"/>
                    </a:lnTo>
                    <a:lnTo>
                      <a:pt x="18487" y="351263"/>
                    </a:lnTo>
                    <a:lnTo>
                      <a:pt x="6375" y="468563"/>
                    </a:lnTo>
                    <a:lnTo>
                      <a:pt x="1275" y="519564"/>
                    </a:lnTo>
                    <a:lnTo>
                      <a:pt x="0" y="536139"/>
                    </a:lnTo>
                    <a:lnTo>
                      <a:pt x="19763" y="538051"/>
                    </a:lnTo>
                    <a:lnTo>
                      <a:pt x="343613" y="566739"/>
                    </a:lnTo>
                    <a:lnTo>
                      <a:pt x="485776" y="576301"/>
                    </a:lnTo>
                    <a:lnTo>
                      <a:pt x="627939" y="582676"/>
                    </a:lnTo>
                    <a:lnTo>
                      <a:pt x="648339" y="583314"/>
                    </a:lnTo>
                    <a:lnTo>
                      <a:pt x="661089" y="583951"/>
                    </a:lnTo>
                    <a:lnTo>
                      <a:pt x="688501" y="584589"/>
                    </a:lnTo>
                    <a:lnTo>
                      <a:pt x="701251" y="585226"/>
                    </a:lnTo>
                    <a:lnTo>
                      <a:pt x="741414" y="586501"/>
                    </a:lnTo>
                    <a:lnTo>
                      <a:pt x="752252" y="586501"/>
                    </a:lnTo>
                    <a:lnTo>
                      <a:pt x="752252" y="573751"/>
                    </a:lnTo>
                    <a:lnTo>
                      <a:pt x="759264" y="233963"/>
                    </a:lnTo>
                    <a:lnTo>
                      <a:pt x="759902" y="196351"/>
                    </a:lnTo>
                    <a:lnTo>
                      <a:pt x="759902" y="184238"/>
                    </a:lnTo>
                    <a:lnTo>
                      <a:pt x="759902" y="174038"/>
                    </a:lnTo>
                    <a:lnTo>
                      <a:pt x="759902" y="174038"/>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grpSp>
        <p:sp>
          <p:nvSpPr>
            <p:cNvPr id="247" name="Text Placeholder 5">
              <a:extLst>
                <a:ext uri="{FF2B5EF4-FFF2-40B4-BE49-F238E27FC236}">
                  <a16:creationId xmlns:a16="http://schemas.microsoft.com/office/drawing/2014/main" id="{30F534FF-45BE-CD5A-3F3F-65A4852D1637}"/>
                </a:ext>
              </a:extLst>
            </p:cNvPr>
            <p:cNvSpPr txBox="1">
              <a:spLocks/>
            </p:cNvSpPr>
            <p:nvPr/>
          </p:nvSpPr>
          <p:spPr>
            <a:xfrm>
              <a:off x="1251691" y="2844444"/>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California</a:t>
              </a:r>
            </a:p>
          </p:txBody>
        </p:sp>
        <p:sp>
          <p:nvSpPr>
            <p:cNvPr id="248" name="Rectangle 247">
              <a:extLst>
                <a:ext uri="{FF2B5EF4-FFF2-40B4-BE49-F238E27FC236}">
                  <a16:creationId xmlns:a16="http://schemas.microsoft.com/office/drawing/2014/main" id="{1A71F3DD-BCFD-FAD6-489C-A99D7BADE594}"/>
                </a:ext>
              </a:extLst>
            </p:cNvPr>
            <p:cNvSpPr/>
            <p:nvPr/>
          </p:nvSpPr>
          <p:spPr>
            <a:xfrm>
              <a:off x="1252657" y="3301698"/>
              <a:ext cx="2948189"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9.0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650%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1.8B / $2.3B / $700M​</a:t>
              </a:r>
            </a:p>
            <a:p>
              <a:pPr marL="0" marR="0" lvl="0" indent="0" algn="l" defTabSz="685783" rtl="0" eaLnBrk="1" fontAlgn="auto" latinLnBrk="0" hangingPunct="1">
                <a:lnSpc>
                  <a:spcPct val="100000"/>
                </a:lnSpc>
                <a:spcBef>
                  <a:spcPts val="0"/>
                </a:spcBef>
                <a:spcAft>
                  <a:spcPts val="0"/>
                </a:spcAft>
                <a:buClr>
                  <a:srgbClr val="000000"/>
                </a:buClr>
                <a:buSzPct val="100000"/>
                <a:buFontTx/>
                <a:buNone/>
                <a:tabLst/>
                <a:defRPr/>
              </a:pP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249" name="Freeform 26">
              <a:extLst>
                <a:ext uri="{FF2B5EF4-FFF2-40B4-BE49-F238E27FC236}">
                  <a16:creationId xmlns:a16="http://schemas.microsoft.com/office/drawing/2014/main" id="{DAA0DCC5-AFBE-A229-3B16-8EAD759EE9B7}"/>
                </a:ext>
              </a:extLst>
            </p:cNvPr>
            <p:cNvSpPr/>
            <p:nvPr/>
          </p:nvSpPr>
          <p:spPr>
            <a:xfrm>
              <a:off x="682954" y="3046883"/>
              <a:ext cx="525374" cy="938545"/>
            </a:xfrm>
            <a:custGeom>
              <a:avLst/>
              <a:gdLst>
                <a:gd name="connsiteX0" fmla="*/ 368476 w 890589"/>
                <a:gd name="connsiteY0" fmla="*/ 1331103 h 1456690"/>
                <a:gd name="connsiteX1" fmla="*/ 371026 w 890589"/>
                <a:gd name="connsiteY1" fmla="*/ 1345128 h 1456690"/>
                <a:gd name="connsiteX2" fmla="*/ 371026 w 890589"/>
                <a:gd name="connsiteY2" fmla="*/ 1347678 h 1456690"/>
                <a:gd name="connsiteX3" fmla="*/ 368476 w 890589"/>
                <a:gd name="connsiteY3" fmla="*/ 1331103 h 1456690"/>
                <a:gd name="connsiteX4" fmla="*/ 368476 w 890589"/>
                <a:gd name="connsiteY4" fmla="*/ 1331103 h 1456690"/>
                <a:gd name="connsiteX5" fmla="*/ 273488 w 890589"/>
                <a:gd name="connsiteY5" fmla="*/ 1275640 h 1456690"/>
                <a:gd name="connsiteX6" fmla="*/ 277951 w 890589"/>
                <a:gd name="connsiteY6" fmla="*/ 1285840 h 1456690"/>
                <a:gd name="connsiteX7" fmla="*/ 280501 w 890589"/>
                <a:gd name="connsiteY7" fmla="*/ 1285202 h 1456690"/>
                <a:gd name="connsiteX8" fmla="*/ 273488 w 890589"/>
                <a:gd name="connsiteY8" fmla="*/ 1275640 h 1456690"/>
                <a:gd name="connsiteX9" fmla="*/ 273488 w 890589"/>
                <a:gd name="connsiteY9" fmla="*/ 1275640 h 1456690"/>
                <a:gd name="connsiteX10" fmla="*/ 386326 w 890589"/>
                <a:gd name="connsiteY10" fmla="*/ 1273728 h 1456690"/>
                <a:gd name="connsiteX11" fmla="*/ 388238 w 890589"/>
                <a:gd name="connsiteY11" fmla="*/ 1290302 h 1456690"/>
                <a:gd name="connsiteX12" fmla="*/ 399713 w 890589"/>
                <a:gd name="connsiteY12" fmla="*/ 1298590 h 1456690"/>
                <a:gd name="connsiteX13" fmla="*/ 386326 w 890589"/>
                <a:gd name="connsiteY13" fmla="*/ 1273728 h 1456690"/>
                <a:gd name="connsiteX14" fmla="*/ 308551 w 890589"/>
                <a:gd name="connsiteY14" fmla="*/ 1182565 h 1456690"/>
                <a:gd name="connsiteX15" fmla="*/ 301538 w 890589"/>
                <a:gd name="connsiteY15" fmla="*/ 1180652 h 1456690"/>
                <a:gd name="connsiteX16" fmla="*/ 307276 w 890589"/>
                <a:gd name="connsiteY16" fmla="*/ 1183202 h 1456690"/>
                <a:gd name="connsiteX17" fmla="*/ 308551 w 890589"/>
                <a:gd name="connsiteY17" fmla="*/ 1182565 h 1456690"/>
                <a:gd name="connsiteX18" fmla="*/ 308551 w 890589"/>
                <a:gd name="connsiteY18" fmla="*/ 1182565 h 1456690"/>
                <a:gd name="connsiteX19" fmla="*/ 237150 w 890589"/>
                <a:gd name="connsiteY19" fmla="*/ 1162802 h 1456690"/>
                <a:gd name="connsiteX20" fmla="*/ 219938 w 890589"/>
                <a:gd name="connsiteY20" fmla="*/ 1173640 h 1456690"/>
                <a:gd name="connsiteX21" fmla="*/ 224400 w 890589"/>
                <a:gd name="connsiteY21" fmla="*/ 1178102 h 1456690"/>
                <a:gd name="connsiteX22" fmla="*/ 237150 w 890589"/>
                <a:gd name="connsiteY22" fmla="*/ 1162802 h 1456690"/>
                <a:gd name="connsiteX23" fmla="*/ 204000 w 890589"/>
                <a:gd name="connsiteY23" fmla="*/ 1151327 h 1456690"/>
                <a:gd name="connsiteX24" fmla="*/ 202725 w 890589"/>
                <a:gd name="connsiteY24" fmla="*/ 1156427 h 1456690"/>
                <a:gd name="connsiteX25" fmla="*/ 208463 w 890589"/>
                <a:gd name="connsiteY25" fmla="*/ 1157702 h 1456690"/>
                <a:gd name="connsiteX26" fmla="*/ 204000 w 890589"/>
                <a:gd name="connsiteY26" fmla="*/ 1151327 h 1456690"/>
                <a:gd name="connsiteX27" fmla="*/ 204000 w 890589"/>
                <a:gd name="connsiteY27" fmla="*/ 1151327 h 1456690"/>
                <a:gd name="connsiteX28" fmla="*/ 260738 w 890589"/>
                <a:gd name="connsiteY28" fmla="*/ 1163440 h 1456690"/>
                <a:gd name="connsiteX29" fmla="*/ 289426 w 890589"/>
                <a:gd name="connsiteY29" fmla="*/ 1179377 h 1456690"/>
                <a:gd name="connsiteX30" fmla="*/ 294526 w 890589"/>
                <a:gd name="connsiteY30" fmla="*/ 1174915 h 1456690"/>
                <a:gd name="connsiteX31" fmla="*/ 260738 w 890589"/>
                <a:gd name="connsiteY31" fmla="*/ 1163440 h 1456690"/>
                <a:gd name="connsiteX32" fmla="*/ 41438 w 890589"/>
                <a:gd name="connsiteY32" fmla="*/ 597976 h 1456690"/>
                <a:gd name="connsiteX33" fmla="*/ 41438 w 890589"/>
                <a:gd name="connsiteY33" fmla="*/ 597976 h 1456690"/>
                <a:gd name="connsiteX34" fmla="*/ 41438 w 890589"/>
                <a:gd name="connsiteY34" fmla="*/ 597976 h 1456690"/>
                <a:gd name="connsiteX35" fmla="*/ 41438 w 890589"/>
                <a:gd name="connsiteY35" fmla="*/ 597976 h 1456690"/>
                <a:gd name="connsiteX36" fmla="*/ 110288 w 890589"/>
                <a:gd name="connsiteY36" fmla="*/ 601164 h 1456690"/>
                <a:gd name="connsiteX37" fmla="*/ 109650 w 890589"/>
                <a:gd name="connsiteY37" fmla="*/ 599251 h 1456690"/>
                <a:gd name="connsiteX38" fmla="*/ 110288 w 890589"/>
                <a:gd name="connsiteY38" fmla="*/ 601164 h 1456690"/>
                <a:gd name="connsiteX39" fmla="*/ 110288 w 890589"/>
                <a:gd name="connsiteY39" fmla="*/ 601164 h 1456690"/>
                <a:gd name="connsiteX40" fmla="*/ 110288 w 890589"/>
                <a:gd name="connsiteY40" fmla="*/ 601164 h 1456690"/>
                <a:gd name="connsiteX41" fmla="*/ 480676 w 890589"/>
                <a:gd name="connsiteY41" fmla="*/ 113475 h 1456690"/>
                <a:gd name="connsiteX42" fmla="*/ 455813 w 890589"/>
                <a:gd name="connsiteY42" fmla="*/ 107100 h 1456690"/>
                <a:gd name="connsiteX43" fmla="*/ 181050 w 890589"/>
                <a:gd name="connsiteY43" fmla="*/ 31238 h 1456690"/>
                <a:gd name="connsiteX44" fmla="*/ 79050 w 890589"/>
                <a:gd name="connsiteY44" fmla="*/ 0 h 1456690"/>
                <a:gd name="connsiteX45" fmla="*/ 79050 w 890589"/>
                <a:gd name="connsiteY45" fmla="*/ 2550 h 1456690"/>
                <a:gd name="connsiteX46" fmla="*/ 73313 w 890589"/>
                <a:gd name="connsiteY46" fmla="*/ 66300 h 1456690"/>
                <a:gd name="connsiteX47" fmla="*/ 45900 w 890589"/>
                <a:gd name="connsiteY47" fmla="*/ 141525 h 1456690"/>
                <a:gd name="connsiteX48" fmla="*/ 638 w 890589"/>
                <a:gd name="connsiteY48" fmla="*/ 196988 h 1456690"/>
                <a:gd name="connsiteX49" fmla="*/ 0 w 890589"/>
                <a:gd name="connsiteY49" fmla="*/ 225038 h 1456690"/>
                <a:gd name="connsiteX50" fmla="*/ 21675 w 890589"/>
                <a:gd name="connsiteY50" fmla="*/ 263926 h 1456690"/>
                <a:gd name="connsiteX51" fmla="*/ 33150 w 890589"/>
                <a:gd name="connsiteY51" fmla="*/ 315563 h 1456690"/>
                <a:gd name="connsiteX52" fmla="*/ 17850 w 890589"/>
                <a:gd name="connsiteY52" fmla="*/ 357001 h 1456690"/>
                <a:gd name="connsiteX53" fmla="*/ 20400 w 890589"/>
                <a:gd name="connsiteY53" fmla="*/ 398438 h 1456690"/>
                <a:gd name="connsiteX54" fmla="*/ 12750 w 890589"/>
                <a:gd name="connsiteY54" fmla="*/ 415651 h 1456690"/>
                <a:gd name="connsiteX55" fmla="*/ 39525 w 890589"/>
                <a:gd name="connsiteY55" fmla="*/ 472388 h 1456690"/>
                <a:gd name="connsiteX56" fmla="*/ 56100 w 890589"/>
                <a:gd name="connsiteY56" fmla="*/ 494064 h 1456690"/>
                <a:gd name="connsiteX57" fmla="*/ 54825 w 890589"/>
                <a:gd name="connsiteY57" fmla="*/ 556539 h 1456690"/>
                <a:gd name="connsiteX58" fmla="*/ 94350 w 890589"/>
                <a:gd name="connsiteY58" fmla="*/ 594151 h 1456690"/>
                <a:gd name="connsiteX59" fmla="*/ 117300 w 890589"/>
                <a:gd name="connsiteY59" fmla="*/ 555901 h 1456690"/>
                <a:gd name="connsiteX60" fmla="*/ 142163 w 890589"/>
                <a:gd name="connsiteY60" fmla="*/ 575664 h 1456690"/>
                <a:gd name="connsiteX61" fmla="*/ 152363 w 890589"/>
                <a:gd name="connsiteY61" fmla="*/ 566101 h 1456690"/>
                <a:gd name="connsiteX62" fmla="*/ 117938 w 890589"/>
                <a:gd name="connsiteY62" fmla="*/ 572476 h 1456690"/>
                <a:gd name="connsiteX63" fmla="*/ 117300 w 890589"/>
                <a:gd name="connsiteY63" fmla="*/ 605626 h 1456690"/>
                <a:gd name="connsiteX64" fmla="*/ 124313 w 890589"/>
                <a:gd name="connsiteY64" fmla="*/ 646426 h 1456690"/>
                <a:gd name="connsiteX65" fmla="*/ 103913 w 890589"/>
                <a:gd name="connsiteY65" fmla="*/ 629214 h 1456690"/>
                <a:gd name="connsiteX66" fmla="*/ 92438 w 890589"/>
                <a:gd name="connsiteY66" fmla="*/ 604351 h 1456690"/>
                <a:gd name="connsiteX67" fmla="*/ 89250 w 890589"/>
                <a:gd name="connsiteY67" fmla="*/ 638776 h 1456690"/>
                <a:gd name="connsiteX68" fmla="*/ 98813 w 890589"/>
                <a:gd name="connsiteY68" fmla="*/ 707626 h 1456690"/>
                <a:gd name="connsiteX69" fmla="*/ 134513 w 890589"/>
                <a:gd name="connsiteY69" fmla="*/ 752252 h 1456690"/>
                <a:gd name="connsiteX70" fmla="*/ 110925 w 890589"/>
                <a:gd name="connsiteY70" fmla="*/ 783489 h 1456690"/>
                <a:gd name="connsiteX71" fmla="*/ 114750 w 890589"/>
                <a:gd name="connsiteY71" fmla="*/ 822377 h 1456690"/>
                <a:gd name="connsiteX72" fmla="*/ 140250 w 890589"/>
                <a:gd name="connsiteY72" fmla="*/ 861902 h 1456690"/>
                <a:gd name="connsiteX73" fmla="*/ 185513 w 890589"/>
                <a:gd name="connsiteY73" fmla="*/ 984939 h 1456690"/>
                <a:gd name="connsiteX74" fmla="*/ 199538 w 890589"/>
                <a:gd name="connsiteY74" fmla="*/ 992590 h 1456690"/>
                <a:gd name="connsiteX75" fmla="*/ 195075 w 890589"/>
                <a:gd name="connsiteY75" fmla="*/ 1078015 h 1456690"/>
                <a:gd name="connsiteX76" fmla="*/ 202088 w 890589"/>
                <a:gd name="connsiteY76" fmla="*/ 1088852 h 1456690"/>
                <a:gd name="connsiteX77" fmla="*/ 298988 w 890589"/>
                <a:gd name="connsiteY77" fmla="*/ 1123277 h 1456690"/>
                <a:gd name="connsiteX78" fmla="*/ 328951 w 890589"/>
                <a:gd name="connsiteY78" fmla="*/ 1155152 h 1456690"/>
                <a:gd name="connsiteX79" fmla="*/ 339788 w 890589"/>
                <a:gd name="connsiteY79" fmla="*/ 1175552 h 1456690"/>
                <a:gd name="connsiteX80" fmla="*/ 368476 w 890589"/>
                <a:gd name="connsiteY80" fmla="*/ 1191490 h 1456690"/>
                <a:gd name="connsiteX81" fmla="*/ 399713 w 890589"/>
                <a:gd name="connsiteY81" fmla="*/ 1197227 h 1456690"/>
                <a:gd name="connsiteX82" fmla="*/ 412463 w 890589"/>
                <a:gd name="connsiteY82" fmla="*/ 1232290 h 1456690"/>
                <a:gd name="connsiteX83" fmla="*/ 437963 w 890589"/>
                <a:gd name="connsiteY83" fmla="*/ 1244403 h 1456690"/>
                <a:gd name="connsiteX84" fmla="*/ 476213 w 890589"/>
                <a:gd name="connsiteY84" fmla="*/ 1290302 h 1456690"/>
                <a:gd name="connsiteX85" fmla="*/ 511914 w 890589"/>
                <a:gd name="connsiteY85" fmla="*/ 1349590 h 1456690"/>
                <a:gd name="connsiteX86" fmla="*/ 509363 w 890589"/>
                <a:gd name="connsiteY86" fmla="*/ 1404415 h 1456690"/>
                <a:gd name="connsiteX87" fmla="*/ 529126 w 890589"/>
                <a:gd name="connsiteY87" fmla="*/ 1431190 h 1456690"/>
                <a:gd name="connsiteX88" fmla="*/ 791777 w 890589"/>
                <a:gd name="connsiteY88" fmla="*/ 1456690 h 1456690"/>
                <a:gd name="connsiteX89" fmla="*/ 791777 w 890589"/>
                <a:gd name="connsiteY89" fmla="*/ 1456690 h 1456690"/>
                <a:gd name="connsiteX90" fmla="*/ 814727 w 890589"/>
                <a:gd name="connsiteY90" fmla="*/ 1455415 h 1456690"/>
                <a:gd name="connsiteX91" fmla="*/ 825564 w 890589"/>
                <a:gd name="connsiteY91" fmla="*/ 1426728 h 1456690"/>
                <a:gd name="connsiteX92" fmla="*/ 805802 w 890589"/>
                <a:gd name="connsiteY92" fmla="*/ 1412065 h 1456690"/>
                <a:gd name="connsiteX93" fmla="*/ 806439 w 890589"/>
                <a:gd name="connsiteY93" fmla="*/ 1364890 h 1456690"/>
                <a:gd name="connsiteX94" fmla="*/ 817914 w 890589"/>
                <a:gd name="connsiteY94" fmla="*/ 1362340 h 1456690"/>
                <a:gd name="connsiteX95" fmla="*/ 840864 w 890589"/>
                <a:gd name="connsiteY95" fmla="*/ 1306240 h 1456690"/>
                <a:gd name="connsiteX96" fmla="*/ 854889 w 890589"/>
                <a:gd name="connsiteY96" fmla="*/ 1279465 h 1456690"/>
                <a:gd name="connsiteX97" fmla="*/ 890589 w 890589"/>
                <a:gd name="connsiteY97" fmla="*/ 1258427 h 1456690"/>
                <a:gd name="connsiteX98" fmla="*/ 870827 w 890589"/>
                <a:gd name="connsiteY98" fmla="*/ 1231015 h 1456690"/>
                <a:gd name="connsiteX99" fmla="*/ 848514 w 890589"/>
                <a:gd name="connsiteY99" fmla="*/ 1171090 h 1456690"/>
                <a:gd name="connsiteX100" fmla="*/ 849789 w 890589"/>
                <a:gd name="connsiteY100" fmla="*/ 1155152 h 1456690"/>
                <a:gd name="connsiteX101" fmla="*/ 849789 w 890589"/>
                <a:gd name="connsiteY101" fmla="*/ 1154515 h 1456690"/>
                <a:gd name="connsiteX102" fmla="*/ 833214 w 890589"/>
                <a:gd name="connsiteY102" fmla="*/ 1132202 h 1456690"/>
                <a:gd name="connsiteX103" fmla="*/ 781577 w 890589"/>
                <a:gd name="connsiteY103" fmla="*/ 1063352 h 1456690"/>
                <a:gd name="connsiteX104" fmla="*/ 682126 w 890589"/>
                <a:gd name="connsiteY104" fmla="*/ 923102 h 1456690"/>
                <a:gd name="connsiteX105" fmla="*/ 541876 w 890589"/>
                <a:gd name="connsiteY105" fmla="*/ 725476 h 1456690"/>
                <a:gd name="connsiteX106" fmla="*/ 464101 w 890589"/>
                <a:gd name="connsiteY106" fmla="*/ 617739 h 1456690"/>
                <a:gd name="connsiteX107" fmla="*/ 388238 w 890589"/>
                <a:gd name="connsiteY107" fmla="*/ 508726 h 1456690"/>
                <a:gd name="connsiteX108" fmla="*/ 475576 w 890589"/>
                <a:gd name="connsiteY108" fmla="*/ 138338 h 1456690"/>
                <a:gd name="connsiteX109" fmla="*/ 480676 w 890589"/>
                <a:gd name="connsiteY109" fmla="*/ 113475 h 1456690"/>
                <a:gd name="connsiteX110" fmla="*/ 480676 w 890589"/>
                <a:gd name="connsiteY110" fmla="*/ 113475 h 145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890589" h="1456690">
                  <a:moveTo>
                    <a:pt x="368476" y="1331103"/>
                  </a:moveTo>
                  <a:lnTo>
                    <a:pt x="371026" y="1345128"/>
                  </a:lnTo>
                  <a:lnTo>
                    <a:pt x="371026" y="1347678"/>
                  </a:lnTo>
                  <a:lnTo>
                    <a:pt x="368476" y="1331103"/>
                  </a:lnTo>
                  <a:lnTo>
                    <a:pt x="368476" y="1331103"/>
                  </a:lnTo>
                  <a:close/>
                  <a:moveTo>
                    <a:pt x="273488" y="1275640"/>
                  </a:moveTo>
                  <a:lnTo>
                    <a:pt x="277951" y="1285840"/>
                  </a:lnTo>
                  <a:lnTo>
                    <a:pt x="280501" y="1285202"/>
                  </a:lnTo>
                  <a:lnTo>
                    <a:pt x="273488" y="1275640"/>
                  </a:lnTo>
                  <a:lnTo>
                    <a:pt x="273488" y="1275640"/>
                  </a:lnTo>
                  <a:close/>
                  <a:moveTo>
                    <a:pt x="386326" y="1273728"/>
                  </a:moveTo>
                  <a:lnTo>
                    <a:pt x="388238" y="1290302"/>
                  </a:lnTo>
                  <a:lnTo>
                    <a:pt x="399713" y="1298590"/>
                  </a:lnTo>
                  <a:lnTo>
                    <a:pt x="386326" y="1273728"/>
                  </a:lnTo>
                  <a:close/>
                  <a:moveTo>
                    <a:pt x="308551" y="1182565"/>
                  </a:moveTo>
                  <a:lnTo>
                    <a:pt x="301538" y="1180652"/>
                  </a:lnTo>
                  <a:lnTo>
                    <a:pt x="307276" y="1183202"/>
                  </a:lnTo>
                  <a:lnTo>
                    <a:pt x="308551" y="1182565"/>
                  </a:lnTo>
                  <a:lnTo>
                    <a:pt x="308551" y="1182565"/>
                  </a:lnTo>
                  <a:close/>
                  <a:moveTo>
                    <a:pt x="237150" y="1162802"/>
                  </a:moveTo>
                  <a:lnTo>
                    <a:pt x="219938" y="1173640"/>
                  </a:lnTo>
                  <a:lnTo>
                    <a:pt x="224400" y="1178102"/>
                  </a:lnTo>
                  <a:lnTo>
                    <a:pt x="237150" y="1162802"/>
                  </a:lnTo>
                  <a:close/>
                  <a:moveTo>
                    <a:pt x="204000" y="1151327"/>
                  </a:moveTo>
                  <a:lnTo>
                    <a:pt x="202725" y="1156427"/>
                  </a:lnTo>
                  <a:lnTo>
                    <a:pt x="208463" y="1157702"/>
                  </a:lnTo>
                  <a:lnTo>
                    <a:pt x="204000" y="1151327"/>
                  </a:lnTo>
                  <a:lnTo>
                    <a:pt x="204000" y="1151327"/>
                  </a:lnTo>
                  <a:close/>
                  <a:moveTo>
                    <a:pt x="260738" y="1163440"/>
                  </a:moveTo>
                  <a:lnTo>
                    <a:pt x="289426" y="1179377"/>
                  </a:lnTo>
                  <a:lnTo>
                    <a:pt x="294526" y="1174915"/>
                  </a:lnTo>
                  <a:lnTo>
                    <a:pt x="260738" y="1163440"/>
                  </a:lnTo>
                  <a:close/>
                  <a:moveTo>
                    <a:pt x="41438" y="597976"/>
                  </a:moveTo>
                  <a:lnTo>
                    <a:pt x="41438" y="597976"/>
                  </a:lnTo>
                  <a:lnTo>
                    <a:pt x="41438" y="597976"/>
                  </a:lnTo>
                  <a:lnTo>
                    <a:pt x="41438" y="597976"/>
                  </a:lnTo>
                  <a:close/>
                  <a:moveTo>
                    <a:pt x="110288" y="601164"/>
                  </a:moveTo>
                  <a:lnTo>
                    <a:pt x="109650" y="599251"/>
                  </a:lnTo>
                  <a:lnTo>
                    <a:pt x="110288" y="601164"/>
                  </a:lnTo>
                  <a:lnTo>
                    <a:pt x="110288" y="601164"/>
                  </a:lnTo>
                  <a:lnTo>
                    <a:pt x="110288" y="601164"/>
                  </a:lnTo>
                  <a:close/>
                  <a:moveTo>
                    <a:pt x="480676" y="113475"/>
                  </a:moveTo>
                  <a:lnTo>
                    <a:pt x="455813" y="107100"/>
                  </a:lnTo>
                  <a:lnTo>
                    <a:pt x="181050" y="31238"/>
                  </a:lnTo>
                  <a:lnTo>
                    <a:pt x="79050" y="0"/>
                  </a:lnTo>
                  <a:lnTo>
                    <a:pt x="79050" y="2550"/>
                  </a:lnTo>
                  <a:lnTo>
                    <a:pt x="73313" y="66300"/>
                  </a:lnTo>
                  <a:lnTo>
                    <a:pt x="45900" y="141525"/>
                  </a:lnTo>
                  <a:lnTo>
                    <a:pt x="638" y="196988"/>
                  </a:lnTo>
                  <a:lnTo>
                    <a:pt x="0" y="225038"/>
                  </a:lnTo>
                  <a:lnTo>
                    <a:pt x="21675" y="263926"/>
                  </a:lnTo>
                  <a:lnTo>
                    <a:pt x="33150" y="315563"/>
                  </a:lnTo>
                  <a:lnTo>
                    <a:pt x="17850" y="357001"/>
                  </a:lnTo>
                  <a:lnTo>
                    <a:pt x="20400" y="398438"/>
                  </a:lnTo>
                  <a:lnTo>
                    <a:pt x="12750" y="415651"/>
                  </a:lnTo>
                  <a:lnTo>
                    <a:pt x="39525" y="472388"/>
                  </a:lnTo>
                  <a:lnTo>
                    <a:pt x="56100" y="494064"/>
                  </a:lnTo>
                  <a:lnTo>
                    <a:pt x="54825" y="556539"/>
                  </a:lnTo>
                  <a:lnTo>
                    <a:pt x="94350" y="594151"/>
                  </a:lnTo>
                  <a:lnTo>
                    <a:pt x="117300" y="555901"/>
                  </a:lnTo>
                  <a:lnTo>
                    <a:pt x="142163" y="575664"/>
                  </a:lnTo>
                  <a:lnTo>
                    <a:pt x="152363" y="566101"/>
                  </a:lnTo>
                  <a:lnTo>
                    <a:pt x="117938" y="572476"/>
                  </a:lnTo>
                  <a:lnTo>
                    <a:pt x="117300" y="605626"/>
                  </a:lnTo>
                  <a:lnTo>
                    <a:pt x="124313" y="646426"/>
                  </a:lnTo>
                  <a:lnTo>
                    <a:pt x="103913" y="629214"/>
                  </a:lnTo>
                  <a:lnTo>
                    <a:pt x="92438" y="604351"/>
                  </a:lnTo>
                  <a:lnTo>
                    <a:pt x="89250" y="638776"/>
                  </a:lnTo>
                  <a:lnTo>
                    <a:pt x="98813" y="707626"/>
                  </a:lnTo>
                  <a:lnTo>
                    <a:pt x="134513" y="752252"/>
                  </a:lnTo>
                  <a:lnTo>
                    <a:pt x="110925" y="783489"/>
                  </a:lnTo>
                  <a:lnTo>
                    <a:pt x="114750" y="822377"/>
                  </a:lnTo>
                  <a:lnTo>
                    <a:pt x="140250" y="861902"/>
                  </a:lnTo>
                  <a:lnTo>
                    <a:pt x="185513" y="984939"/>
                  </a:lnTo>
                  <a:lnTo>
                    <a:pt x="199538" y="992590"/>
                  </a:lnTo>
                  <a:lnTo>
                    <a:pt x="195075" y="1078015"/>
                  </a:lnTo>
                  <a:lnTo>
                    <a:pt x="202088" y="1088852"/>
                  </a:lnTo>
                  <a:lnTo>
                    <a:pt x="298988" y="1123277"/>
                  </a:lnTo>
                  <a:lnTo>
                    <a:pt x="328951" y="1155152"/>
                  </a:lnTo>
                  <a:lnTo>
                    <a:pt x="339788" y="1175552"/>
                  </a:lnTo>
                  <a:lnTo>
                    <a:pt x="368476" y="1191490"/>
                  </a:lnTo>
                  <a:lnTo>
                    <a:pt x="399713" y="1197227"/>
                  </a:lnTo>
                  <a:lnTo>
                    <a:pt x="412463" y="1232290"/>
                  </a:lnTo>
                  <a:lnTo>
                    <a:pt x="437963" y="1244403"/>
                  </a:lnTo>
                  <a:lnTo>
                    <a:pt x="476213" y="1290302"/>
                  </a:lnTo>
                  <a:lnTo>
                    <a:pt x="511914" y="1349590"/>
                  </a:lnTo>
                  <a:lnTo>
                    <a:pt x="509363" y="1404415"/>
                  </a:lnTo>
                  <a:lnTo>
                    <a:pt x="529126" y="1431190"/>
                  </a:lnTo>
                  <a:lnTo>
                    <a:pt x="791777" y="1456690"/>
                  </a:lnTo>
                  <a:lnTo>
                    <a:pt x="791777" y="1456690"/>
                  </a:lnTo>
                  <a:lnTo>
                    <a:pt x="814727" y="1455415"/>
                  </a:lnTo>
                  <a:lnTo>
                    <a:pt x="825564" y="1426728"/>
                  </a:lnTo>
                  <a:lnTo>
                    <a:pt x="805802" y="1412065"/>
                  </a:lnTo>
                  <a:lnTo>
                    <a:pt x="806439" y="1364890"/>
                  </a:lnTo>
                  <a:lnTo>
                    <a:pt x="817914" y="1362340"/>
                  </a:lnTo>
                  <a:lnTo>
                    <a:pt x="840864" y="1306240"/>
                  </a:lnTo>
                  <a:lnTo>
                    <a:pt x="854889" y="1279465"/>
                  </a:lnTo>
                  <a:lnTo>
                    <a:pt x="890589" y="1258427"/>
                  </a:lnTo>
                  <a:lnTo>
                    <a:pt x="870827" y="1231015"/>
                  </a:lnTo>
                  <a:lnTo>
                    <a:pt x="848514" y="1171090"/>
                  </a:lnTo>
                  <a:lnTo>
                    <a:pt x="849789" y="1155152"/>
                  </a:lnTo>
                  <a:lnTo>
                    <a:pt x="849789" y="1154515"/>
                  </a:lnTo>
                  <a:lnTo>
                    <a:pt x="833214" y="1132202"/>
                  </a:lnTo>
                  <a:lnTo>
                    <a:pt x="781577" y="1063352"/>
                  </a:lnTo>
                  <a:lnTo>
                    <a:pt x="682126" y="923102"/>
                  </a:lnTo>
                  <a:lnTo>
                    <a:pt x="541876" y="725476"/>
                  </a:lnTo>
                  <a:lnTo>
                    <a:pt x="464101" y="617739"/>
                  </a:lnTo>
                  <a:lnTo>
                    <a:pt x="388238" y="508726"/>
                  </a:lnTo>
                  <a:lnTo>
                    <a:pt x="475576" y="138338"/>
                  </a:lnTo>
                  <a:lnTo>
                    <a:pt x="480676" y="113475"/>
                  </a:lnTo>
                  <a:lnTo>
                    <a:pt x="480676" y="113475"/>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250" name="Text Placeholder 5">
              <a:extLst>
                <a:ext uri="{FF2B5EF4-FFF2-40B4-BE49-F238E27FC236}">
                  <a16:creationId xmlns:a16="http://schemas.microsoft.com/office/drawing/2014/main" id="{2CF3507B-F08D-B120-5B1E-4C41FFC40461}"/>
                </a:ext>
              </a:extLst>
            </p:cNvPr>
            <p:cNvSpPr txBox="1">
              <a:spLocks/>
            </p:cNvSpPr>
            <p:nvPr/>
          </p:nvSpPr>
          <p:spPr>
            <a:xfrm>
              <a:off x="2185306" y="4751433"/>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Texas</a:t>
              </a:r>
            </a:p>
          </p:txBody>
        </p:sp>
        <p:sp>
          <p:nvSpPr>
            <p:cNvPr id="251" name="Rectangle 250">
              <a:extLst>
                <a:ext uri="{FF2B5EF4-FFF2-40B4-BE49-F238E27FC236}">
                  <a16:creationId xmlns:a16="http://schemas.microsoft.com/office/drawing/2014/main" id="{23758516-2801-EBD6-CE81-E5BA93E242A7}"/>
                </a:ext>
              </a:extLst>
            </p:cNvPr>
            <p:cNvSpPr/>
            <p:nvPr/>
          </p:nvSpPr>
          <p:spPr>
            <a:xfrm>
              <a:off x="2186270" y="5208685"/>
              <a:ext cx="2948189" cy="827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5.4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750%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430M / $3.2B / $390M​</a:t>
              </a:r>
            </a:p>
            <a:p>
              <a:pPr marL="0" marR="0" lvl="0" indent="0" algn="l" defTabSz="685783" rtl="0" eaLnBrk="1" fontAlgn="auto" latinLnBrk="0" hangingPunct="1">
                <a:lnSpc>
                  <a:spcPct val="100000"/>
                </a:lnSpc>
                <a:spcBef>
                  <a:spcPts val="0"/>
                </a:spcBef>
                <a:spcAft>
                  <a:spcPts val="0"/>
                </a:spcAft>
                <a:buClr>
                  <a:srgbClr val="000000"/>
                </a:buClr>
                <a:buSzPct val="100000"/>
                <a:buFontTx/>
                <a:buNone/>
                <a:tabLst/>
                <a:defRPr/>
              </a:pP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252" name="Freeform 41">
              <a:extLst>
                <a:ext uri="{FF2B5EF4-FFF2-40B4-BE49-F238E27FC236}">
                  <a16:creationId xmlns:a16="http://schemas.microsoft.com/office/drawing/2014/main" id="{8847D4CE-C4C2-A34E-2E22-9412F2CB8AFA}"/>
                </a:ext>
              </a:extLst>
            </p:cNvPr>
            <p:cNvSpPr/>
            <p:nvPr/>
          </p:nvSpPr>
          <p:spPr>
            <a:xfrm>
              <a:off x="1207272" y="4848776"/>
              <a:ext cx="897197" cy="918019"/>
            </a:xfrm>
            <a:custGeom>
              <a:avLst/>
              <a:gdLst>
                <a:gd name="connsiteX0" fmla="*/ 1111165 w 1514065"/>
                <a:gd name="connsiteY0" fmla="*/ 1389115 h 1418440"/>
                <a:gd name="connsiteX1" fmla="*/ 1079927 w 1514065"/>
                <a:gd name="connsiteY1" fmla="*/ 1272453 h 1418440"/>
                <a:gd name="connsiteX2" fmla="*/ 1079927 w 1514065"/>
                <a:gd name="connsiteY2" fmla="*/ 1294128 h 1418440"/>
                <a:gd name="connsiteX3" fmla="*/ 1111165 w 1514065"/>
                <a:gd name="connsiteY3" fmla="*/ 1389115 h 1418440"/>
                <a:gd name="connsiteX4" fmla="*/ 1103515 w 1514065"/>
                <a:gd name="connsiteY4" fmla="*/ 1185115 h 1418440"/>
                <a:gd name="connsiteX5" fmla="*/ 1081840 w 1514065"/>
                <a:gd name="connsiteY5" fmla="*/ 1225915 h 1418440"/>
                <a:gd name="connsiteX6" fmla="*/ 1079290 w 1514065"/>
                <a:gd name="connsiteY6" fmla="*/ 1239303 h 1418440"/>
                <a:gd name="connsiteX7" fmla="*/ 1103515 w 1514065"/>
                <a:gd name="connsiteY7" fmla="*/ 1185115 h 1418440"/>
                <a:gd name="connsiteX8" fmla="*/ 1103515 w 1514065"/>
                <a:gd name="connsiteY8" fmla="*/ 1185115 h 1418440"/>
                <a:gd name="connsiteX9" fmla="*/ 1120727 w 1514065"/>
                <a:gd name="connsiteY9" fmla="*/ 1154515 h 1418440"/>
                <a:gd name="connsiteX10" fmla="*/ 1141127 w 1514065"/>
                <a:gd name="connsiteY10" fmla="*/ 1127102 h 1418440"/>
                <a:gd name="connsiteX11" fmla="*/ 1126465 w 1514065"/>
                <a:gd name="connsiteY11" fmla="*/ 1136665 h 1418440"/>
                <a:gd name="connsiteX12" fmla="*/ 1120727 w 1514065"/>
                <a:gd name="connsiteY12" fmla="*/ 1154515 h 1418440"/>
                <a:gd name="connsiteX13" fmla="*/ 1194040 w 1514065"/>
                <a:gd name="connsiteY13" fmla="*/ 1089490 h 1418440"/>
                <a:gd name="connsiteX14" fmla="*/ 1145590 w 1514065"/>
                <a:gd name="connsiteY14" fmla="*/ 1114352 h 1418440"/>
                <a:gd name="connsiteX15" fmla="*/ 1158977 w 1514065"/>
                <a:gd name="connsiteY15" fmla="*/ 1111802 h 1418440"/>
                <a:gd name="connsiteX16" fmla="*/ 1194040 w 1514065"/>
                <a:gd name="connsiteY16" fmla="*/ 1089490 h 1418440"/>
                <a:gd name="connsiteX17" fmla="*/ 1200415 w 1514065"/>
                <a:gd name="connsiteY17" fmla="*/ 1079927 h 1418440"/>
                <a:gd name="connsiteX18" fmla="*/ 1213803 w 1514065"/>
                <a:gd name="connsiteY18" fmla="*/ 1068452 h 1418440"/>
                <a:gd name="connsiteX19" fmla="*/ 1208702 w 1514065"/>
                <a:gd name="connsiteY19" fmla="*/ 1069727 h 1418440"/>
                <a:gd name="connsiteX20" fmla="*/ 1200415 w 1514065"/>
                <a:gd name="connsiteY20" fmla="*/ 1079927 h 1418440"/>
                <a:gd name="connsiteX21" fmla="*/ 438601 w 1514065"/>
                <a:gd name="connsiteY21" fmla="*/ 2550 h 1418440"/>
                <a:gd name="connsiteX22" fmla="*/ 434138 w 1514065"/>
                <a:gd name="connsiteY22" fmla="*/ 1912 h 1418440"/>
                <a:gd name="connsiteX23" fmla="*/ 412463 w 1514065"/>
                <a:gd name="connsiteY23" fmla="*/ 604351 h 1418440"/>
                <a:gd name="connsiteX24" fmla="*/ 285601 w 1514065"/>
                <a:gd name="connsiteY24" fmla="*/ 598614 h 1418440"/>
                <a:gd name="connsiteX25" fmla="*/ 81600 w 1514065"/>
                <a:gd name="connsiteY25" fmla="*/ 587139 h 1418440"/>
                <a:gd name="connsiteX26" fmla="*/ 0 w 1514065"/>
                <a:gd name="connsiteY26" fmla="*/ 581401 h 1418440"/>
                <a:gd name="connsiteX27" fmla="*/ 15938 w 1514065"/>
                <a:gd name="connsiteY27" fmla="*/ 613276 h 1418440"/>
                <a:gd name="connsiteX28" fmla="*/ 16575 w 1514065"/>
                <a:gd name="connsiteY28" fmla="*/ 613914 h 1418440"/>
                <a:gd name="connsiteX29" fmla="*/ 86063 w 1514065"/>
                <a:gd name="connsiteY29" fmla="*/ 683401 h 1418440"/>
                <a:gd name="connsiteX30" fmla="*/ 125588 w 1514065"/>
                <a:gd name="connsiteY30" fmla="*/ 730577 h 1418440"/>
                <a:gd name="connsiteX31" fmla="*/ 178500 w 1514065"/>
                <a:gd name="connsiteY31" fmla="*/ 769464 h 1418440"/>
                <a:gd name="connsiteX32" fmla="*/ 215475 w 1514065"/>
                <a:gd name="connsiteY32" fmla="*/ 837677 h 1418440"/>
                <a:gd name="connsiteX33" fmla="*/ 229500 w 1514065"/>
                <a:gd name="connsiteY33" fmla="*/ 909077 h 1418440"/>
                <a:gd name="connsiteX34" fmla="*/ 260100 w 1514065"/>
                <a:gd name="connsiteY34" fmla="*/ 928839 h 1418440"/>
                <a:gd name="connsiteX35" fmla="*/ 283688 w 1514065"/>
                <a:gd name="connsiteY35" fmla="*/ 955615 h 1418440"/>
                <a:gd name="connsiteX36" fmla="*/ 317476 w 1514065"/>
                <a:gd name="connsiteY36" fmla="*/ 967727 h 1418440"/>
                <a:gd name="connsiteX37" fmla="*/ 367201 w 1514065"/>
                <a:gd name="connsiteY37" fmla="*/ 999602 h 1418440"/>
                <a:gd name="connsiteX38" fmla="*/ 389513 w 1514065"/>
                <a:gd name="connsiteY38" fmla="*/ 1007890 h 1418440"/>
                <a:gd name="connsiteX39" fmla="*/ 420751 w 1514065"/>
                <a:gd name="connsiteY39" fmla="*/ 976652 h 1418440"/>
                <a:gd name="connsiteX40" fmla="*/ 430951 w 1514065"/>
                <a:gd name="connsiteY40" fmla="*/ 943502 h 1418440"/>
                <a:gd name="connsiteX41" fmla="*/ 446888 w 1514065"/>
                <a:gd name="connsiteY41" fmla="*/ 911627 h 1418440"/>
                <a:gd name="connsiteX42" fmla="*/ 497251 w 1514065"/>
                <a:gd name="connsiteY42" fmla="*/ 891864 h 1418440"/>
                <a:gd name="connsiteX43" fmla="*/ 516376 w 1514065"/>
                <a:gd name="connsiteY43" fmla="*/ 902064 h 1418440"/>
                <a:gd name="connsiteX44" fmla="*/ 571839 w 1514065"/>
                <a:gd name="connsiteY44" fmla="*/ 906527 h 1418440"/>
                <a:gd name="connsiteX45" fmla="*/ 622839 w 1514065"/>
                <a:gd name="connsiteY45" fmla="*/ 938402 h 1418440"/>
                <a:gd name="connsiteX46" fmla="*/ 657264 w 1514065"/>
                <a:gd name="connsiteY46" fmla="*/ 944777 h 1418440"/>
                <a:gd name="connsiteX47" fmla="*/ 647064 w 1514065"/>
                <a:gd name="connsiteY47" fmla="*/ 962627 h 1418440"/>
                <a:gd name="connsiteX48" fmla="*/ 666826 w 1514065"/>
                <a:gd name="connsiteY48" fmla="*/ 975377 h 1418440"/>
                <a:gd name="connsiteX49" fmla="*/ 685314 w 1514065"/>
                <a:gd name="connsiteY49" fmla="*/ 997690 h 1418440"/>
                <a:gd name="connsiteX50" fmla="*/ 689139 w 1514065"/>
                <a:gd name="connsiteY50" fmla="*/ 1021277 h 1418440"/>
                <a:gd name="connsiteX51" fmla="*/ 701251 w 1514065"/>
                <a:gd name="connsiteY51" fmla="*/ 1037215 h 1418440"/>
                <a:gd name="connsiteX52" fmla="*/ 729939 w 1514065"/>
                <a:gd name="connsiteY52" fmla="*/ 1105427 h 1418440"/>
                <a:gd name="connsiteX53" fmla="*/ 758627 w 1514065"/>
                <a:gd name="connsiteY53" fmla="*/ 1129015 h 1418440"/>
                <a:gd name="connsiteX54" fmla="*/ 780302 w 1514065"/>
                <a:gd name="connsiteY54" fmla="*/ 1164715 h 1418440"/>
                <a:gd name="connsiteX55" fmla="*/ 808352 w 1514065"/>
                <a:gd name="connsiteY55" fmla="*/ 1193403 h 1418440"/>
                <a:gd name="connsiteX56" fmla="*/ 820464 w 1514065"/>
                <a:gd name="connsiteY56" fmla="*/ 1197227 h 1418440"/>
                <a:gd name="connsiteX57" fmla="*/ 831302 w 1514065"/>
                <a:gd name="connsiteY57" fmla="*/ 1270540 h 1418440"/>
                <a:gd name="connsiteX58" fmla="*/ 861902 w 1514065"/>
                <a:gd name="connsiteY58" fmla="*/ 1287115 h 1418440"/>
                <a:gd name="connsiteX59" fmla="*/ 863177 w 1514065"/>
                <a:gd name="connsiteY59" fmla="*/ 1310065 h 1418440"/>
                <a:gd name="connsiteX60" fmla="*/ 870827 w 1514065"/>
                <a:gd name="connsiteY60" fmla="*/ 1308153 h 1418440"/>
                <a:gd name="connsiteX61" fmla="*/ 923740 w 1514065"/>
                <a:gd name="connsiteY61" fmla="*/ 1372540 h 1418440"/>
                <a:gd name="connsiteX62" fmla="*/ 950514 w 1514065"/>
                <a:gd name="connsiteY62" fmla="*/ 1378278 h 1418440"/>
                <a:gd name="connsiteX63" fmla="*/ 983664 w 1514065"/>
                <a:gd name="connsiteY63" fmla="*/ 1398040 h 1418440"/>
                <a:gd name="connsiteX64" fmla="*/ 1035302 w 1514065"/>
                <a:gd name="connsiteY64" fmla="*/ 1398040 h 1418440"/>
                <a:gd name="connsiteX65" fmla="*/ 1072277 w 1514065"/>
                <a:gd name="connsiteY65" fmla="*/ 1418440 h 1418440"/>
                <a:gd name="connsiteX66" fmla="*/ 1116902 w 1514065"/>
                <a:gd name="connsiteY66" fmla="*/ 1408241 h 1418440"/>
                <a:gd name="connsiteX67" fmla="*/ 1097140 w 1514065"/>
                <a:gd name="connsiteY67" fmla="*/ 1389753 h 1418440"/>
                <a:gd name="connsiteX68" fmla="*/ 1079290 w 1514065"/>
                <a:gd name="connsiteY68" fmla="*/ 1335565 h 1418440"/>
                <a:gd name="connsiteX69" fmla="*/ 1072277 w 1514065"/>
                <a:gd name="connsiteY69" fmla="*/ 1288390 h 1418440"/>
                <a:gd name="connsiteX70" fmla="*/ 1061440 w 1514065"/>
                <a:gd name="connsiteY70" fmla="*/ 1273090 h 1418440"/>
                <a:gd name="connsiteX71" fmla="*/ 1065902 w 1514065"/>
                <a:gd name="connsiteY71" fmla="*/ 1241215 h 1418440"/>
                <a:gd name="connsiteX72" fmla="*/ 1052515 w 1514065"/>
                <a:gd name="connsiteY72" fmla="*/ 1239940 h 1418440"/>
                <a:gd name="connsiteX73" fmla="*/ 1034665 w 1514065"/>
                <a:gd name="connsiteY73" fmla="*/ 1209977 h 1418440"/>
                <a:gd name="connsiteX74" fmla="*/ 1055065 w 1514065"/>
                <a:gd name="connsiteY74" fmla="*/ 1231653 h 1418440"/>
                <a:gd name="connsiteX75" fmla="*/ 1078652 w 1514065"/>
                <a:gd name="connsiteY75" fmla="*/ 1223365 h 1418440"/>
                <a:gd name="connsiteX76" fmla="*/ 1091402 w 1514065"/>
                <a:gd name="connsiteY76" fmla="*/ 1189578 h 1418440"/>
                <a:gd name="connsiteX77" fmla="*/ 1065902 w 1514065"/>
                <a:gd name="connsiteY77" fmla="*/ 1155152 h 1418440"/>
                <a:gd name="connsiteX78" fmla="*/ 1104152 w 1514065"/>
                <a:gd name="connsiteY78" fmla="*/ 1159615 h 1418440"/>
                <a:gd name="connsiteX79" fmla="*/ 1122002 w 1514065"/>
                <a:gd name="connsiteY79" fmla="*/ 1131565 h 1418440"/>
                <a:gd name="connsiteX80" fmla="*/ 1119452 w 1514065"/>
                <a:gd name="connsiteY80" fmla="*/ 1121365 h 1418440"/>
                <a:gd name="connsiteX81" fmla="*/ 1135390 w 1514065"/>
                <a:gd name="connsiteY81" fmla="*/ 1100327 h 1418440"/>
                <a:gd name="connsiteX82" fmla="*/ 1131565 w 1514065"/>
                <a:gd name="connsiteY82" fmla="*/ 1118815 h 1418440"/>
                <a:gd name="connsiteX83" fmla="*/ 1149415 w 1514065"/>
                <a:gd name="connsiteY83" fmla="*/ 1104790 h 1418440"/>
                <a:gd name="connsiteX84" fmla="*/ 1142402 w 1514065"/>
                <a:gd name="connsiteY84" fmla="*/ 1079927 h 1418440"/>
                <a:gd name="connsiteX85" fmla="*/ 1165352 w 1514065"/>
                <a:gd name="connsiteY85" fmla="*/ 1092040 h 1418440"/>
                <a:gd name="connsiteX86" fmla="*/ 1195315 w 1514065"/>
                <a:gd name="connsiteY86" fmla="*/ 1075465 h 1418440"/>
                <a:gd name="connsiteX87" fmla="*/ 1165990 w 1514065"/>
                <a:gd name="connsiteY87" fmla="*/ 1044865 h 1418440"/>
                <a:gd name="connsiteX88" fmla="*/ 1183840 w 1514065"/>
                <a:gd name="connsiteY88" fmla="*/ 1051877 h 1418440"/>
                <a:gd name="connsiteX89" fmla="*/ 1216990 w 1514065"/>
                <a:gd name="connsiteY89" fmla="*/ 1053790 h 1418440"/>
                <a:gd name="connsiteX90" fmla="*/ 1260978 w 1514065"/>
                <a:gd name="connsiteY90" fmla="*/ 1043590 h 1418440"/>
                <a:gd name="connsiteX91" fmla="*/ 1310065 w 1514065"/>
                <a:gd name="connsiteY91" fmla="*/ 1010440 h 1418440"/>
                <a:gd name="connsiteX92" fmla="*/ 1340028 w 1514065"/>
                <a:gd name="connsiteY92" fmla="*/ 986215 h 1418440"/>
                <a:gd name="connsiteX93" fmla="*/ 1344490 w 1514065"/>
                <a:gd name="connsiteY93" fmla="*/ 968365 h 1418440"/>
                <a:gd name="connsiteX94" fmla="*/ 1362340 w 1514065"/>
                <a:gd name="connsiteY94" fmla="*/ 949877 h 1418440"/>
                <a:gd name="connsiteX95" fmla="*/ 1352140 w 1514065"/>
                <a:gd name="connsiteY95" fmla="*/ 918640 h 1418440"/>
                <a:gd name="connsiteX96" fmla="*/ 1354053 w 1514065"/>
                <a:gd name="connsiteY96" fmla="*/ 899515 h 1418440"/>
                <a:gd name="connsiteX97" fmla="*/ 1386565 w 1514065"/>
                <a:gd name="connsiteY97" fmla="*/ 885489 h 1418440"/>
                <a:gd name="connsiteX98" fmla="*/ 1384015 w 1514065"/>
                <a:gd name="connsiteY98" fmla="*/ 919277 h 1418440"/>
                <a:gd name="connsiteX99" fmla="*/ 1403140 w 1514065"/>
                <a:gd name="connsiteY99" fmla="*/ 919277 h 1418440"/>
                <a:gd name="connsiteX100" fmla="*/ 1382103 w 1514065"/>
                <a:gd name="connsiteY100" fmla="*/ 937127 h 1418440"/>
                <a:gd name="connsiteX101" fmla="*/ 1467528 w 1514065"/>
                <a:gd name="connsiteY101" fmla="*/ 891864 h 1418440"/>
                <a:gd name="connsiteX102" fmla="*/ 1481553 w 1514065"/>
                <a:gd name="connsiteY102" fmla="*/ 891227 h 1418440"/>
                <a:gd name="connsiteX103" fmla="*/ 1491116 w 1514065"/>
                <a:gd name="connsiteY103" fmla="*/ 850427 h 1418440"/>
                <a:gd name="connsiteX104" fmla="*/ 1493665 w 1514065"/>
                <a:gd name="connsiteY104" fmla="*/ 850427 h 1418440"/>
                <a:gd name="connsiteX105" fmla="*/ 1503866 w 1514065"/>
                <a:gd name="connsiteY105" fmla="*/ 826839 h 1418440"/>
                <a:gd name="connsiteX106" fmla="*/ 1508328 w 1514065"/>
                <a:gd name="connsiteY106" fmla="*/ 753527 h 1418440"/>
                <a:gd name="connsiteX107" fmla="*/ 1514066 w 1514065"/>
                <a:gd name="connsiteY107" fmla="*/ 723564 h 1418440"/>
                <a:gd name="connsiteX108" fmla="*/ 1497491 w 1514065"/>
                <a:gd name="connsiteY108" fmla="*/ 670651 h 1418440"/>
                <a:gd name="connsiteX109" fmla="*/ 1477091 w 1514065"/>
                <a:gd name="connsiteY109" fmla="*/ 634952 h 1418440"/>
                <a:gd name="connsiteX110" fmla="*/ 1476453 w 1514065"/>
                <a:gd name="connsiteY110" fmla="*/ 617739 h 1418440"/>
                <a:gd name="connsiteX111" fmla="*/ 1455415 w 1514065"/>
                <a:gd name="connsiteY111" fmla="*/ 587776 h 1418440"/>
                <a:gd name="connsiteX112" fmla="*/ 1442665 w 1514065"/>
                <a:gd name="connsiteY112" fmla="*/ 464101 h 1418440"/>
                <a:gd name="connsiteX113" fmla="*/ 1442028 w 1514065"/>
                <a:gd name="connsiteY113" fmla="*/ 448801 h 1418440"/>
                <a:gd name="connsiteX114" fmla="*/ 1440753 w 1514065"/>
                <a:gd name="connsiteY114" fmla="*/ 432864 h 1418440"/>
                <a:gd name="connsiteX115" fmla="*/ 1436928 w 1514065"/>
                <a:gd name="connsiteY115" fmla="*/ 376764 h 1418440"/>
                <a:gd name="connsiteX116" fmla="*/ 1398678 w 1514065"/>
                <a:gd name="connsiteY116" fmla="*/ 378038 h 1418440"/>
                <a:gd name="connsiteX117" fmla="*/ 1388478 w 1514065"/>
                <a:gd name="connsiteY117" fmla="*/ 367201 h 1418440"/>
                <a:gd name="connsiteX118" fmla="*/ 1386565 w 1514065"/>
                <a:gd name="connsiteY118" fmla="*/ 366563 h 1418440"/>
                <a:gd name="connsiteX119" fmla="*/ 1385928 w 1514065"/>
                <a:gd name="connsiteY119" fmla="*/ 366563 h 1418440"/>
                <a:gd name="connsiteX120" fmla="*/ 1361065 w 1514065"/>
                <a:gd name="connsiteY120" fmla="*/ 362101 h 1418440"/>
                <a:gd name="connsiteX121" fmla="*/ 1331740 w 1514065"/>
                <a:gd name="connsiteY121" fmla="*/ 343613 h 1418440"/>
                <a:gd name="connsiteX122" fmla="*/ 1299228 w 1514065"/>
                <a:gd name="connsiteY122" fmla="*/ 330226 h 1418440"/>
                <a:gd name="connsiteX123" fmla="*/ 1239303 w 1514065"/>
                <a:gd name="connsiteY123" fmla="*/ 348713 h 1418440"/>
                <a:gd name="connsiteX124" fmla="*/ 1223365 w 1514065"/>
                <a:gd name="connsiteY124" fmla="*/ 344888 h 1418440"/>
                <a:gd name="connsiteX125" fmla="*/ 1203602 w 1514065"/>
                <a:gd name="connsiteY125" fmla="*/ 352538 h 1418440"/>
                <a:gd name="connsiteX126" fmla="*/ 1179377 w 1514065"/>
                <a:gd name="connsiteY126" fmla="*/ 372301 h 1418440"/>
                <a:gd name="connsiteX127" fmla="*/ 1113715 w 1514065"/>
                <a:gd name="connsiteY127" fmla="*/ 341063 h 1418440"/>
                <a:gd name="connsiteX128" fmla="*/ 1093315 w 1514065"/>
                <a:gd name="connsiteY128" fmla="*/ 369751 h 1418440"/>
                <a:gd name="connsiteX129" fmla="*/ 1062715 w 1514065"/>
                <a:gd name="connsiteY129" fmla="*/ 358276 h 1418440"/>
                <a:gd name="connsiteX130" fmla="*/ 1030202 w 1514065"/>
                <a:gd name="connsiteY130" fmla="*/ 337876 h 1418440"/>
                <a:gd name="connsiteX131" fmla="*/ 1012990 w 1514065"/>
                <a:gd name="connsiteY131" fmla="*/ 352538 h 1418440"/>
                <a:gd name="connsiteX132" fmla="*/ 996414 w 1514065"/>
                <a:gd name="connsiteY132" fmla="*/ 353176 h 1418440"/>
                <a:gd name="connsiteX133" fmla="*/ 996414 w 1514065"/>
                <a:gd name="connsiteY133" fmla="*/ 341063 h 1418440"/>
                <a:gd name="connsiteX134" fmla="*/ 951152 w 1514065"/>
                <a:gd name="connsiteY134" fmla="*/ 320026 h 1418440"/>
                <a:gd name="connsiteX135" fmla="*/ 933302 w 1514065"/>
                <a:gd name="connsiteY135" fmla="*/ 328313 h 1418440"/>
                <a:gd name="connsiteX136" fmla="*/ 923740 w 1514065"/>
                <a:gd name="connsiteY136" fmla="*/ 317476 h 1418440"/>
                <a:gd name="connsiteX137" fmla="*/ 874014 w 1514065"/>
                <a:gd name="connsiteY137" fmla="*/ 312376 h 1418440"/>
                <a:gd name="connsiteX138" fmla="*/ 836402 w 1514065"/>
                <a:gd name="connsiteY138" fmla="*/ 277951 h 1418440"/>
                <a:gd name="connsiteX139" fmla="*/ 830664 w 1514065"/>
                <a:gd name="connsiteY139" fmla="*/ 289426 h 1418440"/>
                <a:gd name="connsiteX140" fmla="*/ 802614 w 1514065"/>
                <a:gd name="connsiteY140" fmla="*/ 288151 h 1418440"/>
                <a:gd name="connsiteX141" fmla="*/ 777114 w 1514065"/>
                <a:gd name="connsiteY141" fmla="*/ 263926 h 1418440"/>
                <a:gd name="connsiteX142" fmla="*/ 765639 w 1514065"/>
                <a:gd name="connsiteY142" fmla="*/ 225676 h 1418440"/>
                <a:gd name="connsiteX143" fmla="*/ 763726 w 1514065"/>
                <a:gd name="connsiteY143" fmla="*/ 5738 h 1418440"/>
                <a:gd name="connsiteX144" fmla="*/ 599889 w 1514065"/>
                <a:gd name="connsiteY144" fmla="*/ 3825 h 1418440"/>
                <a:gd name="connsiteX145" fmla="*/ 444338 w 1514065"/>
                <a:gd name="connsiteY145" fmla="*/ 0 h 1418440"/>
                <a:gd name="connsiteX146" fmla="*/ 438601 w 1514065"/>
                <a:gd name="connsiteY146" fmla="*/ 2550 h 1418440"/>
                <a:gd name="connsiteX147" fmla="*/ 438601 w 1514065"/>
                <a:gd name="connsiteY147" fmla="*/ 2550 h 141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14065" h="1418440">
                  <a:moveTo>
                    <a:pt x="1111165" y="1389115"/>
                  </a:moveTo>
                  <a:lnTo>
                    <a:pt x="1079927" y="1272453"/>
                  </a:lnTo>
                  <a:lnTo>
                    <a:pt x="1079927" y="1294128"/>
                  </a:lnTo>
                  <a:lnTo>
                    <a:pt x="1111165" y="1389115"/>
                  </a:lnTo>
                  <a:close/>
                  <a:moveTo>
                    <a:pt x="1103515" y="1185115"/>
                  </a:moveTo>
                  <a:lnTo>
                    <a:pt x="1081840" y="1225915"/>
                  </a:lnTo>
                  <a:lnTo>
                    <a:pt x="1079290" y="1239303"/>
                  </a:lnTo>
                  <a:lnTo>
                    <a:pt x="1103515" y="1185115"/>
                  </a:lnTo>
                  <a:lnTo>
                    <a:pt x="1103515" y="1185115"/>
                  </a:lnTo>
                  <a:close/>
                  <a:moveTo>
                    <a:pt x="1120727" y="1154515"/>
                  </a:moveTo>
                  <a:lnTo>
                    <a:pt x="1141127" y="1127102"/>
                  </a:lnTo>
                  <a:lnTo>
                    <a:pt x="1126465" y="1136665"/>
                  </a:lnTo>
                  <a:lnTo>
                    <a:pt x="1120727" y="1154515"/>
                  </a:lnTo>
                  <a:close/>
                  <a:moveTo>
                    <a:pt x="1194040" y="1089490"/>
                  </a:moveTo>
                  <a:lnTo>
                    <a:pt x="1145590" y="1114352"/>
                  </a:lnTo>
                  <a:lnTo>
                    <a:pt x="1158977" y="1111802"/>
                  </a:lnTo>
                  <a:lnTo>
                    <a:pt x="1194040" y="1089490"/>
                  </a:lnTo>
                  <a:close/>
                  <a:moveTo>
                    <a:pt x="1200415" y="1079927"/>
                  </a:moveTo>
                  <a:lnTo>
                    <a:pt x="1213803" y="1068452"/>
                  </a:lnTo>
                  <a:lnTo>
                    <a:pt x="1208702" y="1069727"/>
                  </a:lnTo>
                  <a:lnTo>
                    <a:pt x="1200415" y="1079927"/>
                  </a:lnTo>
                  <a:close/>
                  <a:moveTo>
                    <a:pt x="438601" y="2550"/>
                  </a:moveTo>
                  <a:lnTo>
                    <a:pt x="434138" y="1912"/>
                  </a:lnTo>
                  <a:lnTo>
                    <a:pt x="412463" y="604351"/>
                  </a:lnTo>
                  <a:lnTo>
                    <a:pt x="285601" y="598614"/>
                  </a:lnTo>
                  <a:lnTo>
                    <a:pt x="81600" y="587139"/>
                  </a:lnTo>
                  <a:lnTo>
                    <a:pt x="0" y="581401"/>
                  </a:lnTo>
                  <a:lnTo>
                    <a:pt x="15938" y="613276"/>
                  </a:lnTo>
                  <a:lnTo>
                    <a:pt x="16575" y="613914"/>
                  </a:lnTo>
                  <a:lnTo>
                    <a:pt x="86063" y="683401"/>
                  </a:lnTo>
                  <a:lnTo>
                    <a:pt x="125588" y="730577"/>
                  </a:lnTo>
                  <a:lnTo>
                    <a:pt x="178500" y="769464"/>
                  </a:lnTo>
                  <a:lnTo>
                    <a:pt x="215475" y="837677"/>
                  </a:lnTo>
                  <a:lnTo>
                    <a:pt x="229500" y="909077"/>
                  </a:lnTo>
                  <a:lnTo>
                    <a:pt x="260100" y="928839"/>
                  </a:lnTo>
                  <a:lnTo>
                    <a:pt x="283688" y="955615"/>
                  </a:lnTo>
                  <a:lnTo>
                    <a:pt x="317476" y="967727"/>
                  </a:lnTo>
                  <a:lnTo>
                    <a:pt x="367201" y="999602"/>
                  </a:lnTo>
                  <a:lnTo>
                    <a:pt x="389513" y="1007890"/>
                  </a:lnTo>
                  <a:lnTo>
                    <a:pt x="420751" y="976652"/>
                  </a:lnTo>
                  <a:lnTo>
                    <a:pt x="430951" y="943502"/>
                  </a:lnTo>
                  <a:lnTo>
                    <a:pt x="446888" y="911627"/>
                  </a:lnTo>
                  <a:lnTo>
                    <a:pt x="497251" y="891864"/>
                  </a:lnTo>
                  <a:lnTo>
                    <a:pt x="516376" y="902064"/>
                  </a:lnTo>
                  <a:lnTo>
                    <a:pt x="571839" y="906527"/>
                  </a:lnTo>
                  <a:lnTo>
                    <a:pt x="622839" y="938402"/>
                  </a:lnTo>
                  <a:lnTo>
                    <a:pt x="657264" y="944777"/>
                  </a:lnTo>
                  <a:lnTo>
                    <a:pt x="647064" y="962627"/>
                  </a:lnTo>
                  <a:lnTo>
                    <a:pt x="666826" y="975377"/>
                  </a:lnTo>
                  <a:lnTo>
                    <a:pt x="685314" y="997690"/>
                  </a:lnTo>
                  <a:lnTo>
                    <a:pt x="689139" y="1021277"/>
                  </a:lnTo>
                  <a:lnTo>
                    <a:pt x="701251" y="1037215"/>
                  </a:lnTo>
                  <a:lnTo>
                    <a:pt x="729939" y="1105427"/>
                  </a:lnTo>
                  <a:lnTo>
                    <a:pt x="758627" y="1129015"/>
                  </a:lnTo>
                  <a:lnTo>
                    <a:pt x="780302" y="1164715"/>
                  </a:lnTo>
                  <a:lnTo>
                    <a:pt x="808352" y="1193403"/>
                  </a:lnTo>
                  <a:lnTo>
                    <a:pt x="820464" y="1197227"/>
                  </a:lnTo>
                  <a:lnTo>
                    <a:pt x="831302" y="1270540"/>
                  </a:lnTo>
                  <a:lnTo>
                    <a:pt x="861902" y="1287115"/>
                  </a:lnTo>
                  <a:lnTo>
                    <a:pt x="863177" y="1310065"/>
                  </a:lnTo>
                  <a:lnTo>
                    <a:pt x="870827" y="1308153"/>
                  </a:lnTo>
                  <a:lnTo>
                    <a:pt x="923740" y="1372540"/>
                  </a:lnTo>
                  <a:lnTo>
                    <a:pt x="950514" y="1378278"/>
                  </a:lnTo>
                  <a:lnTo>
                    <a:pt x="983664" y="1398040"/>
                  </a:lnTo>
                  <a:lnTo>
                    <a:pt x="1035302" y="1398040"/>
                  </a:lnTo>
                  <a:lnTo>
                    <a:pt x="1072277" y="1418440"/>
                  </a:lnTo>
                  <a:lnTo>
                    <a:pt x="1116902" y="1408241"/>
                  </a:lnTo>
                  <a:lnTo>
                    <a:pt x="1097140" y="1389753"/>
                  </a:lnTo>
                  <a:lnTo>
                    <a:pt x="1079290" y="1335565"/>
                  </a:lnTo>
                  <a:lnTo>
                    <a:pt x="1072277" y="1288390"/>
                  </a:lnTo>
                  <a:lnTo>
                    <a:pt x="1061440" y="1273090"/>
                  </a:lnTo>
                  <a:lnTo>
                    <a:pt x="1065902" y="1241215"/>
                  </a:lnTo>
                  <a:lnTo>
                    <a:pt x="1052515" y="1239940"/>
                  </a:lnTo>
                  <a:lnTo>
                    <a:pt x="1034665" y="1209977"/>
                  </a:lnTo>
                  <a:lnTo>
                    <a:pt x="1055065" y="1231653"/>
                  </a:lnTo>
                  <a:lnTo>
                    <a:pt x="1078652" y="1223365"/>
                  </a:lnTo>
                  <a:lnTo>
                    <a:pt x="1091402" y="1189578"/>
                  </a:lnTo>
                  <a:lnTo>
                    <a:pt x="1065902" y="1155152"/>
                  </a:lnTo>
                  <a:lnTo>
                    <a:pt x="1104152" y="1159615"/>
                  </a:lnTo>
                  <a:lnTo>
                    <a:pt x="1122002" y="1131565"/>
                  </a:lnTo>
                  <a:lnTo>
                    <a:pt x="1119452" y="1121365"/>
                  </a:lnTo>
                  <a:lnTo>
                    <a:pt x="1135390" y="1100327"/>
                  </a:lnTo>
                  <a:lnTo>
                    <a:pt x="1131565" y="1118815"/>
                  </a:lnTo>
                  <a:lnTo>
                    <a:pt x="1149415" y="1104790"/>
                  </a:lnTo>
                  <a:lnTo>
                    <a:pt x="1142402" y="1079927"/>
                  </a:lnTo>
                  <a:lnTo>
                    <a:pt x="1165352" y="1092040"/>
                  </a:lnTo>
                  <a:lnTo>
                    <a:pt x="1195315" y="1075465"/>
                  </a:lnTo>
                  <a:lnTo>
                    <a:pt x="1165990" y="1044865"/>
                  </a:lnTo>
                  <a:lnTo>
                    <a:pt x="1183840" y="1051877"/>
                  </a:lnTo>
                  <a:lnTo>
                    <a:pt x="1216990" y="1053790"/>
                  </a:lnTo>
                  <a:lnTo>
                    <a:pt x="1260978" y="1043590"/>
                  </a:lnTo>
                  <a:lnTo>
                    <a:pt x="1310065" y="1010440"/>
                  </a:lnTo>
                  <a:lnTo>
                    <a:pt x="1340028" y="986215"/>
                  </a:lnTo>
                  <a:lnTo>
                    <a:pt x="1344490" y="968365"/>
                  </a:lnTo>
                  <a:lnTo>
                    <a:pt x="1362340" y="949877"/>
                  </a:lnTo>
                  <a:lnTo>
                    <a:pt x="1352140" y="918640"/>
                  </a:lnTo>
                  <a:lnTo>
                    <a:pt x="1354053" y="899515"/>
                  </a:lnTo>
                  <a:lnTo>
                    <a:pt x="1386565" y="885489"/>
                  </a:lnTo>
                  <a:lnTo>
                    <a:pt x="1384015" y="919277"/>
                  </a:lnTo>
                  <a:lnTo>
                    <a:pt x="1403140" y="919277"/>
                  </a:lnTo>
                  <a:lnTo>
                    <a:pt x="1382103" y="937127"/>
                  </a:lnTo>
                  <a:lnTo>
                    <a:pt x="1467528" y="891864"/>
                  </a:lnTo>
                  <a:lnTo>
                    <a:pt x="1481553" y="891227"/>
                  </a:lnTo>
                  <a:lnTo>
                    <a:pt x="1491116" y="850427"/>
                  </a:lnTo>
                  <a:lnTo>
                    <a:pt x="1493665" y="850427"/>
                  </a:lnTo>
                  <a:lnTo>
                    <a:pt x="1503866" y="826839"/>
                  </a:lnTo>
                  <a:lnTo>
                    <a:pt x="1508328" y="753527"/>
                  </a:lnTo>
                  <a:lnTo>
                    <a:pt x="1514066" y="723564"/>
                  </a:lnTo>
                  <a:lnTo>
                    <a:pt x="1497491" y="670651"/>
                  </a:lnTo>
                  <a:lnTo>
                    <a:pt x="1477091" y="634952"/>
                  </a:lnTo>
                  <a:lnTo>
                    <a:pt x="1476453" y="617739"/>
                  </a:lnTo>
                  <a:lnTo>
                    <a:pt x="1455415" y="587776"/>
                  </a:lnTo>
                  <a:lnTo>
                    <a:pt x="1442665" y="464101"/>
                  </a:lnTo>
                  <a:lnTo>
                    <a:pt x="1442028" y="448801"/>
                  </a:lnTo>
                  <a:lnTo>
                    <a:pt x="1440753" y="432864"/>
                  </a:lnTo>
                  <a:lnTo>
                    <a:pt x="1436928" y="376764"/>
                  </a:lnTo>
                  <a:lnTo>
                    <a:pt x="1398678" y="378038"/>
                  </a:lnTo>
                  <a:lnTo>
                    <a:pt x="1388478" y="367201"/>
                  </a:lnTo>
                  <a:lnTo>
                    <a:pt x="1386565" y="366563"/>
                  </a:lnTo>
                  <a:lnTo>
                    <a:pt x="1385928" y="366563"/>
                  </a:lnTo>
                  <a:lnTo>
                    <a:pt x="1361065" y="362101"/>
                  </a:lnTo>
                  <a:lnTo>
                    <a:pt x="1331740" y="343613"/>
                  </a:lnTo>
                  <a:lnTo>
                    <a:pt x="1299228" y="330226"/>
                  </a:lnTo>
                  <a:lnTo>
                    <a:pt x="1239303" y="348713"/>
                  </a:lnTo>
                  <a:lnTo>
                    <a:pt x="1223365" y="344888"/>
                  </a:lnTo>
                  <a:lnTo>
                    <a:pt x="1203602" y="352538"/>
                  </a:lnTo>
                  <a:lnTo>
                    <a:pt x="1179377" y="372301"/>
                  </a:lnTo>
                  <a:lnTo>
                    <a:pt x="1113715" y="341063"/>
                  </a:lnTo>
                  <a:lnTo>
                    <a:pt x="1093315" y="369751"/>
                  </a:lnTo>
                  <a:lnTo>
                    <a:pt x="1062715" y="358276"/>
                  </a:lnTo>
                  <a:lnTo>
                    <a:pt x="1030202" y="337876"/>
                  </a:lnTo>
                  <a:lnTo>
                    <a:pt x="1012990" y="352538"/>
                  </a:lnTo>
                  <a:lnTo>
                    <a:pt x="996414" y="353176"/>
                  </a:lnTo>
                  <a:lnTo>
                    <a:pt x="996414" y="341063"/>
                  </a:lnTo>
                  <a:lnTo>
                    <a:pt x="951152" y="320026"/>
                  </a:lnTo>
                  <a:lnTo>
                    <a:pt x="933302" y="328313"/>
                  </a:lnTo>
                  <a:lnTo>
                    <a:pt x="923740" y="317476"/>
                  </a:lnTo>
                  <a:lnTo>
                    <a:pt x="874014" y="312376"/>
                  </a:lnTo>
                  <a:lnTo>
                    <a:pt x="836402" y="277951"/>
                  </a:lnTo>
                  <a:lnTo>
                    <a:pt x="830664" y="289426"/>
                  </a:lnTo>
                  <a:lnTo>
                    <a:pt x="802614" y="288151"/>
                  </a:lnTo>
                  <a:lnTo>
                    <a:pt x="777114" y="263926"/>
                  </a:lnTo>
                  <a:lnTo>
                    <a:pt x="765639" y="225676"/>
                  </a:lnTo>
                  <a:lnTo>
                    <a:pt x="763726" y="5738"/>
                  </a:lnTo>
                  <a:lnTo>
                    <a:pt x="599889" y="3825"/>
                  </a:lnTo>
                  <a:lnTo>
                    <a:pt x="444338" y="0"/>
                  </a:lnTo>
                  <a:lnTo>
                    <a:pt x="438601" y="2550"/>
                  </a:lnTo>
                  <a:lnTo>
                    <a:pt x="438601" y="2550"/>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253" name="Text Placeholder 5">
              <a:extLst>
                <a:ext uri="{FF2B5EF4-FFF2-40B4-BE49-F238E27FC236}">
                  <a16:creationId xmlns:a16="http://schemas.microsoft.com/office/drawing/2014/main" id="{312A2FCA-DDDE-89FD-D5B6-1BDD3A485C68}"/>
                </a:ext>
              </a:extLst>
            </p:cNvPr>
            <p:cNvSpPr txBox="1">
              <a:spLocks/>
            </p:cNvSpPr>
            <p:nvPr/>
          </p:nvSpPr>
          <p:spPr>
            <a:xfrm>
              <a:off x="2126204" y="1287971"/>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Colorado</a:t>
              </a:r>
            </a:p>
          </p:txBody>
        </p:sp>
        <p:sp>
          <p:nvSpPr>
            <p:cNvPr id="254" name="Rectangle 253">
              <a:extLst>
                <a:ext uri="{FF2B5EF4-FFF2-40B4-BE49-F238E27FC236}">
                  <a16:creationId xmlns:a16="http://schemas.microsoft.com/office/drawing/2014/main" id="{A1979FDB-0212-5936-233B-17CFAD09E9F6}"/>
                </a:ext>
              </a:extLst>
            </p:cNvPr>
            <p:cNvSpPr/>
            <p:nvPr/>
          </p:nvSpPr>
          <p:spPr>
            <a:xfrm>
              <a:off x="2127169" y="1745224"/>
              <a:ext cx="2948189"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6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1%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680M / $850M / $530M​</a:t>
              </a:r>
            </a:p>
            <a:p>
              <a:pPr marL="0" marR="0" lvl="0" indent="0" algn="l" defTabSz="685783" rtl="0" eaLnBrk="1" fontAlgn="auto" latinLnBrk="0" hangingPunct="1">
                <a:lnSpc>
                  <a:spcPct val="100000"/>
                </a:lnSpc>
                <a:spcBef>
                  <a:spcPts val="0"/>
                </a:spcBef>
                <a:spcAft>
                  <a:spcPts val="0"/>
                </a:spcAft>
                <a:buClr>
                  <a:srgbClr val="000000"/>
                </a:buClr>
                <a:buSzPct val="100000"/>
                <a:buFontTx/>
                <a:buNone/>
                <a:tabLst/>
                <a:defRPr/>
              </a:pP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255" name="Freeform 27">
              <a:extLst>
                <a:ext uri="{FF2B5EF4-FFF2-40B4-BE49-F238E27FC236}">
                  <a16:creationId xmlns:a16="http://schemas.microsoft.com/office/drawing/2014/main" id="{CA46209D-BABD-93F8-B8E8-61074C2A3434}"/>
                </a:ext>
              </a:extLst>
            </p:cNvPr>
            <p:cNvSpPr/>
            <p:nvPr/>
          </p:nvSpPr>
          <p:spPr>
            <a:xfrm>
              <a:off x="1479087" y="1764146"/>
              <a:ext cx="547355" cy="391013"/>
            </a:xfrm>
            <a:custGeom>
              <a:avLst/>
              <a:gdLst>
                <a:gd name="connsiteX0" fmla="*/ 759902 w 762451"/>
                <a:gd name="connsiteY0" fmla="*/ 174038 h 586501"/>
                <a:gd name="connsiteX1" fmla="*/ 762452 w 762451"/>
                <a:gd name="connsiteY1" fmla="*/ 48450 h 586501"/>
                <a:gd name="connsiteX2" fmla="*/ 731214 w 762451"/>
                <a:gd name="connsiteY2" fmla="*/ 47175 h 586501"/>
                <a:gd name="connsiteX3" fmla="*/ 574389 w 762451"/>
                <a:gd name="connsiteY3" fmla="*/ 41438 h 586501"/>
                <a:gd name="connsiteX4" fmla="*/ 559089 w 762451"/>
                <a:gd name="connsiteY4" fmla="*/ 40800 h 586501"/>
                <a:gd name="connsiteX5" fmla="*/ 546339 w 762451"/>
                <a:gd name="connsiteY5" fmla="*/ 40163 h 586501"/>
                <a:gd name="connsiteX6" fmla="*/ 355726 w 762451"/>
                <a:gd name="connsiteY6" fmla="*/ 28050 h 586501"/>
                <a:gd name="connsiteX7" fmla="*/ 228863 w 762451"/>
                <a:gd name="connsiteY7" fmla="*/ 17213 h 586501"/>
                <a:gd name="connsiteX8" fmla="*/ 70125 w 762451"/>
                <a:gd name="connsiteY8" fmla="*/ 1913 h 586501"/>
                <a:gd name="connsiteX9" fmla="*/ 54825 w 762451"/>
                <a:gd name="connsiteY9" fmla="*/ 0 h 586501"/>
                <a:gd name="connsiteX10" fmla="*/ 52913 w 762451"/>
                <a:gd name="connsiteY10" fmla="*/ 16575 h 586501"/>
                <a:gd name="connsiteX11" fmla="*/ 18487 w 762451"/>
                <a:gd name="connsiteY11" fmla="*/ 351263 h 586501"/>
                <a:gd name="connsiteX12" fmla="*/ 6375 w 762451"/>
                <a:gd name="connsiteY12" fmla="*/ 468563 h 586501"/>
                <a:gd name="connsiteX13" fmla="*/ 1275 w 762451"/>
                <a:gd name="connsiteY13" fmla="*/ 519564 h 586501"/>
                <a:gd name="connsiteX14" fmla="*/ 0 w 762451"/>
                <a:gd name="connsiteY14" fmla="*/ 536139 h 586501"/>
                <a:gd name="connsiteX15" fmla="*/ 19763 w 762451"/>
                <a:gd name="connsiteY15" fmla="*/ 538051 h 586501"/>
                <a:gd name="connsiteX16" fmla="*/ 343613 w 762451"/>
                <a:gd name="connsiteY16" fmla="*/ 566739 h 586501"/>
                <a:gd name="connsiteX17" fmla="*/ 485776 w 762451"/>
                <a:gd name="connsiteY17" fmla="*/ 576301 h 586501"/>
                <a:gd name="connsiteX18" fmla="*/ 627939 w 762451"/>
                <a:gd name="connsiteY18" fmla="*/ 582676 h 586501"/>
                <a:gd name="connsiteX19" fmla="*/ 648339 w 762451"/>
                <a:gd name="connsiteY19" fmla="*/ 583314 h 586501"/>
                <a:gd name="connsiteX20" fmla="*/ 661089 w 762451"/>
                <a:gd name="connsiteY20" fmla="*/ 583951 h 586501"/>
                <a:gd name="connsiteX21" fmla="*/ 688501 w 762451"/>
                <a:gd name="connsiteY21" fmla="*/ 584589 h 586501"/>
                <a:gd name="connsiteX22" fmla="*/ 701251 w 762451"/>
                <a:gd name="connsiteY22" fmla="*/ 585226 h 586501"/>
                <a:gd name="connsiteX23" fmla="*/ 741414 w 762451"/>
                <a:gd name="connsiteY23" fmla="*/ 586501 h 586501"/>
                <a:gd name="connsiteX24" fmla="*/ 752252 w 762451"/>
                <a:gd name="connsiteY24" fmla="*/ 586501 h 586501"/>
                <a:gd name="connsiteX25" fmla="*/ 752252 w 762451"/>
                <a:gd name="connsiteY25" fmla="*/ 573751 h 586501"/>
                <a:gd name="connsiteX26" fmla="*/ 759264 w 762451"/>
                <a:gd name="connsiteY26" fmla="*/ 233963 h 586501"/>
                <a:gd name="connsiteX27" fmla="*/ 759902 w 762451"/>
                <a:gd name="connsiteY27" fmla="*/ 196351 h 586501"/>
                <a:gd name="connsiteX28" fmla="*/ 759902 w 762451"/>
                <a:gd name="connsiteY28" fmla="*/ 184238 h 586501"/>
                <a:gd name="connsiteX29" fmla="*/ 759902 w 762451"/>
                <a:gd name="connsiteY29" fmla="*/ 174038 h 586501"/>
                <a:gd name="connsiteX30" fmla="*/ 759902 w 762451"/>
                <a:gd name="connsiteY30" fmla="*/ 174038 h 58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2451" h="586501">
                  <a:moveTo>
                    <a:pt x="759902" y="174038"/>
                  </a:moveTo>
                  <a:lnTo>
                    <a:pt x="762452" y="48450"/>
                  </a:lnTo>
                  <a:lnTo>
                    <a:pt x="731214" y="47175"/>
                  </a:lnTo>
                  <a:lnTo>
                    <a:pt x="574389" y="41438"/>
                  </a:lnTo>
                  <a:lnTo>
                    <a:pt x="559089" y="40800"/>
                  </a:lnTo>
                  <a:lnTo>
                    <a:pt x="546339" y="40163"/>
                  </a:lnTo>
                  <a:lnTo>
                    <a:pt x="355726" y="28050"/>
                  </a:lnTo>
                  <a:lnTo>
                    <a:pt x="228863" y="17213"/>
                  </a:lnTo>
                  <a:lnTo>
                    <a:pt x="70125" y="1913"/>
                  </a:lnTo>
                  <a:lnTo>
                    <a:pt x="54825" y="0"/>
                  </a:lnTo>
                  <a:lnTo>
                    <a:pt x="52913" y="16575"/>
                  </a:lnTo>
                  <a:lnTo>
                    <a:pt x="18487" y="351263"/>
                  </a:lnTo>
                  <a:lnTo>
                    <a:pt x="6375" y="468563"/>
                  </a:lnTo>
                  <a:lnTo>
                    <a:pt x="1275" y="519564"/>
                  </a:lnTo>
                  <a:lnTo>
                    <a:pt x="0" y="536139"/>
                  </a:lnTo>
                  <a:lnTo>
                    <a:pt x="19763" y="538051"/>
                  </a:lnTo>
                  <a:lnTo>
                    <a:pt x="343613" y="566739"/>
                  </a:lnTo>
                  <a:lnTo>
                    <a:pt x="485776" y="576301"/>
                  </a:lnTo>
                  <a:lnTo>
                    <a:pt x="627939" y="582676"/>
                  </a:lnTo>
                  <a:lnTo>
                    <a:pt x="648339" y="583314"/>
                  </a:lnTo>
                  <a:lnTo>
                    <a:pt x="661089" y="583951"/>
                  </a:lnTo>
                  <a:lnTo>
                    <a:pt x="688501" y="584589"/>
                  </a:lnTo>
                  <a:lnTo>
                    <a:pt x="701251" y="585226"/>
                  </a:lnTo>
                  <a:lnTo>
                    <a:pt x="741414" y="586501"/>
                  </a:lnTo>
                  <a:lnTo>
                    <a:pt x="752252" y="586501"/>
                  </a:lnTo>
                  <a:lnTo>
                    <a:pt x="752252" y="573751"/>
                  </a:lnTo>
                  <a:lnTo>
                    <a:pt x="759264" y="233963"/>
                  </a:lnTo>
                  <a:lnTo>
                    <a:pt x="759902" y="196351"/>
                  </a:lnTo>
                  <a:lnTo>
                    <a:pt x="759902" y="184238"/>
                  </a:lnTo>
                  <a:lnTo>
                    <a:pt x="759902" y="174038"/>
                  </a:lnTo>
                  <a:lnTo>
                    <a:pt x="759902" y="174038"/>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448" name="Text Placeholder 5">
              <a:extLst>
                <a:ext uri="{FF2B5EF4-FFF2-40B4-BE49-F238E27FC236}">
                  <a16:creationId xmlns:a16="http://schemas.microsoft.com/office/drawing/2014/main" id="{28A2F0B1-F95A-9FF2-40E7-D8A2C5155290}"/>
                </a:ext>
              </a:extLst>
            </p:cNvPr>
            <p:cNvSpPr txBox="1">
              <a:spLocks/>
            </p:cNvSpPr>
            <p:nvPr/>
          </p:nvSpPr>
          <p:spPr>
            <a:xfrm>
              <a:off x="9197202" y="4229317"/>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Maryland</a:t>
              </a:r>
            </a:p>
          </p:txBody>
        </p:sp>
        <p:sp>
          <p:nvSpPr>
            <p:cNvPr id="449" name="Rectangle 448">
              <a:extLst>
                <a:ext uri="{FF2B5EF4-FFF2-40B4-BE49-F238E27FC236}">
                  <a16:creationId xmlns:a16="http://schemas.microsoft.com/office/drawing/2014/main" id="{B3CA98D1-48E7-78AF-A61B-9EE121589201}"/>
                </a:ext>
              </a:extLst>
            </p:cNvPr>
            <p:cNvSpPr/>
            <p:nvPr/>
          </p:nvSpPr>
          <p:spPr>
            <a:xfrm>
              <a:off x="9198166" y="4686572"/>
              <a:ext cx="2754151"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2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34%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560M / $770M / $470M</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450" name="Freeform 62">
              <a:extLst>
                <a:ext uri="{FF2B5EF4-FFF2-40B4-BE49-F238E27FC236}">
                  <a16:creationId xmlns:a16="http://schemas.microsoft.com/office/drawing/2014/main" id="{F718D58E-CB34-33A7-F710-16BA93D8A8D7}"/>
                </a:ext>
              </a:extLst>
            </p:cNvPr>
            <p:cNvSpPr>
              <a:spLocks/>
            </p:cNvSpPr>
            <p:nvPr/>
          </p:nvSpPr>
          <p:spPr>
            <a:xfrm>
              <a:off x="8349826" y="4603890"/>
              <a:ext cx="765149" cy="472549"/>
            </a:xfrm>
            <a:custGeom>
              <a:avLst/>
              <a:gdLst>
                <a:gd name="connsiteX0" fmla="*/ 481951 w 486413"/>
                <a:gd name="connsiteY0" fmla="*/ 202088 h 235237"/>
                <a:gd name="connsiteX1" fmla="*/ 486414 w 486413"/>
                <a:gd name="connsiteY1" fmla="*/ 167663 h 235237"/>
                <a:gd name="connsiteX2" fmla="*/ 482589 w 486413"/>
                <a:gd name="connsiteY2" fmla="*/ 193163 h 235237"/>
                <a:gd name="connsiteX3" fmla="*/ 480039 w 486413"/>
                <a:gd name="connsiteY3" fmla="*/ 204638 h 235237"/>
                <a:gd name="connsiteX4" fmla="*/ 479401 w 486413"/>
                <a:gd name="connsiteY4" fmla="*/ 205913 h 235237"/>
                <a:gd name="connsiteX5" fmla="*/ 481313 w 486413"/>
                <a:gd name="connsiteY5" fmla="*/ 205275 h 235237"/>
                <a:gd name="connsiteX6" fmla="*/ 481951 w 486413"/>
                <a:gd name="connsiteY6" fmla="*/ 202088 h 235237"/>
                <a:gd name="connsiteX7" fmla="*/ 481951 w 486413"/>
                <a:gd name="connsiteY7" fmla="*/ 202088 h 235237"/>
                <a:gd name="connsiteX8" fmla="*/ 485139 w 486413"/>
                <a:gd name="connsiteY8" fmla="*/ 142163 h 235237"/>
                <a:gd name="connsiteX9" fmla="*/ 483864 w 486413"/>
                <a:gd name="connsiteY9" fmla="*/ 142800 h 235237"/>
                <a:gd name="connsiteX10" fmla="*/ 485139 w 486413"/>
                <a:gd name="connsiteY10" fmla="*/ 146625 h 235237"/>
                <a:gd name="connsiteX11" fmla="*/ 485139 w 486413"/>
                <a:gd name="connsiteY11" fmla="*/ 154275 h 235237"/>
                <a:gd name="connsiteX12" fmla="*/ 485139 w 486413"/>
                <a:gd name="connsiteY12" fmla="*/ 142163 h 235237"/>
                <a:gd name="connsiteX13" fmla="*/ 485139 w 486413"/>
                <a:gd name="connsiteY13" fmla="*/ 142163 h 235237"/>
                <a:gd name="connsiteX14" fmla="*/ 485139 w 486413"/>
                <a:gd name="connsiteY14" fmla="*/ 142163 h 235237"/>
                <a:gd name="connsiteX15" fmla="*/ 0 w 486413"/>
                <a:gd name="connsiteY15" fmla="*/ 102638 h 235237"/>
                <a:gd name="connsiteX16" fmla="*/ 14663 w 486413"/>
                <a:gd name="connsiteY16" fmla="*/ 170213 h 235237"/>
                <a:gd name="connsiteX17" fmla="*/ 44625 w 486413"/>
                <a:gd name="connsiteY17" fmla="*/ 128775 h 235237"/>
                <a:gd name="connsiteX18" fmla="*/ 59288 w 486413"/>
                <a:gd name="connsiteY18" fmla="*/ 125588 h 235237"/>
                <a:gd name="connsiteX19" fmla="*/ 87975 w 486413"/>
                <a:gd name="connsiteY19" fmla="*/ 105825 h 235237"/>
                <a:gd name="connsiteX20" fmla="*/ 107101 w 486413"/>
                <a:gd name="connsiteY20" fmla="*/ 101363 h 235237"/>
                <a:gd name="connsiteX21" fmla="*/ 107101 w 486413"/>
                <a:gd name="connsiteY21" fmla="*/ 88613 h 235237"/>
                <a:gd name="connsiteX22" fmla="*/ 129413 w 486413"/>
                <a:gd name="connsiteY22" fmla="*/ 71400 h 235237"/>
                <a:gd name="connsiteX23" fmla="*/ 167663 w 486413"/>
                <a:gd name="connsiteY23" fmla="*/ 75863 h 235237"/>
                <a:gd name="connsiteX24" fmla="*/ 186150 w 486413"/>
                <a:gd name="connsiteY24" fmla="*/ 108375 h 235237"/>
                <a:gd name="connsiteX25" fmla="*/ 186150 w 486413"/>
                <a:gd name="connsiteY25" fmla="*/ 108375 h 235237"/>
                <a:gd name="connsiteX26" fmla="*/ 188063 w 486413"/>
                <a:gd name="connsiteY26" fmla="*/ 109013 h 235237"/>
                <a:gd name="connsiteX27" fmla="*/ 218026 w 486413"/>
                <a:gd name="connsiteY27" fmla="*/ 116663 h 235237"/>
                <a:gd name="connsiteX28" fmla="*/ 239063 w 486413"/>
                <a:gd name="connsiteY28" fmla="*/ 131963 h 235237"/>
                <a:gd name="connsiteX29" fmla="*/ 259463 w 486413"/>
                <a:gd name="connsiteY29" fmla="*/ 141525 h 235237"/>
                <a:gd name="connsiteX30" fmla="*/ 261376 w 486413"/>
                <a:gd name="connsiteY30" fmla="*/ 143438 h 235237"/>
                <a:gd name="connsiteX31" fmla="*/ 263926 w 486413"/>
                <a:gd name="connsiteY31" fmla="*/ 138338 h 235237"/>
                <a:gd name="connsiteX32" fmla="*/ 275401 w 486413"/>
                <a:gd name="connsiteY32" fmla="*/ 137700 h 235237"/>
                <a:gd name="connsiteX33" fmla="*/ 284963 w 486413"/>
                <a:gd name="connsiteY33" fmla="*/ 142800 h 235237"/>
                <a:gd name="connsiteX34" fmla="*/ 276676 w 486413"/>
                <a:gd name="connsiteY34" fmla="*/ 158100 h 235237"/>
                <a:gd name="connsiteX35" fmla="*/ 276676 w 486413"/>
                <a:gd name="connsiteY35" fmla="*/ 158738 h 235237"/>
                <a:gd name="connsiteX36" fmla="*/ 264563 w 486413"/>
                <a:gd name="connsiteY36" fmla="*/ 195713 h 235237"/>
                <a:gd name="connsiteX37" fmla="*/ 304088 w 486413"/>
                <a:gd name="connsiteY37" fmla="*/ 221213 h 235237"/>
                <a:gd name="connsiteX38" fmla="*/ 343613 w 486413"/>
                <a:gd name="connsiteY38" fmla="*/ 223125 h 235237"/>
                <a:gd name="connsiteX39" fmla="*/ 370388 w 486413"/>
                <a:gd name="connsiteY39" fmla="*/ 235238 h 235237"/>
                <a:gd name="connsiteX40" fmla="*/ 358914 w 486413"/>
                <a:gd name="connsiteY40" fmla="*/ 204000 h 235237"/>
                <a:gd name="connsiteX41" fmla="*/ 325126 w 486413"/>
                <a:gd name="connsiteY41" fmla="*/ 192525 h 235237"/>
                <a:gd name="connsiteX42" fmla="*/ 316838 w 486413"/>
                <a:gd name="connsiteY42" fmla="*/ 165750 h 235237"/>
                <a:gd name="connsiteX43" fmla="*/ 337876 w 486413"/>
                <a:gd name="connsiteY43" fmla="*/ 194438 h 235237"/>
                <a:gd name="connsiteX44" fmla="*/ 355088 w 486413"/>
                <a:gd name="connsiteY44" fmla="*/ 196988 h 235237"/>
                <a:gd name="connsiteX45" fmla="*/ 339789 w 486413"/>
                <a:gd name="connsiteY45" fmla="*/ 181688 h 235237"/>
                <a:gd name="connsiteX46" fmla="*/ 327676 w 486413"/>
                <a:gd name="connsiteY46" fmla="*/ 135788 h 235237"/>
                <a:gd name="connsiteX47" fmla="*/ 330863 w 486413"/>
                <a:gd name="connsiteY47" fmla="*/ 109013 h 235237"/>
                <a:gd name="connsiteX48" fmla="*/ 317476 w 486413"/>
                <a:gd name="connsiteY48" fmla="*/ 79688 h 235237"/>
                <a:gd name="connsiteX49" fmla="*/ 331501 w 486413"/>
                <a:gd name="connsiteY49" fmla="*/ 68213 h 235237"/>
                <a:gd name="connsiteX50" fmla="*/ 342338 w 486413"/>
                <a:gd name="connsiteY50" fmla="*/ 31238 h 235237"/>
                <a:gd name="connsiteX51" fmla="*/ 338513 w 486413"/>
                <a:gd name="connsiteY51" fmla="*/ 86063 h 235237"/>
                <a:gd name="connsiteX52" fmla="*/ 349988 w 486413"/>
                <a:gd name="connsiteY52" fmla="*/ 104550 h 235237"/>
                <a:gd name="connsiteX53" fmla="*/ 360826 w 486413"/>
                <a:gd name="connsiteY53" fmla="*/ 82875 h 235237"/>
                <a:gd name="connsiteX54" fmla="*/ 366563 w 486413"/>
                <a:gd name="connsiteY54" fmla="*/ 118575 h 235237"/>
                <a:gd name="connsiteX55" fmla="*/ 355088 w 486413"/>
                <a:gd name="connsiteY55" fmla="*/ 145350 h 235237"/>
                <a:gd name="connsiteX56" fmla="*/ 386963 w 486413"/>
                <a:gd name="connsiteY56" fmla="*/ 156825 h 235237"/>
                <a:gd name="connsiteX57" fmla="*/ 359551 w 486413"/>
                <a:gd name="connsiteY57" fmla="*/ 166388 h 235237"/>
                <a:gd name="connsiteX58" fmla="*/ 373576 w 486413"/>
                <a:gd name="connsiteY58" fmla="*/ 193163 h 235237"/>
                <a:gd name="connsiteX59" fmla="*/ 396526 w 486413"/>
                <a:gd name="connsiteY59" fmla="*/ 200813 h 235237"/>
                <a:gd name="connsiteX60" fmla="*/ 409276 w 486413"/>
                <a:gd name="connsiteY60" fmla="*/ 178500 h 235237"/>
                <a:gd name="connsiteX61" fmla="*/ 408001 w 486413"/>
                <a:gd name="connsiteY61" fmla="*/ 210375 h 235237"/>
                <a:gd name="connsiteX62" fmla="*/ 429676 w 486413"/>
                <a:gd name="connsiteY62" fmla="*/ 209738 h 235237"/>
                <a:gd name="connsiteX63" fmla="*/ 443701 w 486413"/>
                <a:gd name="connsiteY63" fmla="*/ 225675 h 235237"/>
                <a:gd name="connsiteX64" fmla="*/ 444338 w 486413"/>
                <a:gd name="connsiteY64" fmla="*/ 225675 h 235237"/>
                <a:gd name="connsiteX65" fmla="*/ 448801 w 486413"/>
                <a:gd name="connsiteY65" fmla="*/ 219938 h 235237"/>
                <a:gd name="connsiteX66" fmla="*/ 461551 w 486413"/>
                <a:gd name="connsiteY66" fmla="*/ 214200 h 235237"/>
                <a:gd name="connsiteX67" fmla="*/ 469839 w 486413"/>
                <a:gd name="connsiteY67" fmla="*/ 211013 h 235237"/>
                <a:gd name="connsiteX68" fmla="*/ 469201 w 486413"/>
                <a:gd name="connsiteY68" fmla="*/ 209738 h 235237"/>
                <a:gd name="connsiteX69" fmla="*/ 485776 w 486413"/>
                <a:gd name="connsiteY69" fmla="*/ 160013 h 235237"/>
                <a:gd name="connsiteX70" fmla="*/ 485776 w 486413"/>
                <a:gd name="connsiteY70" fmla="*/ 158100 h 235237"/>
                <a:gd name="connsiteX71" fmla="*/ 482589 w 486413"/>
                <a:gd name="connsiteY71" fmla="*/ 145350 h 235237"/>
                <a:gd name="connsiteX72" fmla="*/ 482589 w 486413"/>
                <a:gd name="connsiteY72" fmla="*/ 144713 h 235237"/>
                <a:gd name="connsiteX73" fmla="*/ 422026 w 486413"/>
                <a:gd name="connsiteY73" fmla="*/ 162563 h 235237"/>
                <a:gd name="connsiteX74" fmla="*/ 368476 w 486413"/>
                <a:gd name="connsiteY74" fmla="*/ 10200 h 235237"/>
                <a:gd name="connsiteX75" fmla="*/ 365926 w 486413"/>
                <a:gd name="connsiteY75" fmla="*/ 0 h 235237"/>
                <a:gd name="connsiteX76" fmla="*/ 354451 w 486413"/>
                <a:gd name="connsiteY76" fmla="*/ 3188 h 235237"/>
                <a:gd name="connsiteX77" fmla="*/ 308551 w 486413"/>
                <a:gd name="connsiteY77" fmla="*/ 17213 h 235237"/>
                <a:gd name="connsiteX78" fmla="*/ 57375 w 486413"/>
                <a:gd name="connsiteY78" fmla="*/ 87338 h 235237"/>
                <a:gd name="connsiteX79" fmla="*/ 11475 w 486413"/>
                <a:gd name="connsiteY79" fmla="*/ 99450 h 235237"/>
                <a:gd name="connsiteX80" fmla="*/ 0 w 486413"/>
                <a:gd name="connsiteY80" fmla="*/ 102638 h 235237"/>
                <a:gd name="connsiteX81" fmla="*/ 0 w 486413"/>
                <a:gd name="connsiteY81" fmla="*/ 102638 h 23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86413" h="235237">
                  <a:moveTo>
                    <a:pt x="481951" y="202088"/>
                  </a:moveTo>
                  <a:lnTo>
                    <a:pt x="486414" y="167663"/>
                  </a:lnTo>
                  <a:lnTo>
                    <a:pt x="482589" y="193163"/>
                  </a:lnTo>
                  <a:lnTo>
                    <a:pt x="480039" y="204638"/>
                  </a:lnTo>
                  <a:lnTo>
                    <a:pt x="479401" y="205913"/>
                  </a:lnTo>
                  <a:lnTo>
                    <a:pt x="481313" y="205275"/>
                  </a:lnTo>
                  <a:lnTo>
                    <a:pt x="481951" y="202088"/>
                  </a:lnTo>
                  <a:lnTo>
                    <a:pt x="481951" y="202088"/>
                  </a:lnTo>
                  <a:close/>
                  <a:moveTo>
                    <a:pt x="485139" y="142163"/>
                  </a:moveTo>
                  <a:lnTo>
                    <a:pt x="483864" y="142800"/>
                  </a:lnTo>
                  <a:lnTo>
                    <a:pt x="485139" y="146625"/>
                  </a:lnTo>
                  <a:lnTo>
                    <a:pt x="485139" y="154275"/>
                  </a:lnTo>
                  <a:lnTo>
                    <a:pt x="485139" y="142163"/>
                  </a:lnTo>
                  <a:lnTo>
                    <a:pt x="485139" y="142163"/>
                  </a:lnTo>
                  <a:lnTo>
                    <a:pt x="485139" y="142163"/>
                  </a:lnTo>
                  <a:close/>
                  <a:moveTo>
                    <a:pt x="0" y="102638"/>
                  </a:moveTo>
                  <a:lnTo>
                    <a:pt x="14663" y="170213"/>
                  </a:lnTo>
                  <a:lnTo>
                    <a:pt x="44625" y="128775"/>
                  </a:lnTo>
                  <a:lnTo>
                    <a:pt x="59288" y="125588"/>
                  </a:lnTo>
                  <a:lnTo>
                    <a:pt x="87975" y="105825"/>
                  </a:lnTo>
                  <a:lnTo>
                    <a:pt x="107101" y="101363"/>
                  </a:lnTo>
                  <a:lnTo>
                    <a:pt x="107101" y="88613"/>
                  </a:lnTo>
                  <a:lnTo>
                    <a:pt x="129413" y="71400"/>
                  </a:lnTo>
                  <a:lnTo>
                    <a:pt x="167663" y="75863"/>
                  </a:lnTo>
                  <a:lnTo>
                    <a:pt x="186150" y="108375"/>
                  </a:lnTo>
                  <a:lnTo>
                    <a:pt x="186150" y="108375"/>
                  </a:lnTo>
                  <a:lnTo>
                    <a:pt x="188063" y="109013"/>
                  </a:lnTo>
                  <a:lnTo>
                    <a:pt x="218026" y="116663"/>
                  </a:lnTo>
                  <a:lnTo>
                    <a:pt x="239063" y="131963"/>
                  </a:lnTo>
                  <a:lnTo>
                    <a:pt x="259463" y="141525"/>
                  </a:lnTo>
                  <a:lnTo>
                    <a:pt x="261376" y="143438"/>
                  </a:lnTo>
                  <a:lnTo>
                    <a:pt x="263926" y="138338"/>
                  </a:lnTo>
                  <a:lnTo>
                    <a:pt x="275401" y="137700"/>
                  </a:lnTo>
                  <a:lnTo>
                    <a:pt x="284963" y="142800"/>
                  </a:lnTo>
                  <a:lnTo>
                    <a:pt x="276676" y="158100"/>
                  </a:lnTo>
                  <a:lnTo>
                    <a:pt x="276676" y="158738"/>
                  </a:lnTo>
                  <a:lnTo>
                    <a:pt x="264563" y="195713"/>
                  </a:lnTo>
                  <a:lnTo>
                    <a:pt x="304088" y="221213"/>
                  </a:lnTo>
                  <a:lnTo>
                    <a:pt x="343613" y="223125"/>
                  </a:lnTo>
                  <a:lnTo>
                    <a:pt x="370388" y="235238"/>
                  </a:lnTo>
                  <a:lnTo>
                    <a:pt x="358914" y="204000"/>
                  </a:lnTo>
                  <a:lnTo>
                    <a:pt x="325126" y="192525"/>
                  </a:lnTo>
                  <a:lnTo>
                    <a:pt x="316838" y="165750"/>
                  </a:lnTo>
                  <a:lnTo>
                    <a:pt x="337876" y="194438"/>
                  </a:lnTo>
                  <a:lnTo>
                    <a:pt x="355088" y="196988"/>
                  </a:lnTo>
                  <a:lnTo>
                    <a:pt x="339789" y="181688"/>
                  </a:lnTo>
                  <a:lnTo>
                    <a:pt x="327676" y="135788"/>
                  </a:lnTo>
                  <a:lnTo>
                    <a:pt x="330863" y="109013"/>
                  </a:lnTo>
                  <a:lnTo>
                    <a:pt x="317476" y="79688"/>
                  </a:lnTo>
                  <a:lnTo>
                    <a:pt x="331501" y="68213"/>
                  </a:lnTo>
                  <a:lnTo>
                    <a:pt x="342338" y="31238"/>
                  </a:lnTo>
                  <a:lnTo>
                    <a:pt x="338513" y="86063"/>
                  </a:lnTo>
                  <a:lnTo>
                    <a:pt x="349988" y="104550"/>
                  </a:lnTo>
                  <a:lnTo>
                    <a:pt x="360826" y="82875"/>
                  </a:lnTo>
                  <a:lnTo>
                    <a:pt x="366563" y="118575"/>
                  </a:lnTo>
                  <a:lnTo>
                    <a:pt x="355088" y="145350"/>
                  </a:lnTo>
                  <a:lnTo>
                    <a:pt x="386963" y="156825"/>
                  </a:lnTo>
                  <a:lnTo>
                    <a:pt x="359551" y="166388"/>
                  </a:lnTo>
                  <a:lnTo>
                    <a:pt x="373576" y="193163"/>
                  </a:lnTo>
                  <a:lnTo>
                    <a:pt x="396526" y="200813"/>
                  </a:lnTo>
                  <a:lnTo>
                    <a:pt x="409276" y="178500"/>
                  </a:lnTo>
                  <a:lnTo>
                    <a:pt x="408001" y="210375"/>
                  </a:lnTo>
                  <a:lnTo>
                    <a:pt x="429676" y="209738"/>
                  </a:lnTo>
                  <a:lnTo>
                    <a:pt x="443701" y="225675"/>
                  </a:lnTo>
                  <a:lnTo>
                    <a:pt x="444338" y="225675"/>
                  </a:lnTo>
                  <a:lnTo>
                    <a:pt x="448801" y="219938"/>
                  </a:lnTo>
                  <a:lnTo>
                    <a:pt x="461551" y="214200"/>
                  </a:lnTo>
                  <a:lnTo>
                    <a:pt x="469839" y="211013"/>
                  </a:lnTo>
                  <a:lnTo>
                    <a:pt x="469201" y="209738"/>
                  </a:lnTo>
                  <a:lnTo>
                    <a:pt x="485776" y="160013"/>
                  </a:lnTo>
                  <a:lnTo>
                    <a:pt x="485776" y="158100"/>
                  </a:lnTo>
                  <a:lnTo>
                    <a:pt x="482589" y="145350"/>
                  </a:lnTo>
                  <a:lnTo>
                    <a:pt x="482589" y="144713"/>
                  </a:lnTo>
                  <a:lnTo>
                    <a:pt x="422026" y="162563"/>
                  </a:lnTo>
                  <a:lnTo>
                    <a:pt x="368476" y="10200"/>
                  </a:lnTo>
                  <a:lnTo>
                    <a:pt x="365926" y="0"/>
                  </a:lnTo>
                  <a:lnTo>
                    <a:pt x="354451" y="3188"/>
                  </a:lnTo>
                  <a:lnTo>
                    <a:pt x="308551" y="17213"/>
                  </a:lnTo>
                  <a:lnTo>
                    <a:pt x="57375" y="87338"/>
                  </a:lnTo>
                  <a:lnTo>
                    <a:pt x="11475" y="99450"/>
                  </a:lnTo>
                  <a:lnTo>
                    <a:pt x="0" y="102638"/>
                  </a:lnTo>
                  <a:lnTo>
                    <a:pt x="0" y="102638"/>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451" name="Text Placeholder 5">
              <a:extLst>
                <a:ext uri="{FF2B5EF4-FFF2-40B4-BE49-F238E27FC236}">
                  <a16:creationId xmlns:a16="http://schemas.microsoft.com/office/drawing/2014/main" id="{E9BB3B39-3F27-EF55-C7E3-D09E4D2489CB}"/>
                </a:ext>
              </a:extLst>
            </p:cNvPr>
            <p:cNvSpPr txBox="1">
              <a:spLocks/>
            </p:cNvSpPr>
            <p:nvPr/>
          </p:nvSpPr>
          <p:spPr>
            <a:xfrm>
              <a:off x="9197202" y="2897439"/>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New Jersey</a:t>
              </a:r>
            </a:p>
          </p:txBody>
        </p:sp>
        <p:sp>
          <p:nvSpPr>
            <p:cNvPr id="452" name="Rectangle 451">
              <a:extLst>
                <a:ext uri="{FF2B5EF4-FFF2-40B4-BE49-F238E27FC236}">
                  <a16:creationId xmlns:a16="http://schemas.microsoft.com/office/drawing/2014/main" id="{E4B0D106-0A6C-847B-1C03-E17047D14AB9}"/>
                </a:ext>
              </a:extLst>
            </p:cNvPr>
            <p:cNvSpPr/>
            <p:nvPr/>
          </p:nvSpPr>
          <p:spPr>
            <a:xfrm>
              <a:off x="9198172" y="3354691"/>
              <a:ext cx="2754151"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a:t>
              </a:r>
              <a:r>
                <a:rPr lang="en-US" sz="825" b="1">
                  <a:solidFill>
                    <a:srgbClr val="555555"/>
                  </a:solidFill>
                  <a:latin typeface="Georgia" panose="02040502050405020303" pitchFamily="18" charset="0"/>
                </a:rPr>
                <a:t>4.0</a:t>
              </a: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5%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440M / $1.3B / $990M</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453" name="Freeform 63">
              <a:extLst>
                <a:ext uri="{FF2B5EF4-FFF2-40B4-BE49-F238E27FC236}">
                  <a16:creationId xmlns:a16="http://schemas.microsoft.com/office/drawing/2014/main" id="{32ACD421-E076-2A26-24B8-54EF0AABE37D}"/>
                </a:ext>
              </a:extLst>
            </p:cNvPr>
            <p:cNvSpPr>
              <a:spLocks/>
            </p:cNvSpPr>
            <p:nvPr/>
          </p:nvSpPr>
          <p:spPr>
            <a:xfrm>
              <a:off x="8818268" y="3320839"/>
              <a:ext cx="296707" cy="695805"/>
            </a:xfrm>
            <a:custGeom>
              <a:avLst/>
              <a:gdLst>
                <a:gd name="connsiteX0" fmla="*/ 137700 w 146625"/>
                <a:gd name="connsiteY0" fmla="*/ 242888 h 322575"/>
                <a:gd name="connsiteX1" fmla="*/ 134513 w 146625"/>
                <a:gd name="connsiteY1" fmla="*/ 235238 h 322575"/>
                <a:gd name="connsiteX2" fmla="*/ 134513 w 146625"/>
                <a:gd name="connsiteY2" fmla="*/ 242888 h 322575"/>
                <a:gd name="connsiteX3" fmla="*/ 137700 w 146625"/>
                <a:gd name="connsiteY3" fmla="*/ 242888 h 322575"/>
                <a:gd name="connsiteX4" fmla="*/ 144713 w 146625"/>
                <a:gd name="connsiteY4" fmla="*/ 219300 h 322575"/>
                <a:gd name="connsiteX5" fmla="*/ 146625 w 146625"/>
                <a:gd name="connsiteY5" fmla="*/ 200175 h 322575"/>
                <a:gd name="connsiteX6" fmla="*/ 142800 w 146625"/>
                <a:gd name="connsiteY6" fmla="*/ 216750 h 322575"/>
                <a:gd name="connsiteX7" fmla="*/ 144713 w 146625"/>
                <a:gd name="connsiteY7" fmla="*/ 219300 h 322575"/>
                <a:gd name="connsiteX8" fmla="*/ 144713 w 146625"/>
                <a:gd name="connsiteY8" fmla="*/ 219300 h 322575"/>
                <a:gd name="connsiteX9" fmla="*/ 117938 w 146625"/>
                <a:gd name="connsiteY9" fmla="*/ 22313 h 322575"/>
                <a:gd name="connsiteX10" fmla="*/ 50363 w 146625"/>
                <a:gd name="connsiteY10" fmla="*/ 5737 h 322575"/>
                <a:gd name="connsiteX11" fmla="*/ 38887 w 146625"/>
                <a:gd name="connsiteY11" fmla="*/ 2550 h 322575"/>
                <a:gd name="connsiteX12" fmla="*/ 27412 w 146625"/>
                <a:gd name="connsiteY12" fmla="*/ 0 h 322575"/>
                <a:gd name="connsiteX13" fmla="*/ 27412 w 146625"/>
                <a:gd name="connsiteY13" fmla="*/ 0 h 322575"/>
                <a:gd name="connsiteX14" fmla="*/ 0 w 146625"/>
                <a:gd name="connsiteY14" fmla="*/ 59288 h 322575"/>
                <a:gd name="connsiteX15" fmla="*/ 11475 w 146625"/>
                <a:gd name="connsiteY15" fmla="*/ 73313 h 322575"/>
                <a:gd name="connsiteX16" fmla="*/ 10838 w 146625"/>
                <a:gd name="connsiteY16" fmla="*/ 116025 h 322575"/>
                <a:gd name="connsiteX17" fmla="*/ 22950 w 146625"/>
                <a:gd name="connsiteY17" fmla="*/ 117938 h 322575"/>
                <a:gd name="connsiteX18" fmla="*/ 47813 w 146625"/>
                <a:gd name="connsiteY18" fmla="*/ 183600 h 322575"/>
                <a:gd name="connsiteX19" fmla="*/ 46538 w 146625"/>
                <a:gd name="connsiteY19" fmla="*/ 185513 h 322575"/>
                <a:gd name="connsiteX20" fmla="*/ 14662 w 146625"/>
                <a:gd name="connsiteY20" fmla="*/ 232050 h 322575"/>
                <a:gd name="connsiteX21" fmla="*/ 17850 w 146625"/>
                <a:gd name="connsiteY21" fmla="*/ 267113 h 322575"/>
                <a:gd name="connsiteX22" fmla="*/ 93713 w 146625"/>
                <a:gd name="connsiteY22" fmla="*/ 292613 h 322575"/>
                <a:gd name="connsiteX23" fmla="*/ 94350 w 146625"/>
                <a:gd name="connsiteY23" fmla="*/ 322576 h 322575"/>
                <a:gd name="connsiteX24" fmla="*/ 111563 w 146625"/>
                <a:gd name="connsiteY24" fmla="*/ 298351 h 322575"/>
                <a:gd name="connsiteX25" fmla="*/ 114113 w 146625"/>
                <a:gd name="connsiteY25" fmla="*/ 263288 h 322575"/>
                <a:gd name="connsiteX26" fmla="*/ 131963 w 146625"/>
                <a:gd name="connsiteY26" fmla="*/ 251175 h 322575"/>
                <a:gd name="connsiteX27" fmla="*/ 124950 w 146625"/>
                <a:gd name="connsiteY27" fmla="*/ 224401 h 322575"/>
                <a:gd name="connsiteX28" fmla="*/ 138338 w 146625"/>
                <a:gd name="connsiteY28" fmla="*/ 192525 h 322575"/>
                <a:gd name="connsiteX29" fmla="*/ 138338 w 146625"/>
                <a:gd name="connsiteY29" fmla="*/ 123675 h 322575"/>
                <a:gd name="connsiteX30" fmla="*/ 133875 w 146625"/>
                <a:gd name="connsiteY30" fmla="*/ 101363 h 322575"/>
                <a:gd name="connsiteX31" fmla="*/ 103275 w 146625"/>
                <a:gd name="connsiteY31" fmla="*/ 102000 h 322575"/>
                <a:gd name="connsiteX32" fmla="*/ 110925 w 146625"/>
                <a:gd name="connsiteY32" fmla="*/ 70763 h 322575"/>
                <a:gd name="connsiteX33" fmla="*/ 117938 w 146625"/>
                <a:gd name="connsiteY33" fmla="*/ 22313 h 322575"/>
                <a:gd name="connsiteX34" fmla="*/ 117938 w 146625"/>
                <a:gd name="connsiteY34" fmla="*/ 22313 h 322575"/>
                <a:gd name="connsiteX35" fmla="*/ 117938 w 146625"/>
                <a:gd name="connsiteY35" fmla="*/ 22313 h 32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6625" h="322575">
                  <a:moveTo>
                    <a:pt x="137700" y="242888"/>
                  </a:moveTo>
                  <a:lnTo>
                    <a:pt x="134513" y="235238"/>
                  </a:lnTo>
                  <a:lnTo>
                    <a:pt x="134513" y="242888"/>
                  </a:lnTo>
                  <a:lnTo>
                    <a:pt x="137700" y="242888"/>
                  </a:lnTo>
                  <a:close/>
                  <a:moveTo>
                    <a:pt x="144713" y="219300"/>
                  </a:moveTo>
                  <a:lnTo>
                    <a:pt x="146625" y="200175"/>
                  </a:lnTo>
                  <a:lnTo>
                    <a:pt x="142800" y="216750"/>
                  </a:lnTo>
                  <a:lnTo>
                    <a:pt x="144713" y="219300"/>
                  </a:lnTo>
                  <a:lnTo>
                    <a:pt x="144713" y="219300"/>
                  </a:lnTo>
                  <a:close/>
                  <a:moveTo>
                    <a:pt x="117938" y="22313"/>
                  </a:moveTo>
                  <a:lnTo>
                    <a:pt x="50363" y="5737"/>
                  </a:lnTo>
                  <a:lnTo>
                    <a:pt x="38887" y="2550"/>
                  </a:lnTo>
                  <a:lnTo>
                    <a:pt x="27412" y="0"/>
                  </a:lnTo>
                  <a:lnTo>
                    <a:pt x="27412" y="0"/>
                  </a:lnTo>
                  <a:lnTo>
                    <a:pt x="0" y="59288"/>
                  </a:lnTo>
                  <a:lnTo>
                    <a:pt x="11475" y="73313"/>
                  </a:lnTo>
                  <a:lnTo>
                    <a:pt x="10838" y="116025"/>
                  </a:lnTo>
                  <a:lnTo>
                    <a:pt x="22950" y="117938"/>
                  </a:lnTo>
                  <a:lnTo>
                    <a:pt x="47813" y="183600"/>
                  </a:lnTo>
                  <a:lnTo>
                    <a:pt x="46538" y="185513"/>
                  </a:lnTo>
                  <a:lnTo>
                    <a:pt x="14662" y="232050"/>
                  </a:lnTo>
                  <a:lnTo>
                    <a:pt x="17850" y="267113"/>
                  </a:lnTo>
                  <a:lnTo>
                    <a:pt x="93713" y="292613"/>
                  </a:lnTo>
                  <a:lnTo>
                    <a:pt x="94350" y="322576"/>
                  </a:lnTo>
                  <a:lnTo>
                    <a:pt x="111563" y="298351"/>
                  </a:lnTo>
                  <a:lnTo>
                    <a:pt x="114113" y="263288"/>
                  </a:lnTo>
                  <a:lnTo>
                    <a:pt x="131963" y="251175"/>
                  </a:lnTo>
                  <a:lnTo>
                    <a:pt x="124950" y="224401"/>
                  </a:lnTo>
                  <a:lnTo>
                    <a:pt x="138338" y="192525"/>
                  </a:lnTo>
                  <a:lnTo>
                    <a:pt x="138338" y="123675"/>
                  </a:lnTo>
                  <a:lnTo>
                    <a:pt x="133875" y="101363"/>
                  </a:lnTo>
                  <a:lnTo>
                    <a:pt x="103275" y="102000"/>
                  </a:lnTo>
                  <a:lnTo>
                    <a:pt x="110925" y="70763"/>
                  </a:lnTo>
                  <a:lnTo>
                    <a:pt x="117938" y="22313"/>
                  </a:lnTo>
                  <a:lnTo>
                    <a:pt x="117938" y="22313"/>
                  </a:lnTo>
                  <a:lnTo>
                    <a:pt x="117938" y="22313"/>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454" name="Text Placeholder 5">
              <a:extLst>
                <a:ext uri="{FF2B5EF4-FFF2-40B4-BE49-F238E27FC236}">
                  <a16:creationId xmlns:a16="http://schemas.microsoft.com/office/drawing/2014/main" id="{5FDD7A30-9E0A-69B0-97CE-17DF6F679B21}"/>
                </a:ext>
              </a:extLst>
            </p:cNvPr>
            <p:cNvSpPr txBox="1">
              <a:spLocks/>
            </p:cNvSpPr>
            <p:nvPr/>
          </p:nvSpPr>
          <p:spPr>
            <a:xfrm>
              <a:off x="9198487" y="1565561"/>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Massachusetts</a:t>
              </a:r>
            </a:p>
          </p:txBody>
        </p:sp>
        <p:sp>
          <p:nvSpPr>
            <p:cNvPr id="601" name="Rectangle 600">
              <a:extLst>
                <a:ext uri="{FF2B5EF4-FFF2-40B4-BE49-F238E27FC236}">
                  <a16:creationId xmlns:a16="http://schemas.microsoft.com/office/drawing/2014/main" id="{0AB68EC3-7EE6-E3F6-BC19-69EB4DD35EA0}"/>
                </a:ext>
              </a:extLst>
            </p:cNvPr>
            <p:cNvSpPr/>
            <p:nvPr/>
          </p:nvSpPr>
          <p:spPr>
            <a:xfrm>
              <a:off x="9199451" y="2022814"/>
              <a:ext cx="2754151"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3.1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8%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800M / $940M / $700M</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beer / spirits / wine total volume</a:t>
              </a:r>
            </a:p>
          </p:txBody>
        </p:sp>
        <p:sp>
          <p:nvSpPr>
            <p:cNvPr id="602" name="Freeform 18">
              <a:extLst>
                <a:ext uri="{FF2B5EF4-FFF2-40B4-BE49-F238E27FC236}">
                  <a16:creationId xmlns:a16="http://schemas.microsoft.com/office/drawing/2014/main" id="{A5FDE93F-319F-2C74-22F2-7A97840A43DA}"/>
                </a:ext>
              </a:extLst>
            </p:cNvPr>
            <p:cNvSpPr>
              <a:spLocks/>
            </p:cNvSpPr>
            <p:nvPr/>
          </p:nvSpPr>
          <p:spPr>
            <a:xfrm>
              <a:off x="8401654" y="2064017"/>
              <a:ext cx="713321" cy="391013"/>
            </a:xfrm>
            <a:custGeom>
              <a:avLst/>
              <a:gdLst>
                <a:gd name="connsiteX0" fmla="*/ 293251 w 355088"/>
                <a:gd name="connsiteY0" fmla="*/ 207825 h 208462"/>
                <a:gd name="connsiteX1" fmla="*/ 291338 w 355088"/>
                <a:gd name="connsiteY1" fmla="*/ 206550 h 208462"/>
                <a:gd name="connsiteX2" fmla="*/ 291338 w 355088"/>
                <a:gd name="connsiteY2" fmla="*/ 208463 h 208462"/>
                <a:gd name="connsiteX3" fmla="*/ 293251 w 355088"/>
                <a:gd name="connsiteY3" fmla="*/ 207825 h 208462"/>
                <a:gd name="connsiteX4" fmla="*/ 293251 w 355088"/>
                <a:gd name="connsiteY4" fmla="*/ 207825 h 208462"/>
                <a:gd name="connsiteX5" fmla="*/ 274126 w 355088"/>
                <a:gd name="connsiteY5" fmla="*/ 189975 h 208462"/>
                <a:gd name="connsiteX6" fmla="*/ 278588 w 355088"/>
                <a:gd name="connsiteY6" fmla="*/ 188063 h 208462"/>
                <a:gd name="connsiteX7" fmla="*/ 278588 w 355088"/>
                <a:gd name="connsiteY7" fmla="*/ 185513 h 208462"/>
                <a:gd name="connsiteX8" fmla="*/ 274126 w 355088"/>
                <a:gd name="connsiteY8" fmla="*/ 189975 h 208462"/>
                <a:gd name="connsiteX9" fmla="*/ 274126 w 355088"/>
                <a:gd name="connsiteY9" fmla="*/ 189975 h 208462"/>
                <a:gd name="connsiteX10" fmla="*/ 353813 w 355088"/>
                <a:gd name="connsiteY10" fmla="*/ 140250 h 208462"/>
                <a:gd name="connsiteX11" fmla="*/ 353176 w 355088"/>
                <a:gd name="connsiteY11" fmla="*/ 130688 h 208462"/>
                <a:gd name="connsiteX12" fmla="*/ 351901 w 355088"/>
                <a:gd name="connsiteY12" fmla="*/ 125588 h 208462"/>
                <a:gd name="connsiteX13" fmla="*/ 353813 w 355088"/>
                <a:gd name="connsiteY13" fmla="*/ 140250 h 208462"/>
                <a:gd name="connsiteX14" fmla="*/ 73313 w 355088"/>
                <a:gd name="connsiteY14" fmla="*/ 73950 h 208462"/>
                <a:gd name="connsiteX15" fmla="*/ 68850 w 355088"/>
                <a:gd name="connsiteY15" fmla="*/ 75863 h 208462"/>
                <a:gd name="connsiteX16" fmla="*/ 32513 w 355088"/>
                <a:gd name="connsiteY16" fmla="*/ 87338 h 208462"/>
                <a:gd name="connsiteX17" fmla="*/ 19763 w 355088"/>
                <a:gd name="connsiteY17" fmla="*/ 91800 h 208462"/>
                <a:gd name="connsiteX18" fmla="*/ 5100 w 355088"/>
                <a:gd name="connsiteY18" fmla="*/ 96263 h 208462"/>
                <a:gd name="connsiteX19" fmla="*/ 0 w 355088"/>
                <a:gd name="connsiteY19" fmla="*/ 98175 h 208462"/>
                <a:gd name="connsiteX20" fmla="*/ 0 w 355088"/>
                <a:gd name="connsiteY20" fmla="*/ 100088 h 208462"/>
                <a:gd name="connsiteX21" fmla="*/ 1913 w 355088"/>
                <a:gd name="connsiteY21" fmla="*/ 133238 h 208462"/>
                <a:gd name="connsiteX22" fmla="*/ 3825 w 355088"/>
                <a:gd name="connsiteY22" fmla="*/ 164475 h 208462"/>
                <a:gd name="connsiteX23" fmla="*/ 5738 w 355088"/>
                <a:gd name="connsiteY23" fmla="*/ 193163 h 208462"/>
                <a:gd name="connsiteX24" fmla="*/ 8925 w 355088"/>
                <a:gd name="connsiteY24" fmla="*/ 195075 h 208462"/>
                <a:gd name="connsiteX25" fmla="*/ 20400 w 355088"/>
                <a:gd name="connsiteY25" fmla="*/ 191888 h 208462"/>
                <a:gd name="connsiteX26" fmla="*/ 72675 w 355088"/>
                <a:gd name="connsiteY26" fmla="*/ 176588 h 208462"/>
                <a:gd name="connsiteX27" fmla="*/ 73950 w 355088"/>
                <a:gd name="connsiteY27" fmla="*/ 179775 h 208462"/>
                <a:gd name="connsiteX28" fmla="*/ 166388 w 355088"/>
                <a:gd name="connsiteY28" fmla="*/ 144713 h 208462"/>
                <a:gd name="connsiteX29" fmla="*/ 167025 w 355088"/>
                <a:gd name="connsiteY29" fmla="*/ 145988 h 208462"/>
                <a:gd name="connsiteX30" fmla="*/ 175313 w 355088"/>
                <a:gd name="connsiteY30" fmla="*/ 142800 h 208462"/>
                <a:gd name="connsiteX31" fmla="*/ 205275 w 355088"/>
                <a:gd name="connsiteY31" fmla="*/ 131325 h 208462"/>
                <a:gd name="connsiteX32" fmla="*/ 233963 w 355088"/>
                <a:gd name="connsiteY32" fmla="*/ 165113 h 208462"/>
                <a:gd name="connsiteX33" fmla="*/ 233963 w 355088"/>
                <a:gd name="connsiteY33" fmla="*/ 165113 h 208462"/>
                <a:gd name="connsiteX34" fmla="*/ 237788 w 355088"/>
                <a:gd name="connsiteY34" fmla="*/ 161925 h 208462"/>
                <a:gd name="connsiteX35" fmla="*/ 239701 w 355088"/>
                <a:gd name="connsiteY35" fmla="*/ 151725 h 208462"/>
                <a:gd name="connsiteX36" fmla="*/ 239063 w 355088"/>
                <a:gd name="connsiteY36" fmla="*/ 167025 h 208462"/>
                <a:gd name="connsiteX37" fmla="*/ 239063 w 355088"/>
                <a:gd name="connsiteY37" fmla="*/ 167025 h 208462"/>
                <a:gd name="connsiteX38" fmla="*/ 245438 w 355088"/>
                <a:gd name="connsiteY38" fmla="*/ 167025 h 208462"/>
                <a:gd name="connsiteX39" fmla="*/ 247351 w 355088"/>
                <a:gd name="connsiteY39" fmla="*/ 174675 h 208462"/>
                <a:gd name="connsiteX40" fmla="*/ 253088 w 355088"/>
                <a:gd name="connsiteY40" fmla="*/ 186150 h 208462"/>
                <a:gd name="connsiteX41" fmla="*/ 253088 w 355088"/>
                <a:gd name="connsiteY41" fmla="*/ 186150 h 208462"/>
                <a:gd name="connsiteX42" fmla="*/ 283688 w 355088"/>
                <a:gd name="connsiteY42" fmla="*/ 149813 h 208462"/>
                <a:gd name="connsiteX43" fmla="*/ 308551 w 355088"/>
                <a:gd name="connsiteY43" fmla="*/ 158100 h 208462"/>
                <a:gd name="connsiteX44" fmla="*/ 314288 w 355088"/>
                <a:gd name="connsiteY44" fmla="*/ 145350 h 208462"/>
                <a:gd name="connsiteX45" fmla="*/ 355088 w 355088"/>
                <a:gd name="connsiteY45" fmla="*/ 123675 h 208462"/>
                <a:gd name="connsiteX46" fmla="*/ 337876 w 355088"/>
                <a:gd name="connsiteY46" fmla="*/ 89888 h 208462"/>
                <a:gd name="connsiteX47" fmla="*/ 342338 w 355088"/>
                <a:gd name="connsiteY47" fmla="*/ 111563 h 208462"/>
                <a:gd name="connsiteX48" fmla="*/ 321301 w 355088"/>
                <a:gd name="connsiteY48" fmla="*/ 127500 h 208462"/>
                <a:gd name="connsiteX49" fmla="*/ 297713 w 355088"/>
                <a:gd name="connsiteY49" fmla="*/ 129413 h 208462"/>
                <a:gd name="connsiteX50" fmla="*/ 249901 w 355088"/>
                <a:gd name="connsiteY50" fmla="*/ 78413 h 208462"/>
                <a:gd name="connsiteX51" fmla="*/ 228863 w 355088"/>
                <a:gd name="connsiteY51" fmla="*/ 45900 h 208462"/>
                <a:gd name="connsiteX52" fmla="*/ 249901 w 355088"/>
                <a:gd name="connsiteY52" fmla="*/ 23587 h 208462"/>
                <a:gd name="connsiteX53" fmla="*/ 228226 w 355088"/>
                <a:gd name="connsiteY53" fmla="*/ 22313 h 208462"/>
                <a:gd name="connsiteX54" fmla="*/ 218663 w 355088"/>
                <a:gd name="connsiteY54" fmla="*/ 1275 h 208462"/>
                <a:gd name="connsiteX55" fmla="*/ 218026 w 355088"/>
                <a:gd name="connsiteY55" fmla="*/ 0 h 208462"/>
                <a:gd name="connsiteX56" fmla="*/ 181688 w 355088"/>
                <a:gd name="connsiteY56" fmla="*/ 39525 h 208462"/>
                <a:gd name="connsiteX57" fmla="*/ 100726 w 355088"/>
                <a:gd name="connsiteY57" fmla="*/ 66938 h 208462"/>
                <a:gd name="connsiteX58" fmla="*/ 73313 w 355088"/>
                <a:gd name="connsiteY58" fmla="*/ 73950 h 208462"/>
                <a:gd name="connsiteX59" fmla="*/ 73313 w 355088"/>
                <a:gd name="connsiteY59" fmla="*/ 73950 h 20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5088" h="208462">
                  <a:moveTo>
                    <a:pt x="293251" y="207825"/>
                  </a:moveTo>
                  <a:lnTo>
                    <a:pt x="291338" y="206550"/>
                  </a:lnTo>
                  <a:lnTo>
                    <a:pt x="291338" y="208463"/>
                  </a:lnTo>
                  <a:lnTo>
                    <a:pt x="293251" y="207825"/>
                  </a:lnTo>
                  <a:lnTo>
                    <a:pt x="293251" y="207825"/>
                  </a:lnTo>
                  <a:close/>
                  <a:moveTo>
                    <a:pt x="274126" y="189975"/>
                  </a:moveTo>
                  <a:lnTo>
                    <a:pt x="278588" y="188063"/>
                  </a:lnTo>
                  <a:lnTo>
                    <a:pt x="278588" y="185513"/>
                  </a:lnTo>
                  <a:lnTo>
                    <a:pt x="274126" y="189975"/>
                  </a:lnTo>
                  <a:lnTo>
                    <a:pt x="274126" y="189975"/>
                  </a:lnTo>
                  <a:close/>
                  <a:moveTo>
                    <a:pt x="353813" y="140250"/>
                  </a:moveTo>
                  <a:lnTo>
                    <a:pt x="353176" y="130688"/>
                  </a:lnTo>
                  <a:lnTo>
                    <a:pt x="351901" y="125588"/>
                  </a:lnTo>
                  <a:lnTo>
                    <a:pt x="353813" y="140250"/>
                  </a:lnTo>
                  <a:close/>
                  <a:moveTo>
                    <a:pt x="73313" y="73950"/>
                  </a:moveTo>
                  <a:lnTo>
                    <a:pt x="68850" y="75863"/>
                  </a:lnTo>
                  <a:lnTo>
                    <a:pt x="32513" y="87338"/>
                  </a:lnTo>
                  <a:lnTo>
                    <a:pt x="19763" y="91800"/>
                  </a:lnTo>
                  <a:lnTo>
                    <a:pt x="5100" y="96263"/>
                  </a:lnTo>
                  <a:lnTo>
                    <a:pt x="0" y="98175"/>
                  </a:lnTo>
                  <a:lnTo>
                    <a:pt x="0" y="100088"/>
                  </a:lnTo>
                  <a:lnTo>
                    <a:pt x="1913" y="133238"/>
                  </a:lnTo>
                  <a:lnTo>
                    <a:pt x="3825" y="164475"/>
                  </a:lnTo>
                  <a:lnTo>
                    <a:pt x="5738" y="193163"/>
                  </a:lnTo>
                  <a:lnTo>
                    <a:pt x="8925" y="195075"/>
                  </a:lnTo>
                  <a:lnTo>
                    <a:pt x="20400" y="191888"/>
                  </a:lnTo>
                  <a:lnTo>
                    <a:pt x="72675" y="176588"/>
                  </a:lnTo>
                  <a:lnTo>
                    <a:pt x="73950" y="179775"/>
                  </a:lnTo>
                  <a:lnTo>
                    <a:pt x="166388" y="144713"/>
                  </a:lnTo>
                  <a:lnTo>
                    <a:pt x="167025" y="145988"/>
                  </a:lnTo>
                  <a:lnTo>
                    <a:pt x="175313" y="142800"/>
                  </a:lnTo>
                  <a:lnTo>
                    <a:pt x="205275" y="131325"/>
                  </a:lnTo>
                  <a:lnTo>
                    <a:pt x="233963" y="165113"/>
                  </a:lnTo>
                  <a:lnTo>
                    <a:pt x="233963" y="165113"/>
                  </a:lnTo>
                  <a:lnTo>
                    <a:pt x="237788" y="161925"/>
                  </a:lnTo>
                  <a:lnTo>
                    <a:pt x="239701" y="151725"/>
                  </a:lnTo>
                  <a:lnTo>
                    <a:pt x="239063" y="167025"/>
                  </a:lnTo>
                  <a:lnTo>
                    <a:pt x="239063" y="167025"/>
                  </a:lnTo>
                  <a:lnTo>
                    <a:pt x="245438" y="167025"/>
                  </a:lnTo>
                  <a:lnTo>
                    <a:pt x="247351" y="174675"/>
                  </a:lnTo>
                  <a:lnTo>
                    <a:pt x="253088" y="186150"/>
                  </a:lnTo>
                  <a:lnTo>
                    <a:pt x="253088" y="186150"/>
                  </a:lnTo>
                  <a:lnTo>
                    <a:pt x="283688" y="149813"/>
                  </a:lnTo>
                  <a:lnTo>
                    <a:pt x="308551" y="158100"/>
                  </a:lnTo>
                  <a:lnTo>
                    <a:pt x="314288" y="145350"/>
                  </a:lnTo>
                  <a:lnTo>
                    <a:pt x="355088" y="123675"/>
                  </a:lnTo>
                  <a:lnTo>
                    <a:pt x="337876" y="89888"/>
                  </a:lnTo>
                  <a:lnTo>
                    <a:pt x="342338" y="111563"/>
                  </a:lnTo>
                  <a:lnTo>
                    <a:pt x="321301" y="127500"/>
                  </a:lnTo>
                  <a:lnTo>
                    <a:pt x="297713" y="129413"/>
                  </a:lnTo>
                  <a:lnTo>
                    <a:pt x="249901" y="78413"/>
                  </a:lnTo>
                  <a:lnTo>
                    <a:pt x="228863" y="45900"/>
                  </a:lnTo>
                  <a:lnTo>
                    <a:pt x="249901" y="23587"/>
                  </a:lnTo>
                  <a:lnTo>
                    <a:pt x="228226" y="22313"/>
                  </a:lnTo>
                  <a:lnTo>
                    <a:pt x="218663" y="1275"/>
                  </a:lnTo>
                  <a:lnTo>
                    <a:pt x="218026" y="0"/>
                  </a:lnTo>
                  <a:lnTo>
                    <a:pt x="181688" y="39525"/>
                  </a:lnTo>
                  <a:lnTo>
                    <a:pt x="100726" y="66938"/>
                  </a:lnTo>
                  <a:lnTo>
                    <a:pt x="73313" y="73950"/>
                  </a:lnTo>
                  <a:lnTo>
                    <a:pt x="73313" y="73950"/>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603" name="Text Placeholder 5">
              <a:extLst>
                <a:ext uri="{FF2B5EF4-FFF2-40B4-BE49-F238E27FC236}">
                  <a16:creationId xmlns:a16="http://schemas.microsoft.com/office/drawing/2014/main" id="{E7A8C095-2681-A06D-0E40-E58B906BE7CD}"/>
                </a:ext>
              </a:extLst>
            </p:cNvPr>
            <p:cNvSpPr txBox="1">
              <a:spLocks/>
            </p:cNvSpPr>
            <p:nvPr/>
          </p:nvSpPr>
          <p:spPr>
            <a:xfrm>
              <a:off x="6095466" y="970351"/>
              <a:ext cx="1991597" cy="4365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New York</a:t>
              </a:r>
            </a:p>
          </p:txBody>
        </p:sp>
        <p:sp>
          <p:nvSpPr>
            <p:cNvPr id="605" name="Rectangle 604">
              <a:extLst>
                <a:ext uri="{FF2B5EF4-FFF2-40B4-BE49-F238E27FC236}">
                  <a16:creationId xmlns:a16="http://schemas.microsoft.com/office/drawing/2014/main" id="{5A58D8C9-2F11-6131-6E37-D3AD75FD8E4F}"/>
                </a:ext>
              </a:extLst>
            </p:cNvPr>
            <p:cNvSpPr/>
            <p:nvPr/>
          </p:nvSpPr>
          <p:spPr>
            <a:xfrm>
              <a:off x="6096431" y="1427605"/>
              <a:ext cx="2948189" cy="8272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4.8B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46% </a:t>
              </a: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new stores covered</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825" b="1" i="0" u="none" strike="noStrike" kern="1200" cap="none" spc="0" normalizeH="0" baseline="0" noProof="0">
                  <a:ln>
                    <a:noFill/>
                  </a:ln>
                  <a:solidFill>
                    <a:srgbClr val="555555"/>
                  </a:solidFill>
                  <a:effectLst/>
                  <a:uLnTx/>
                  <a:uFillTx/>
                  <a:latin typeface="Georgia" panose="02040502050405020303" pitchFamily="18" charset="0"/>
                  <a:ea typeface="+mn-ea"/>
                  <a:cs typeface="+mn-cs"/>
                </a:rPr>
                <a:t>$2.3B / $2.0B​</a:t>
              </a:r>
            </a:p>
            <a:p>
              <a:pPr marL="0" marR="0" lvl="0" indent="0" algn="l" defTabSz="685783" rtl="0" eaLnBrk="1" fontAlgn="auto" latinLnBrk="0" hangingPunct="1">
                <a:lnSpc>
                  <a:spcPct val="100000"/>
                </a:lnSpc>
                <a:spcBef>
                  <a:spcPts val="0"/>
                </a:spcBef>
                <a:spcAft>
                  <a:spcPts val="0"/>
                </a:spcAft>
                <a:buClr>
                  <a:srgbClr val="000000"/>
                </a:buClr>
                <a:buSzPct val="100000"/>
                <a:buFontTx/>
                <a:buNone/>
                <a:tabLst/>
                <a:defRPr/>
              </a:pPr>
              <a:r>
                <a:rPr kumimoji="0" lang="en-US" sz="788" b="0" i="0" u="none" strike="noStrike" kern="1200" cap="none" spc="0" normalizeH="0" baseline="0" noProof="0">
                  <a:ln>
                    <a:noFill/>
                  </a:ln>
                  <a:solidFill>
                    <a:srgbClr val="555555"/>
                  </a:solidFill>
                  <a:effectLst/>
                  <a:uLnTx/>
                  <a:uFillTx/>
                  <a:latin typeface="Georgia" panose="02040502050405020303" pitchFamily="18" charset="0"/>
                  <a:ea typeface="+mn-ea"/>
                  <a:cs typeface="+mn-cs"/>
                </a:rPr>
                <a:t>    spirits / wine total volume</a:t>
              </a:r>
            </a:p>
          </p:txBody>
        </p:sp>
        <p:sp>
          <p:nvSpPr>
            <p:cNvPr id="606" name="Freeform 64">
              <a:extLst>
                <a:ext uri="{FF2B5EF4-FFF2-40B4-BE49-F238E27FC236}">
                  <a16:creationId xmlns:a16="http://schemas.microsoft.com/office/drawing/2014/main" id="{897197E8-37F6-F5A5-F518-1C96FF9C8D26}"/>
                </a:ext>
              </a:extLst>
            </p:cNvPr>
            <p:cNvSpPr/>
            <p:nvPr/>
          </p:nvSpPr>
          <p:spPr>
            <a:xfrm>
              <a:off x="5404643" y="1377132"/>
              <a:ext cx="649193" cy="550639"/>
            </a:xfrm>
            <a:custGeom>
              <a:avLst/>
              <a:gdLst>
                <a:gd name="connsiteX0" fmla="*/ 604351 w 796238"/>
                <a:gd name="connsiteY0" fmla="*/ 590964 h 608176"/>
                <a:gd name="connsiteX1" fmla="*/ 594151 w 796238"/>
                <a:gd name="connsiteY1" fmla="*/ 604351 h 608176"/>
                <a:gd name="connsiteX2" fmla="*/ 591601 w 796238"/>
                <a:gd name="connsiteY2" fmla="*/ 608176 h 608176"/>
                <a:gd name="connsiteX3" fmla="*/ 604351 w 796238"/>
                <a:gd name="connsiteY3" fmla="*/ 590964 h 608176"/>
                <a:gd name="connsiteX4" fmla="*/ 692964 w 796238"/>
                <a:gd name="connsiteY4" fmla="*/ 559089 h 608176"/>
                <a:gd name="connsiteX5" fmla="*/ 725476 w 796238"/>
                <a:gd name="connsiteY5" fmla="*/ 530401 h 608176"/>
                <a:gd name="connsiteX6" fmla="*/ 725476 w 796238"/>
                <a:gd name="connsiteY6" fmla="*/ 529126 h 608176"/>
                <a:gd name="connsiteX7" fmla="*/ 692964 w 796238"/>
                <a:gd name="connsiteY7" fmla="*/ 559089 h 608176"/>
                <a:gd name="connsiteX8" fmla="*/ 692964 w 796238"/>
                <a:gd name="connsiteY8" fmla="*/ 559089 h 608176"/>
                <a:gd name="connsiteX9" fmla="*/ 608814 w 796238"/>
                <a:gd name="connsiteY9" fmla="*/ 578851 h 608176"/>
                <a:gd name="connsiteX10" fmla="*/ 608814 w 796238"/>
                <a:gd name="connsiteY10" fmla="*/ 557176 h 608176"/>
                <a:gd name="connsiteX11" fmla="*/ 606901 w 796238"/>
                <a:gd name="connsiteY11" fmla="*/ 568651 h 608176"/>
                <a:gd name="connsiteX12" fmla="*/ 608814 w 796238"/>
                <a:gd name="connsiteY12" fmla="*/ 578851 h 608176"/>
                <a:gd name="connsiteX13" fmla="*/ 757989 w 796238"/>
                <a:gd name="connsiteY13" fmla="*/ 476214 h 608176"/>
                <a:gd name="connsiteX14" fmla="*/ 750339 w 796238"/>
                <a:gd name="connsiteY14" fmla="*/ 474301 h 608176"/>
                <a:gd name="connsiteX15" fmla="*/ 749064 w 796238"/>
                <a:gd name="connsiteY15" fmla="*/ 480039 h 608176"/>
                <a:gd name="connsiteX16" fmla="*/ 757989 w 796238"/>
                <a:gd name="connsiteY16" fmla="*/ 476214 h 608176"/>
                <a:gd name="connsiteX17" fmla="*/ 775201 w 796238"/>
                <a:gd name="connsiteY17" fmla="*/ 465376 h 608176"/>
                <a:gd name="connsiteX18" fmla="*/ 774564 w 796238"/>
                <a:gd name="connsiteY18" fmla="*/ 471751 h 608176"/>
                <a:gd name="connsiteX19" fmla="*/ 775839 w 796238"/>
                <a:gd name="connsiteY19" fmla="*/ 467926 h 608176"/>
                <a:gd name="connsiteX20" fmla="*/ 775201 w 796238"/>
                <a:gd name="connsiteY20" fmla="*/ 465376 h 608176"/>
                <a:gd name="connsiteX21" fmla="*/ 775201 w 796238"/>
                <a:gd name="connsiteY21" fmla="*/ 465376 h 608176"/>
                <a:gd name="connsiteX22" fmla="*/ 757351 w 796238"/>
                <a:gd name="connsiteY22" fmla="*/ 466013 h 608176"/>
                <a:gd name="connsiteX23" fmla="*/ 714639 w 796238"/>
                <a:gd name="connsiteY23" fmla="*/ 505539 h 608176"/>
                <a:gd name="connsiteX24" fmla="*/ 648339 w 796238"/>
                <a:gd name="connsiteY24" fmla="*/ 534226 h 608176"/>
                <a:gd name="connsiteX25" fmla="*/ 631126 w 796238"/>
                <a:gd name="connsiteY25" fmla="*/ 548889 h 608176"/>
                <a:gd name="connsiteX26" fmla="*/ 629851 w 796238"/>
                <a:gd name="connsiteY26" fmla="*/ 562914 h 608176"/>
                <a:gd name="connsiteX27" fmla="*/ 612001 w 796238"/>
                <a:gd name="connsiteY27" fmla="*/ 577576 h 608176"/>
                <a:gd name="connsiteX28" fmla="*/ 614551 w 796238"/>
                <a:gd name="connsiteY28" fmla="*/ 596701 h 608176"/>
                <a:gd name="connsiteX29" fmla="*/ 642601 w 796238"/>
                <a:gd name="connsiteY29" fmla="*/ 585226 h 608176"/>
                <a:gd name="connsiteX30" fmla="*/ 682764 w 796238"/>
                <a:gd name="connsiteY30" fmla="*/ 552076 h 608176"/>
                <a:gd name="connsiteX31" fmla="*/ 728026 w 796238"/>
                <a:gd name="connsiteY31" fmla="*/ 528489 h 608176"/>
                <a:gd name="connsiteX32" fmla="*/ 796239 w 796238"/>
                <a:gd name="connsiteY32" fmla="*/ 464101 h 608176"/>
                <a:gd name="connsiteX33" fmla="*/ 747789 w 796238"/>
                <a:gd name="connsiteY33" fmla="*/ 500439 h 608176"/>
                <a:gd name="connsiteX34" fmla="*/ 732489 w 796238"/>
                <a:gd name="connsiteY34" fmla="*/ 506814 h 608176"/>
                <a:gd name="connsiteX35" fmla="*/ 757351 w 796238"/>
                <a:gd name="connsiteY35" fmla="*/ 466013 h 608176"/>
                <a:gd name="connsiteX36" fmla="*/ 757351 w 796238"/>
                <a:gd name="connsiteY36" fmla="*/ 466013 h 608176"/>
                <a:gd name="connsiteX37" fmla="*/ 777114 w 796238"/>
                <a:gd name="connsiteY37" fmla="*/ 438601 h 608176"/>
                <a:gd name="connsiteX38" fmla="*/ 779664 w 796238"/>
                <a:gd name="connsiteY38" fmla="*/ 434776 h 608176"/>
                <a:gd name="connsiteX39" fmla="*/ 772014 w 796238"/>
                <a:gd name="connsiteY39" fmla="*/ 444338 h 608176"/>
                <a:gd name="connsiteX40" fmla="*/ 777114 w 796238"/>
                <a:gd name="connsiteY40" fmla="*/ 438601 h 608176"/>
                <a:gd name="connsiteX41" fmla="*/ 54825 w 796238"/>
                <a:gd name="connsiteY41" fmla="*/ 415013 h 608176"/>
                <a:gd name="connsiteX42" fmla="*/ 44625 w 796238"/>
                <a:gd name="connsiteY42" fmla="*/ 413738 h 608176"/>
                <a:gd name="connsiteX43" fmla="*/ 52275 w 796238"/>
                <a:gd name="connsiteY43" fmla="*/ 424576 h 608176"/>
                <a:gd name="connsiteX44" fmla="*/ 54825 w 796238"/>
                <a:gd name="connsiteY44" fmla="*/ 415013 h 608176"/>
                <a:gd name="connsiteX45" fmla="*/ 54825 w 796238"/>
                <a:gd name="connsiteY45" fmla="*/ 415013 h 608176"/>
                <a:gd name="connsiteX46" fmla="*/ 268388 w 796238"/>
                <a:gd name="connsiteY46" fmla="*/ 218026 h 608176"/>
                <a:gd name="connsiteX47" fmla="*/ 269663 w 796238"/>
                <a:gd name="connsiteY47" fmla="*/ 211013 h 608176"/>
                <a:gd name="connsiteX48" fmla="*/ 264563 w 796238"/>
                <a:gd name="connsiteY48" fmla="*/ 217388 h 608176"/>
                <a:gd name="connsiteX49" fmla="*/ 268388 w 796238"/>
                <a:gd name="connsiteY49" fmla="*/ 218026 h 608176"/>
                <a:gd name="connsiteX50" fmla="*/ 268388 w 796238"/>
                <a:gd name="connsiteY50" fmla="*/ 218026 h 608176"/>
                <a:gd name="connsiteX51" fmla="*/ 271575 w 796238"/>
                <a:gd name="connsiteY51" fmla="*/ 172125 h 608176"/>
                <a:gd name="connsiteX52" fmla="*/ 269025 w 796238"/>
                <a:gd name="connsiteY52" fmla="*/ 173400 h 608176"/>
                <a:gd name="connsiteX53" fmla="*/ 265838 w 796238"/>
                <a:gd name="connsiteY53" fmla="*/ 180413 h 608176"/>
                <a:gd name="connsiteX54" fmla="*/ 271575 w 796238"/>
                <a:gd name="connsiteY54" fmla="*/ 172125 h 608176"/>
                <a:gd name="connsiteX55" fmla="*/ 271575 w 796238"/>
                <a:gd name="connsiteY55" fmla="*/ 172125 h 608176"/>
                <a:gd name="connsiteX56" fmla="*/ 0 w 796238"/>
                <a:gd name="connsiteY56" fmla="*/ 536776 h 608176"/>
                <a:gd name="connsiteX57" fmla="*/ 4462 w 796238"/>
                <a:gd name="connsiteY57" fmla="*/ 555901 h 608176"/>
                <a:gd name="connsiteX58" fmla="*/ 38250 w 796238"/>
                <a:gd name="connsiteY58" fmla="*/ 564189 h 608176"/>
                <a:gd name="connsiteX59" fmla="*/ 233325 w 796238"/>
                <a:gd name="connsiteY59" fmla="*/ 510639 h 608176"/>
                <a:gd name="connsiteX60" fmla="*/ 429676 w 796238"/>
                <a:gd name="connsiteY60" fmla="*/ 451988 h 608176"/>
                <a:gd name="connsiteX61" fmla="*/ 465376 w 796238"/>
                <a:gd name="connsiteY61" fmla="*/ 480039 h 608176"/>
                <a:gd name="connsiteX62" fmla="*/ 472388 w 796238"/>
                <a:gd name="connsiteY62" fmla="*/ 495976 h 608176"/>
                <a:gd name="connsiteX63" fmla="*/ 513826 w 796238"/>
                <a:gd name="connsiteY63" fmla="*/ 513826 h 608176"/>
                <a:gd name="connsiteX64" fmla="*/ 515101 w 796238"/>
                <a:gd name="connsiteY64" fmla="*/ 516376 h 608176"/>
                <a:gd name="connsiteX65" fmla="*/ 526576 w 796238"/>
                <a:gd name="connsiteY65" fmla="*/ 518926 h 608176"/>
                <a:gd name="connsiteX66" fmla="*/ 538051 w 796238"/>
                <a:gd name="connsiteY66" fmla="*/ 522114 h 608176"/>
                <a:gd name="connsiteX67" fmla="*/ 605626 w 796238"/>
                <a:gd name="connsiteY67" fmla="*/ 538689 h 608176"/>
                <a:gd name="connsiteX68" fmla="*/ 604351 w 796238"/>
                <a:gd name="connsiteY68" fmla="*/ 535501 h 608176"/>
                <a:gd name="connsiteX69" fmla="*/ 610088 w 796238"/>
                <a:gd name="connsiteY69" fmla="*/ 562276 h 608176"/>
                <a:gd name="connsiteX70" fmla="*/ 622838 w 796238"/>
                <a:gd name="connsiteY70" fmla="*/ 559089 h 608176"/>
                <a:gd name="connsiteX71" fmla="*/ 629851 w 796238"/>
                <a:gd name="connsiteY71" fmla="*/ 529764 h 608176"/>
                <a:gd name="connsiteX72" fmla="*/ 629851 w 796238"/>
                <a:gd name="connsiteY72" fmla="*/ 529126 h 608176"/>
                <a:gd name="connsiteX73" fmla="*/ 618376 w 796238"/>
                <a:gd name="connsiteY73" fmla="*/ 517651 h 608176"/>
                <a:gd name="connsiteX74" fmla="*/ 634951 w 796238"/>
                <a:gd name="connsiteY74" fmla="*/ 497251 h 608176"/>
                <a:gd name="connsiteX75" fmla="*/ 627301 w 796238"/>
                <a:gd name="connsiteY75" fmla="*/ 487051 h 608176"/>
                <a:gd name="connsiteX76" fmla="*/ 603076 w 796238"/>
                <a:gd name="connsiteY76" fmla="*/ 392701 h 608176"/>
                <a:gd name="connsiteX77" fmla="*/ 601801 w 796238"/>
                <a:gd name="connsiteY77" fmla="*/ 386326 h 608176"/>
                <a:gd name="connsiteX78" fmla="*/ 598613 w 796238"/>
                <a:gd name="connsiteY78" fmla="*/ 384413 h 608176"/>
                <a:gd name="connsiteX79" fmla="*/ 596701 w 796238"/>
                <a:gd name="connsiteY79" fmla="*/ 355726 h 608176"/>
                <a:gd name="connsiteX80" fmla="*/ 594789 w 796238"/>
                <a:gd name="connsiteY80" fmla="*/ 324488 h 608176"/>
                <a:gd name="connsiteX81" fmla="*/ 592876 w 796238"/>
                <a:gd name="connsiteY81" fmla="*/ 291338 h 608176"/>
                <a:gd name="connsiteX82" fmla="*/ 592876 w 796238"/>
                <a:gd name="connsiteY82" fmla="*/ 289426 h 608176"/>
                <a:gd name="connsiteX83" fmla="*/ 591601 w 796238"/>
                <a:gd name="connsiteY83" fmla="*/ 290063 h 608176"/>
                <a:gd name="connsiteX84" fmla="*/ 559088 w 796238"/>
                <a:gd name="connsiteY84" fmla="*/ 184875 h 608176"/>
                <a:gd name="connsiteX85" fmla="*/ 525301 w 796238"/>
                <a:gd name="connsiteY85" fmla="*/ 131325 h 608176"/>
                <a:gd name="connsiteX86" fmla="*/ 515101 w 796238"/>
                <a:gd name="connsiteY86" fmla="*/ 67575 h 608176"/>
                <a:gd name="connsiteX87" fmla="*/ 485776 w 796238"/>
                <a:gd name="connsiteY87" fmla="*/ 0 h 608176"/>
                <a:gd name="connsiteX88" fmla="*/ 481951 w 796238"/>
                <a:gd name="connsiteY88" fmla="*/ 1913 h 608176"/>
                <a:gd name="connsiteX89" fmla="*/ 348713 w 796238"/>
                <a:gd name="connsiteY89" fmla="*/ 49088 h 608176"/>
                <a:gd name="connsiteX90" fmla="*/ 321300 w 796238"/>
                <a:gd name="connsiteY90" fmla="*/ 78413 h 608176"/>
                <a:gd name="connsiteX91" fmla="*/ 290700 w 796238"/>
                <a:gd name="connsiteY91" fmla="*/ 135788 h 608176"/>
                <a:gd name="connsiteX92" fmla="*/ 291976 w 796238"/>
                <a:gd name="connsiteY92" fmla="*/ 148538 h 608176"/>
                <a:gd name="connsiteX93" fmla="*/ 252450 w 796238"/>
                <a:gd name="connsiteY93" fmla="*/ 208463 h 608176"/>
                <a:gd name="connsiteX94" fmla="*/ 276675 w 796238"/>
                <a:gd name="connsiteY94" fmla="*/ 216750 h 608176"/>
                <a:gd name="connsiteX95" fmla="*/ 283688 w 796238"/>
                <a:gd name="connsiteY95" fmla="*/ 262651 h 608176"/>
                <a:gd name="connsiteX96" fmla="*/ 255001 w 796238"/>
                <a:gd name="connsiteY96" fmla="*/ 299626 h 608176"/>
                <a:gd name="connsiteX97" fmla="*/ 170213 w 796238"/>
                <a:gd name="connsiteY97" fmla="*/ 351263 h 608176"/>
                <a:gd name="connsiteX98" fmla="*/ 154275 w 796238"/>
                <a:gd name="connsiteY98" fmla="*/ 344888 h 608176"/>
                <a:gd name="connsiteX99" fmla="*/ 91163 w 796238"/>
                <a:gd name="connsiteY99" fmla="*/ 354451 h 608176"/>
                <a:gd name="connsiteX100" fmla="*/ 33150 w 796238"/>
                <a:gd name="connsiteY100" fmla="*/ 389513 h 608176"/>
                <a:gd name="connsiteX101" fmla="*/ 36337 w 796238"/>
                <a:gd name="connsiteY101" fmla="*/ 408001 h 608176"/>
                <a:gd name="connsiteX102" fmla="*/ 56737 w 796238"/>
                <a:gd name="connsiteY102" fmla="*/ 425851 h 608176"/>
                <a:gd name="connsiteX103" fmla="*/ 45262 w 796238"/>
                <a:gd name="connsiteY103" fmla="*/ 481951 h 608176"/>
                <a:gd name="connsiteX104" fmla="*/ 0 w 796238"/>
                <a:gd name="connsiteY104" fmla="*/ 536776 h 608176"/>
                <a:gd name="connsiteX105" fmla="*/ 0 w 796238"/>
                <a:gd name="connsiteY105" fmla="*/ 536776 h 608176"/>
                <a:gd name="connsiteX106" fmla="*/ 0 w 796238"/>
                <a:gd name="connsiteY106" fmla="*/ 536776 h 60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796238" h="608176">
                  <a:moveTo>
                    <a:pt x="604351" y="590964"/>
                  </a:moveTo>
                  <a:lnTo>
                    <a:pt x="594151" y="604351"/>
                  </a:lnTo>
                  <a:lnTo>
                    <a:pt x="591601" y="608176"/>
                  </a:lnTo>
                  <a:lnTo>
                    <a:pt x="604351" y="590964"/>
                  </a:lnTo>
                  <a:close/>
                  <a:moveTo>
                    <a:pt x="692964" y="559089"/>
                  </a:moveTo>
                  <a:lnTo>
                    <a:pt x="725476" y="530401"/>
                  </a:lnTo>
                  <a:lnTo>
                    <a:pt x="725476" y="529126"/>
                  </a:lnTo>
                  <a:lnTo>
                    <a:pt x="692964" y="559089"/>
                  </a:lnTo>
                  <a:lnTo>
                    <a:pt x="692964" y="559089"/>
                  </a:lnTo>
                  <a:close/>
                  <a:moveTo>
                    <a:pt x="608814" y="578851"/>
                  </a:moveTo>
                  <a:lnTo>
                    <a:pt x="608814" y="557176"/>
                  </a:lnTo>
                  <a:lnTo>
                    <a:pt x="606901" y="568651"/>
                  </a:lnTo>
                  <a:lnTo>
                    <a:pt x="608814" y="578851"/>
                  </a:lnTo>
                  <a:close/>
                  <a:moveTo>
                    <a:pt x="757989" y="476214"/>
                  </a:moveTo>
                  <a:lnTo>
                    <a:pt x="750339" y="474301"/>
                  </a:lnTo>
                  <a:lnTo>
                    <a:pt x="749064" y="480039"/>
                  </a:lnTo>
                  <a:lnTo>
                    <a:pt x="757989" y="476214"/>
                  </a:lnTo>
                  <a:close/>
                  <a:moveTo>
                    <a:pt x="775201" y="465376"/>
                  </a:moveTo>
                  <a:lnTo>
                    <a:pt x="774564" y="471751"/>
                  </a:lnTo>
                  <a:lnTo>
                    <a:pt x="775839" y="467926"/>
                  </a:lnTo>
                  <a:lnTo>
                    <a:pt x="775201" y="465376"/>
                  </a:lnTo>
                  <a:lnTo>
                    <a:pt x="775201" y="465376"/>
                  </a:lnTo>
                  <a:close/>
                  <a:moveTo>
                    <a:pt x="757351" y="466013"/>
                  </a:moveTo>
                  <a:lnTo>
                    <a:pt x="714639" y="505539"/>
                  </a:lnTo>
                  <a:lnTo>
                    <a:pt x="648339" y="534226"/>
                  </a:lnTo>
                  <a:lnTo>
                    <a:pt x="631126" y="548889"/>
                  </a:lnTo>
                  <a:lnTo>
                    <a:pt x="629851" y="562914"/>
                  </a:lnTo>
                  <a:lnTo>
                    <a:pt x="612001" y="577576"/>
                  </a:lnTo>
                  <a:lnTo>
                    <a:pt x="614551" y="596701"/>
                  </a:lnTo>
                  <a:lnTo>
                    <a:pt x="642601" y="585226"/>
                  </a:lnTo>
                  <a:lnTo>
                    <a:pt x="682764" y="552076"/>
                  </a:lnTo>
                  <a:lnTo>
                    <a:pt x="728026" y="528489"/>
                  </a:lnTo>
                  <a:lnTo>
                    <a:pt x="796239" y="464101"/>
                  </a:lnTo>
                  <a:lnTo>
                    <a:pt x="747789" y="500439"/>
                  </a:lnTo>
                  <a:lnTo>
                    <a:pt x="732489" y="506814"/>
                  </a:lnTo>
                  <a:lnTo>
                    <a:pt x="757351" y="466013"/>
                  </a:lnTo>
                  <a:lnTo>
                    <a:pt x="757351" y="466013"/>
                  </a:lnTo>
                  <a:close/>
                  <a:moveTo>
                    <a:pt x="777114" y="438601"/>
                  </a:moveTo>
                  <a:lnTo>
                    <a:pt x="779664" y="434776"/>
                  </a:lnTo>
                  <a:lnTo>
                    <a:pt x="772014" y="444338"/>
                  </a:lnTo>
                  <a:lnTo>
                    <a:pt x="777114" y="438601"/>
                  </a:lnTo>
                  <a:close/>
                  <a:moveTo>
                    <a:pt x="54825" y="415013"/>
                  </a:moveTo>
                  <a:lnTo>
                    <a:pt x="44625" y="413738"/>
                  </a:lnTo>
                  <a:lnTo>
                    <a:pt x="52275" y="424576"/>
                  </a:lnTo>
                  <a:lnTo>
                    <a:pt x="54825" y="415013"/>
                  </a:lnTo>
                  <a:lnTo>
                    <a:pt x="54825" y="415013"/>
                  </a:lnTo>
                  <a:close/>
                  <a:moveTo>
                    <a:pt x="268388" y="218026"/>
                  </a:moveTo>
                  <a:lnTo>
                    <a:pt x="269663" y="211013"/>
                  </a:lnTo>
                  <a:lnTo>
                    <a:pt x="264563" y="217388"/>
                  </a:lnTo>
                  <a:lnTo>
                    <a:pt x="268388" y="218026"/>
                  </a:lnTo>
                  <a:lnTo>
                    <a:pt x="268388" y="218026"/>
                  </a:lnTo>
                  <a:close/>
                  <a:moveTo>
                    <a:pt x="271575" y="172125"/>
                  </a:moveTo>
                  <a:lnTo>
                    <a:pt x="269025" y="173400"/>
                  </a:lnTo>
                  <a:lnTo>
                    <a:pt x="265838" y="180413"/>
                  </a:lnTo>
                  <a:lnTo>
                    <a:pt x="271575" y="172125"/>
                  </a:lnTo>
                  <a:lnTo>
                    <a:pt x="271575" y="172125"/>
                  </a:lnTo>
                  <a:close/>
                  <a:moveTo>
                    <a:pt x="0" y="536776"/>
                  </a:moveTo>
                  <a:lnTo>
                    <a:pt x="4462" y="555901"/>
                  </a:lnTo>
                  <a:lnTo>
                    <a:pt x="38250" y="564189"/>
                  </a:lnTo>
                  <a:lnTo>
                    <a:pt x="233325" y="510639"/>
                  </a:lnTo>
                  <a:lnTo>
                    <a:pt x="429676" y="451988"/>
                  </a:lnTo>
                  <a:lnTo>
                    <a:pt x="465376" y="480039"/>
                  </a:lnTo>
                  <a:lnTo>
                    <a:pt x="472388" y="495976"/>
                  </a:lnTo>
                  <a:lnTo>
                    <a:pt x="513826" y="513826"/>
                  </a:lnTo>
                  <a:lnTo>
                    <a:pt x="515101" y="516376"/>
                  </a:lnTo>
                  <a:lnTo>
                    <a:pt x="526576" y="518926"/>
                  </a:lnTo>
                  <a:lnTo>
                    <a:pt x="538051" y="522114"/>
                  </a:lnTo>
                  <a:lnTo>
                    <a:pt x="605626" y="538689"/>
                  </a:lnTo>
                  <a:lnTo>
                    <a:pt x="604351" y="535501"/>
                  </a:lnTo>
                  <a:lnTo>
                    <a:pt x="610088" y="562276"/>
                  </a:lnTo>
                  <a:lnTo>
                    <a:pt x="622838" y="559089"/>
                  </a:lnTo>
                  <a:lnTo>
                    <a:pt x="629851" y="529764"/>
                  </a:lnTo>
                  <a:lnTo>
                    <a:pt x="629851" y="529126"/>
                  </a:lnTo>
                  <a:lnTo>
                    <a:pt x="618376" y="517651"/>
                  </a:lnTo>
                  <a:lnTo>
                    <a:pt x="634951" y="497251"/>
                  </a:lnTo>
                  <a:lnTo>
                    <a:pt x="627301" y="487051"/>
                  </a:lnTo>
                  <a:lnTo>
                    <a:pt x="603076" y="392701"/>
                  </a:lnTo>
                  <a:lnTo>
                    <a:pt x="601801" y="386326"/>
                  </a:lnTo>
                  <a:lnTo>
                    <a:pt x="598613" y="384413"/>
                  </a:lnTo>
                  <a:lnTo>
                    <a:pt x="596701" y="355726"/>
                  </a:lnTo>
                  <a:lnTo>
                    <a:pt x="594789" y="324488"/>
                  </a:lnTo>
                  <a:lnTo>
                    <a:pt x="592876" y="291338"/>
                  </a:lnTo>
                  <a:lnTo>
                    <a:pt x="592876" y="289426"/>
                  </a:lnTo>
                  <a:lnTo>
                    <a:pt x="591601" y="290063"/>
                  </a:lnTo>
                  <a:lnTo>
                    <a:pt x="559088" y="184875"/>
                  </a:lnTo>
                  <a:lnTo>
                    <a:pt x="525301" y="131325"/>
                  </a:lnTo>
                  <a:lnTo>
                    <a:pt x="515101" y="67575"/>
                  </a:lnTo>
                  <a:lnTo>
                    <a:pt x="485776" y="0"/>
                  </a:lnTo>
                  <a:lnTo>
                    <a:pt x="481951" y="1913"/>
                  </a:lnTo>
                  <a:lnTo>
                    <a:pt x="348713" y="49088"/>
                  </a:lnTo>
                  <a:lnTo>
                    <a:pt x="321300" y="78413"/>
                  </a:lnTo>
                  <a:lnTo>
                    <a:pt x="290700" y="135788"/>
                  </a:lnTo>
                  <a:lnTo>
                    <a:pt x="291976" y="148538"/>
                  </a:lnTo>
                  <a:lnTo>
                    <a:pt x="252450" y="208463"/>
                  </a:lnTo>
                  <a:lnTo>
                    <a:pt x="276675" y="216750"/>
                  </a:lnTo>
                  <a:lnTo>
                    <a:pt x="283688" y="262651"/>
                  </a:lnTo>
                  <a:lnTo>
                    <a:pt x="255001" y="299626"/>
                  </a:lnTo>
                  <a:lnTo>
                    <a:pt x="170213" y="351263"/>
                  </a:lnTo>
                  <a:lnTo>
                    <a:pt x="154275" y="344888"/>
                  </a:lnTo>
                  <a:lnTo>
                    <a:pt x="91163" y="354451"/>
                  </a:lnTo>
                  <a:lnTo>
                    <a:pt x="33150" y="389513"/>
                  </a:lnTo>
                  <a:lnTo>
                    <a:pt x="36337" y="408001"/>
                  </a:lnTo>
                  <a:lnTo>
                    <a:pt x="56737" y="425851"/>
                  </a:lnTo>
                  <a:lnTo>
                    <a:pt x="45262" y="481951"/>
                  </a:lnTo>
                  <a:lnTo>
                    <a:pt x="0" y="536776"/>
                  </a:lnTo>
                  <a:lnTo>
                    <a:pt x="0" y="536776"/>
                  </a:lnTo>
                  <a:lnTo>
                    <a:pt x="0" y="536776"/>
                  </a:lnTo>
                  <a:close/>
                </a:path>
              </a:pathLst>
            </a:custGeom>
            <a:solidFill>
              <a:schemeClr val="bg2"/>
            </a:solidFill>
            <a:ln w="28575"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cxnSp>
          <p:nvCxnSpPr>
            <p:cNvPr id="607" name="Elbow Connector 100">
              <a:extLst>
                <a:ext uri="{FF2B5EF4-FFF2-40B4-BE49-F238E27FC236}">
                  <a16:creationId xmlns:a16="http://schemas.microsoft.com/office/drawing/2014/main" id="{11A6D82D-6D8A-059C-886D-B90418551D9B}"/>
                </a:ext>
              </a:extLst>
            </p:cNvPr>
            <p:cNvCxnSpPr>
              <a:cxnSpLocks/>
            </p:cNvCxnSpPr>
            <p:nvPr/>
          </p:nvCxnSpPr>
          <p:spPr>
            <a:xfrm rot="10800000">
              <a:off x="3210084" y="1565561"/>
              <a:ext cx="1808443" cy="1792786"/>
            </a:xfrm>
            <a:prstGeom prst="bentConnector3">
              <a:avLst>
                <a:gd name="adj1" fmla="val 734"/>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09" name="Elbow Connector 100">
              <a:extLst>
                <a:ext uri="{FF2B5EF4-FFF2-40B4-BE49-F238E27FC236}">
                  <a16:creationId xmlns:a16="http://schemas.microsoft.com/office/drawing/2014/main" id="{E27866CB-4762-9472-FF53-1C2DCF361785}"/>
                </a:ext>
              </a:extLst>
            </p:cNvPr>
            <p:cNvCxnSpPr>
              <a:cxnSpLocks/>
            </p:cNvCxnSpPr>
            <p:nvPr/>
          </p:nvCxnSpPr>
          <p:spPr>
            <a:xfrm rot="10800000" flipV="1">
              <a:off x="2887046" y="4140638"/>
              <a:ext cx="2169212" cy="871814"/>
            </a:xfrm>
            <a:prstGeom prst="bentConnector3">
              <a:avLst>
                <a:gd name="adj1" fmla="val 50000"/>
              </a:avLst>
            </a:prstGeom>
            <a:ln w="19050">
              <a:solidFill>
                <a:schemeClr val="tx1">
                  <a:lumMod val="40000"/>
                  <a:lumOff val="6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664" name="Text Placeholder 11">
            <a:extLst>
              <a:ext uri="{FF2B5EF4-FFF2-40B4-BE49-F238E27FC236}">
                <a16:creationId xmlns:a16="http://schemas.microsoft.com/office/drawing/2014/main" id="{90930252-EC21-A3E1-BAC9-500F3010E0CB}"/>
              </a:ext>
            </a:extLst>
          </p:cNvPr>
          <p:cNvSpPr txBox="1">
            <a:spLocks/>
          </p:cNvSpPr>
          <p:nvPr/>
        </p:nvSpPr>
        <p:spPr>
          <a:xfrm>
            <a:off x="1067988" y="1521998"/>
            <a:ext cx="8686800" cy="327407"/>
          </a:xfrm>
          <a:prstGeom prst="rect">
            <a:avLst/>
          </a:prstGeom>
        </p:spPr>
        <p:txBody>
          <a:bodyPr vert="horz" lIns="0" tIns="34290" rIns="0" bIns="34290" rtlCol="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a:t>New state line coverage delivers a 90% increase in overall store coverage</a:t>
            </a:r>
          </a:p>
        </p:txBody>
      </p:sp>
      <p:sp>
        <p:nvSpPr>
          <p:cNvPr id="665" name="Title 12">
            <a:extLst>
              <a:ext uri="{FF2B5EF4-FFF2-40B4-BE49-F238E27FC236}">
                <a16:creationId xmlns:a16="http://schemas.microsoft.com/office/drawing/2014/main" id="{91CFF239-656A-D588-7C31-BCDBA6B85B48}"/>
              </a:ext>
            </a:extLst>
          </p:cNvPr>
          <p:cNvSpPr txBox="1">
            <a:spLocks/>
          </p:cNvSpPr>
          <p:nvPr/>
        </p:nvSpPr>
        <p:spPr>
          <a:xfrm>
            <a:off x="1067988" y="1221605"/>
            <a:ext cx="8686800" cy="298014"/>
          </a:xfrm>
          <a:prstGeom prst="rect">
            <a:avLst/>
          </a:prstGeom>
        </p:spPr>
        <p:txBody>
          <a:bodyPr vert="horz" lIns="0" tIns="34290" rIns="0" bIns="3429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650">
                <a:solidFill>
                  <a:schemeClr val="bg2"/>
                </a:solidFill>
              </a:rPr>
              <a:t>Insight </a:t>
            </a:r>
            <a:r>
              <a:rPr lang="en-US" sz="1650"/>
              <a:t>into 8 state lines, critical to the liquor market</a:t>
            </a:r>
          </a:p>
        </p:txBody>
      </p:sp>
      <p:sp>
        <p:nvSpPr>
          <p:cNvPr id="2" name="Freeform 47">
            <a:extLst>
              <a:ext uri="{FF2B5EF4-FFF2-40B4-BE49-F238E27FC236}">
                <a16:creationId xmlns:a16="http://schemas.microsoft.com/office/drawing/2014/main" id="{7CF0AA84-ACD0-BD2E-821A-202673A5ECBC}"/>
              </a:ext>
            </a:extLst>
          </p:cNvPr>
          <p:cNvSpPr/>
          <p:nvPr/>
        </p:nvSpPr>
        <p:spPr>
          <a:xfrm>
            <a:off x="3940621" y="4288343"/>
            <a:ext cx="512292" cy="477771"/>
          </a:xfrm>
          <a:custGeom>
            <a:avLst/>
            <a:gdLst>
              <a:gd name="connsiteX0" fmla="*/ 769464 w 981751"/>
              <a:gd name="connsiteY0" fmla="*/ 829389 h 838314"/>
              <a:gd name="connsiteX1" fmla="*/ 768189 w 981751"/>
              <a:gd name="connsiteY1" fmla="*/ 829389 h 838314"/>
              <a:gd name="connsiteX2" fmla="*/ 769464 w 981751"/>
              <a:gd name="connsiteY2" fmla="*/ 829389 h 838314"/>
              <a:gd name="connsiteX3" fmla="*/ 769464 w 981751"/>
              <a:gd name="connsiteY3" fmla="*/ 829389 h 838314"/>
              <a:gd name="connsiteX4" fmla="*/ 769464 w 981751"/>
              <a:gd name="connsiteY4" fmla="*/ 829389 h 838314"/>
              <a:gd name="connsiteX5" fmla="*/ 763089 w 981751"/>
              <a:gd name="connsiteY5" fmla="*/ 828752 h 838314"/>
              <a:gd name="connsiteX6" fmla="*/ 763089 w 981751"/>
              <a:gd name="connsiteY6" fmla="*/ 828752 h 838314"/>
              <a:gd name="connsiteX7" fmla="*/ 763089 w 981751"/>
              <a:gd name="connsiteY7" fmla="*/ 828752 h 838314"/>
              <a:gd name="connsiteX8" fmla="*/ 763089 w 981751"/>
              <a:gd name="connsiteY8" fmla="*/ 828752 h 838314"/>
              <a:gd name="connsiteX9" fmla="*/ 764364 w 981751"/>
              <a:gd name="connsiteY9" fmla="*/ 828114 h 838314"/>
              <a:gd name="connsiteX10" fmla="*/ 764364 w 981751"/>
              <a:gd name="connsiteY10" fmla="*/ 828114 h 838314"/>
              <a:gd name="connsiteX11" fmla="*/ 764364 w 981751"/>
              <a:gd name="connsiteY11" fmla="*/ 828114 h 838314"/>
              <a:gd name="connsiteX12" fmla="*/ 764364 w 981751"/>
              <a:gd name="connsiteY12" fmla="*/ 828114 h 838314"/>
              <a:gd name="connsiteX13" fmla="*/ 677026 w 981751"/>
              <a:gd name="connsiteY13" fmla="*/ 837676 h 838314"/>
              <a:gd name="connsiteX14" fmla="*/ 677026 w 981751"/>
              <a:gd name="connsiteY14" fmla="*/ 837676 h 838314"/>
              <a:gd name="connsiteX15" fmla="*/ 677026 w 981751"/>
              <a:gd name="connsiteY15" fmla="*/ 837676 h 838314"/>
              <a:gd name="connsiteX16" fmla="*/ 677026 w 981751"/>
              <a:gd name="connsiteY16" fmla="*/ 837676 h 838314"/>
              <a:gd name="connsiteX17" fmla="*/ 675751 w 981751"/>
              <a:gd name="connsiteY17" fmla="*/ 838314 h 838314"/>
              <a:gd name="connsiteX18" fmla="*/ 675751 w 981751"/>
              <a:gd name="connsiteY18" fmla="*/ 838314 h 838314"/>
              <a:gd name="connsiteX19" fmla="*/ 675751 w 981751"/>
              <a:gd name="connsiteY19" fmla="*/ 838314 h 838314"/>
              <a:gd name="connsiteX20" fmla="*/ 675751 w 981751"/>
              <a:gd name="connsiteY20" fmla="*/ 838314 h 838314"/>
              <a:gd name="connsiteX21" fmla="*/ 676389 w 981751"/>
              <a:gd name="connsiteY21" fmla="*/ 837676 h 838314"/>
              <a:gd name="connsiteX22" fmla="*/ 676389 w 981751"/>
              <a:gd name="connsiteY22" fmla="*/ 837676 h 838314"/>
              <a:gd name="connsiteX23" fmla="*/ 676389 w 981751"/>
              <a:gd name="connsiteY23" fmla="*/ 837676 h 838314"/>
              <a:gd name="connsiteX24" fmla="*/ 676389 w 981751"/>
              <a:gd name="connsiteY24" fmla="*/ 837676 h 838314"/>
              <a:gd name="connsiteX25" fmla="*/ 670014 w 981751"/>
              <a:gd name="connsiteY25" fmla="*/ 838314 h 838314"/>
              <a:gd name="connsiteX26" fmla="*/ 670014 w 981751"/>
              <a:gd name="connsiteY26" fmla="*/ 838314 h 838314"/>
              <a:gd name="connsiteX27" fmla="*/ 670014 w 981751"/>
              <a:gd name="connsiteY27" fmla="*/ 838314 h 838314"/>
              <a:gd name="connsiteX28" fmla="*/ 670014 w 981751"/>
              <a:gd name="connsiteY28" fmla="*/ 838314 h 838314"/>
              <a:gd name="connsiteX29" fmla="*/ 852339 w 981751"/>
              <a:gd name="connsiteY29" fmla="*/ 797514 h 838314"/>
              <a:gd name="connsiteX30" fmla="*/ 852339 w 981751"/>
              <a:gd name="connsiteY30" fmla="*/ 797514 h 838314"/>
              <a:gd name="connsiteX31" fmla="*/ 852339 w 981751"/>
              <a:gd name="connsiteY31" fmla="*/ 798789 h 838314"/>
              <a:gd name="connsiteX32" fmla="*/ 852339 w 981751"/>
              <a:gd name="connsiteY32" fmla="*/ 797514 h 838314"/>
              <a:gd name="connsiteX33" fmla="*/ 869552 w 981751"/>
              <a:gd name="connsiteY33" fmla="*/ 793051 h 838314"/>
              <a:gd name="connsiteX34" fmla="*/ 869552 w 981751"/>
              <a:gd name="connsiteY34" fmla="*/ 791776 h 838314"/>
              <a:gd name="connsiteX35" fmla="*/ 868277 w 981751"/>
              <a:gd name="connsiteY35" fmla="*/ 793689 h 838314"/>
              <a:gd name="connsiteX36" fmla="*/ 869552 w 981751"/>
              <a:gd name="connsiteY36" fmla="*/ 793051 h 838314"/>
              <a:gd name="connsiteX37" fmla="*/ 869552 w 981751"/>
              <a:gd name="connsiteY37" fmla="*/ 793051 h 838314"/>
              <a:gd name="connsiteX38" fmla="*/ 863814 w 981751"/>
              <a:gd name="connsiteY38" fmla="*/ 792414 h 838314"/>
              <a:gd name="connsiteX39" fmla="*/ 861264 w 981751"/>
              <a:gd name="connsiteY39" fmla="*/ 789864 h 838314"/>
              <a:gd name="connsiteX40" fmla="*/ 860627 w 981751"/>
              <a:gd name="connsiteY40" fmla="*/ 790502 h 838314"/>
              <a:gd name="connsiteX41" fmla="*/ 863814 w 981751"/>
              <a:gd name="connsiteY41" fmla="*/ 792414 h 838314"/>
              <a:gd name="connsiteX42" fmla="*/ 863814 w 981751"/>
              <a:gd name="connsiteY42" fmla="*/ 792414 h 838314"/>
              <a:gd name="connsiteX43" fmla="*/ 861902 w 981751"/>
              <a:gd name="connsiteY43" fmla="*/ 796877 h 838314"/>
              <a:gd name="connsiteX44" fmla="*/ 854252 w 981751"/>
              <a:gd name="connsiteY44" fmla="*/ 786676 h 838314"/>
              <a:gd name="connsiteX45" fmla="*/ 858714 w 981751"/>
              <a:gd name="connsiteY45" fmla="*/ 794964 h 838314"/>
              <a:gd name="connsiteX46" fmla="*/ 861902 w 981751"/>
              <a:gd name="connsiteY46" fmla="*/ 796877 h 838314"/>
              <a:gd name="connsiteX47" fmla="*/ 861902 w 981751"/>
              <a:gd name="connsiteY47" fmla="*/ 796877 h 838314"/>
              <a:gd name="connsiteX48" fmla="*/ 922464 w 981751"/>
              <a:gd name="connsiteY48" fmla="*/ 759264 h 838314"/>
              <a:gd name="connsiteX49" fmla="*/ 922464 w 981751"/>
              <a:gd name="connsiteY49" fmla="*/ 761814 h 838314"/>
              <a:gd name="connsiteX50" fmla="*/ 923740 w 981751"/>
              <a:gd name="connsiteY50" fmla="*/ 760539 h 838314"/>
              <a:gd name="connsiteX51" fmla="*/ 922464 w 981751"/>
              <a:gd name="connsiteY51" fmla="*/ 759264 h 838314"/>
              <a:gd name="connsiteX52" fmla="*/ 931389 w 981751"/>
              <a:gd name="connsiteY52" fmla="*/ 752889 h 838314"/>
              <a:gd name="connsiteX53" fmla="*/ 933302 w 981751"/>
              <a:gd name="connsiteY53" fmla="*/ 749701 h 838314"/>
              <a:gd name="connsiteX54" fmla="*/ 931389 w 981751"/>
              <a:gd name="connsiteY54" fmla="*/ 752889 h 838314"/>
              <a:gd name="connsiteX55" fmla="*/ 931389 w 981751"/>
              <a:gd name="connsiteY55" fmla="*/ 752889 h 838314"/>
              <a:gd name="connsiteX56" fmla="*/ 931389 w 981751"/>
              <a:gd name="connsiteY56" fmla="*/ 752889 h 838314"/>
              <a:gd name="connsiteX57" fmla="*/ 933302 w 981751"/>
              <a:gd name="connsiteY57" fmla="*/ 746514 h 838314"/>
              <a:gd name="connsiteX58" fmla="*/ 933302 w 981751"/>
              <a:gd name="connsiteY58" fmla="*/ 746514 h 838314"/>
              <a:gd name="connsiteX59" fmla="*/ 933302 w 981751"/>
              <a:gd name="connsiteY59" fmla="*/ 746514 h 838314"/>
              <a:gd name="connsiteX60" fmla="*/ 933302 w 981751"/>
              <a:gd name="connsiteY60" fmla="*/ 746514 h 838314"/>
              <a:gd name="connsiteX61" fmla="*/ 921827 w 981751"/>
              <a:gd name="connsiteY61" fmla="*/ 744601 h 838314"/>
              <a:gd name="connsiteX62" fmla="*/ 921827 w 981751"/>
              <a:gd name="connsiteY62" fmla="*/ 744601 h 838314"/>
              <a:gd name="connsiteX63" fmla="*/ 921827 w 981751"/>
              <a:gd name="connsiteY63" fmla="*/ 744601 h 838314"/>
              <a:gd name="connsiteX64" fmla="*/ 921827 w 981751"/>
              <a:gd name="connsiteY64" fmla="*/ 744601 h 838314"/>
              <a:gd name="connsiteX65" fmla="*/ 928202 w 981751"/>
              <a:gd name="connsiteY65" fmla="*/ 735039 h 838314"/>
              <a:gd name="connsiteX66" fmla="*/ 928202 w 981751"/>
              <a:gd name="connsiteY66" fmla="*/ 735039 h 838314"/>
              <a:gd name="connsiteX67" fmla="*/ 928202 w 981751"/>
              <a:gd name="connsiteY67" fmla="*/ 735039 h 838314"/>
              <a:gd name="connsiteX68" fmla="*/ 928202 w 981751"/>
              <a:gd name="connsiteY68" fmla="*/ 735039 h 838314"/>
              <a:gd name="connsiteX69" fmla="*/ 928202 w 981751"/>
              <a:gd name="connsiteY69" fmla="*/ 735039 h 838314"/>
              <a:gd name="connsiteX70" fmla="*/ 910352 w 981751"/>
              <a:gd name="connsiteY70" fmla="*/ 734401 h 838314"/>
              <a:gd name="connsiteX71" fmla="*/ 910352 w 981751"/>
              <a:gd name="connsiteY71" fmla="*/ 734401 h 838314"/>
              <a:gd name="connsiteX72" fmla="*/ 910352 w 981751"/>
              <a:gd name="connsiteY72" fmla="*/ 734401 h 838314"/>
              <a:gd name="connsiteX73" fmla="*/ 910352 w 981751"/>
              <a:gd name="connsiteY73" fmla="*/ 734401 h 838314"/>
              <a:gd name="connsiteX74" fmla="*/ 932027 w 981751"/>
              <a:gd name="connsiteY74" fmla="*/ 719739 h 838314"/>
              <a:gd name="connsiteX75" fmla="*/ 930752 w 981751"/>
              <a:gd name="connsiteY75" fmla="*/ 720376 h 838314"/>
              <a:gd name="connsiteX76" fmla="*/ 932664 w 981751"/>
              <a:gd name="connsiteY76" fmla="*/ 721014 h 838314"/>
              <a:gd name="connsiteX77" fmla="*/ 932027 w 981751"/>
              <a:gd name="connsiteY77" fmla="*/ 719739 h 838314"/>
              <a:gd name="connsiteX78" fmla="*/ 932027 w 981751"/>
              <a:gd name="connsiteY78" fmla="*/ 719739 h 838314"/>
              <a:gd name="connsiteX79" fmla="*/ 934577 w 981751"/>
              <a:gd name="connsiteY79" fmla="*/ 719739 h 838314"/>
              <a:gd name="connsiteX80" fmla="*/ 933302 w 981751"/>
              <a:gd name="connsiteY80" fmla="*/ 718464 h 838314"/>
              <a:gd name="connsiteX81" fmla="*/ 934577 w 981751"/>
              <a:gd name="connsiteY81" fmla="*/ 719739 h 838314"/>
              <a:gd name="connsiteX82" fmla="*/ 934577 w 981751"/>
              <a:gd name="connsiteY82" fmla="*/ 719739 h 838314"/>
              <a:gd name="connsiteX83" fmla="*/ 934577 w 981751"/>
              <a:gd name="connsiteY83" fmla="*/ 719739 h 838314"/>
              <a:gd name="connsiteX84" fmla="*/ 930115 w 981751"/>
              <a:gd name="connsiteY84" fmla="*/ 718464 h 838314"/>
              <a:gd name="connsiteX85" fmla="*/ 930115 w 981751"/>
              <a:gd name="connsiteY85" fmla="*/ 718464 h 838314"/>
              <a:gd name="connsiteX86" fmla="*/ 930115 w 981751"/>
              <a:gd name="connsiteY86" fmla="*/ 718464 h 838314"/>
              <a:gd name="connsiteX87" fmla="*/ 930115 w 981751"/>
              <a:gd name="connsiteY87" fmla="*/ 718464 h 838314"/>
              <a:gd name="connsiteX88" fmla="*/ 930115 w 981751"/>
              <a:gd name="connsiteY88" fmla="*/ 718464 h 838314"/>
              <a:gd name="connsiteX89" fmla="*/ 953702 w 981751"/>
              <a:gd name="connsiteY89" fmla="*/ 714001 h 838314"/>
              <a:gd name="connsiteX90" fmla="*/ 953702 w 981751"/>
              <a:gd name="connsiteY90" fmla="*/ 714001 h 838314"/>
              <a:gd name="connsiteX91" fmla="*/ 952427 w 981751"/>
              <a:gd name="connsiteY91" fmla="*/ 715914 h 838314"/>
              <a:gd name="connsiteX92" fmla="*/ 953702 w 981751"/>
              <a:gd name="connsiteY92" fmla="*/ 714001 h 838314"/>
              <a:gd name="connsiteX93" fmla="*/ 953702 w 981751"/>
              <a:gd name="connsiteY93" fmla="*/ 714001 h 838314"/>
              <a:gd name="connsiteX94" fmla="*/ 927564 w 981751"/>
              <a:gd name="connsiteY94" fmla="*/ 716551 h 838314"/>
              <a:gd name="connsiteX95" fmla="*/ 926289 w 981751"/>
              <a:gd name="connsiteY95" fmla="*/ 716551 h 838314"/>
              <a:gd name="connsiteX96" fmla="*/ 927564 w 981751"/>
              <a:gd name="connsiteY96" fmla="*/ 716551 h 838314"/>
              <a:gd name="connsiteX97" fmla="*/ 927564 w 981751"/>
              <a:gd name="connsiteY97" fmla="*/ 716551 h 838314"/>
              <a:gd name="connsiteX98" fmla="*/ 940952 w 981751"/>
              <a:gd name="connsiteY98" fmla="*/ 708264 h 838314"/>
              <a:gd name="connsiteX99" fmla="*/ 939039 w 981751"/>
              <a:gd name="connsiteY99" fmla="*/ 708264 h 838314"/>
              <a:gd name="connsiteX100" fmla="*/ 938402 w 981751"/>
              <a:gd name="connsiteY100" fmla="*/ 708901 h 838314"/>
              <a:gd name="connsiteX101" fmla="*/ 940952 w 981751"/>
              <a:gd name="connsiteY101" fmla="*/ 708264 h 838314"/>
              <a:gd name="connsiteX102" fmla="*/ 940952 w 981751"/>
              <a:gd name="connsiteY102" fmla="*/ 708264 h 838314"/>
              <a:gd name="connsiteX103" fmla="*/ 946052 w 981751"/>
              <a:gd name="connsiteY103" fmla="*/ 705714 h 838314"/>
              <a:gd name="connsiteX104" fmla="*/ 946052 w 981751"/>
              <a:gd name="connsiteY104" fmla="*/ 705714 h 838314"/>
              <a:gd name="connsiteX105" fmla="*/ 946052 w 981751"/>
              <a:gd name="connsiteY105" fmla="*/ 705714 h 838314"/>
              <a:gd name="connsiteX106" fmla="*/ 946052 w 981751"/>
              <a:gd name="connsiteY106" fmla="*/ 705714 h 838314"/>
              <a:gd name="connsiteX107" fmla="*/ 891864 w 981751"/>
              <a:gd name="connsiteY107" fmla="*/ 707626 h 838314"/>
              <a:gd name="connsiteX108" fmla="*/ 891864 w 981751"/>
              <a:gd name="connsiteY108" fmla="*/ 706351 h 838314"/>
              <a:gd name="connsiteX109" fmla="*/ 891864 w 981751"/>
              <a:gd name="connsiteY109" fmla="*/ 707626 h 838314"/>
              <a:gd name="connsiteX110" fmla="*/ 891864 w 981751"/>
              <a:gd name="connsiteY110" fmla="*/ 707626 h 838314"/>
              <a:gd name="connsiteX111" fmla="*/ 897602 w 981751"/>
              <a:gd name="connsiteY111" fmla="*/ 705714 h 838314"/>
              <a:gd name="connsiteX112" fmla="*/ 895689 w 981751"/>
              <a:gd name="connsiteY112" fmla="*/ 705714 h 838314"/>
              <a:gd name="connsiteX113" fmla="*/ 897602 w 981751"/>
              <a:gd name="connsiteY113" fmla="*/ 709539 h 838314"/>
              <a:gd name="connsiteX114" fmla="*/ 897602 w 981751"/>
              <a:gd name="connsiteY114" fmla="*/ 705714 h 838314"/>
              <a:gd name="connsiteX115" fmla="*/ 882302 w 981751"/>
              <a:gd name="connsiteY115" fmla="*/ 706351 h 838314"/>
              <a:gd name="connsiteX116" fmla="*/ 882302 w 981751"/>
              <a:gd name="connsiteY116" fmla="*/ 702526 h 838314"/>
              <a:gd name="connsiteX117" fmla="*/ 879114 w 981751"/>
              <a:gd name="connsiteY117" fmla="*/ 703164 h 838314"/>
              <a:gd name="connsiteX118" fmla="*/ 882302 w 981751"/>
              <a:gd name="connsiteY118" fmla="*/ 706351 h 838314"/>
              <a:gd name="connsiteX119" fmla="*/ 873377 w 981751"/>
              <a:gd name="connsiteY119" fmla="*/ 700614 h 838314"/>
              <a:gd name="connsiteX120" fmla="*/ 876564 w 981751"/>
              <a:gd name="connsiteY120" fmla="*/ 703801 h 838314"/>
              <a:gd name="connsiteX121" fmla="*/ 876564 w 981751"/>
              <a:gd name="connsiteY121" fmla="*/ 702526 h 838314"/>
              <a:gd name="connsiteX122" fmla="*/ 873377 w 981751"/>
              <a:gd name="connsiteY122" fmla="*/ 700614 h 838314"/>
              <a:gd name="connsiteX123" fmla="*/ 873377 w 981751"/>
              <a:gd name="connsiteY123" fmla="*/ 700614 h 838314"/>
              <a:gd name="connsiteX124" fmla="*/ 967727 w 981751"/>
              <a:gd name="connsiteY124" fmla="*/ 704439 h 838314"/>
              <a:gd name="connsiteX125" fmla="*/ 956252 w 981751"/>
              <a:gd name="connsiteY125" fmla="*/ 709539 h 838314"/>
              <a:gd name="connsiteX126" fmla="*/ 960077 w 981751"/>
              <a:gd name="connsiteY126" fmla="*/ 710176 h 838314"/>
              <a:gd name="connsiteX127" fmla="*/ 967727 w 981751"/>
              <a:gd name="connsiteY127" fmla="*/ 704439 h 838314"/>
              <a:gd name="connsiteX128" fmla="*/ 877839 w 981751"/>
              <a:gd name="connsiteY128" fmla="*/ 698701 h 838314"/>
              <a:gd name="connsiteX129" fmla="*/ 874014 w 981751"/>
              <a:gd name="connsiteY129" fmla="*/ 698701 h 838314"/>
              <a:gd name="connsiteX130" fmla="*/ 874014 w 981751"/>
              <a:gd name="connsiteY130" fmla="*/ 699976 h 838314"/>
              <a:gd name="connsiteX131" fmla="*/ 877839 w 981751"/>
              <a:gd name="connsiteY131" fmla="*/ 698701 h 838314"/>
              <a:gd name="connsiteX132" fmla="*/ 979202 w 981751"/>
              <a:gd name="connsiteY132" fmla="*/ 666189 h 838314"/>
              <a:gd name="connsiteX133" fmla="*/ 979840 w 981751"/>
              <a:gd name="connsiteY133" fmla="*/ 663001 h 838314"/>
              <a:gd name="connsiteX134" fmla="*/ 980477 w 981751"/>
              <a:gd name="connsiteY134" fmla="*/ 654714 h 838314"/>
              <a:gd name="connsiteX135" fmla="*/ 979202 w 981751"/>
              <a:gd name="connsiteY135" fmla="*/ 666189 h 838314"/>
              <a:gd name="connsiteX136" fmla="*/ 979202 w 981751"/>
              <a:gd name="connsiteY136" fmla="*/ 666189 h 838314"/>
              <a:gd name="connsiteX137" fmla="*/ 979840 w 981751"/>
              <a:gd name="connsiteY137" fmla="*/ 630489 h 838314"/>
              <a:gd name="connsiteX138" fmla="*/ 977289 w 981751"/>
              <a:gd name="connsiteY138" fmla="*/ 624114 h 838314"/>
              <a:gd name="connsiteX139" fmla="*/ 976014 w 981751"/>
              <a:gd name="connsiteY139" fmla="*/ 626664 h 838314"/>
              <a:gd name="connsiteX140" fmla="*/ 979840 w 981751"/>
              <a:gd name="connsiteY140" fmla="*/ 630489 h 838314"/>
              <a:gd name="connsiteX141" fmla="*/ 831302 w 981751"/>
              <a:gd name="connsiteY141" fmla="*/ 646426 h 838314"/>
              <a:gd name="connsiteX142" fmla="*/ 830027 w 981751"/>
              <a:gd name="connsiteY142" fmla="*/ 648339 h 838314"/>
              <a:gd name="connsiteX143" fmla="*/ 833214 w 981751"/>
              <a:gd name="connsiteY143" fmla="*/ 648976 h 838314"/>
              <a:gd name="connsiteX144" fmla="*/ 831302 w 981751"/>
              <a:gd name="connsiteY144" fmla="*/ 646426 h 838314"/>
              <a:gd name="connsiteX145" fmla="*/ 831302 w 981751"/>
              <a:gd name="connsiteY145" fmla="*/ 646426 h 838314"/>
              <a:gd name="connsiteX146" fmla="*/ 819827 w 981751"/>
              <a:gd name="connsiteY146" fmla="*/ 640051 h 838314"/>
              <a:gd name="connsiteX147" fmla="*/ 814089 w 981751"/>
              <a:gd name="connsiteY147" fmla="*/ 641964 h 838314"/>
              <a:gd name="connsiteX148" fmla="*/ 818552 w 981751"/>
              <a:gd name="connsiteY148" fmla="*/ 642601 h 838314"/>
              <a:gd name="connsiteX149" fmla="*/ 819827 w 981751"/>
              <a:gd name="connsiteY149" fmla="*/ 640051 h 838314"/>
              <a:gd name="connsiteX150" fmla="*/ 819827 w 981751"/>
              <a:gd name="connsiteY150" fmla="*/ 640051 h 838314"/>
              <a:gd name="connsiteX151" fmla="*/ 806439 w 981751"/>
              <a:gd name="connsiteY151" fmla="*/ 641326 h 838314"/>
              <a:gd name="connsiteX152" fmla="*/ 806439 w 981751"/>
              <a:gd name="connsiteY152" fmla="*/ 639414 h 838314"/>
              <a:gd name="connsiteX153" fmla="*/ 805802 w 981751"/>
              <a:gd name="connsiteY153" fmla="*/ 640051 h 838314"/>
              <a:gd name="connsiteX154" fmla="*/ 806439 w 981751"/>
              <a:gd name="connsiteY154" fmla="*/ 641326 h 838314"/>
              <a:gd name="connsiteX155" fmla="*/ 806439 w 981751"/>
              <a:gd name="connsiteY155" fmla="*/ 641326 h 838314"/>
              <a:gd name="connsiteX156" fmla="*/ 793052 w 981751"/>
              <a:gd name="connsiteY156" fmla="*/ 640689 h 838314"/>
              <a:gd name="connsiteX157" fmla="*/ 789227 w 981751"/>
              <a:gd name="connsiteY157" fmla="*/ 643239 h 838314"/>
              <a:gd name="connsiteX158" fmla="*/ 794326 w 981751"/>
              <a:gd name="connsiteY158" fmla="*/ 645789 h 838314"/>
              <a:gd name="connsiteX159" fmla="*/ 793052 w 981751"/>
              <a:gd name="connsiteY159" fmla="*/ 640689 h 838314"/>
              <a:gd name="connsiteX160" fmla="*/ 793052 w 981751"/>
              <a:gd name="connsiteY160" fmla="*/ 640689 h 838314"/>
              <a:gd name="connsiteX161" fmla="*/ 810902 w 981751"/>
              <a:gd name="connsiteY161" fmla="*/ 641326 h 838314"/>
              <a:gd name="connsiteX162" fmla="*/ 810264 w 981751"/>
              <a:gd name="connsiteY162" fmla="*/ 639414 h 838314"/>
              <a:gd name="connsiteX163" fmla="*/ 807076 w 981751"/>
              <a:gd name="connsiteY163" fmla="*/ 638776 h 838314"/>
              <a:gd name="connsiteX164" fmla="*/ 810902 w 981751"/>
              <a:gd name="connsiteY164" fmla="*/ 641326 h 838314"/>
              <a:gd name="connsiteX165" fmla="*/ 810902 w 981751"/>
              <a:gd name="connsiteY165" fmla="*/ 641326 h 838314"/>
              <a:gd name="connsiteX166" fmla="*/ 726751 w 981751"/>
              <a:gd name="connsiteY166" fmla="*/ 578851 h 838314"/>
              <a:gd name="connsiteX167" fmla="*/ 722927 w 981751"/>
              <a:gd name="connsiteY167" fmla="*/ 580764 h 838314"/>
              <a:gd name="connsiteX168" fmla="*/ 730576 w 981751"/>
              <a:gd name="connsiteY168" fmla="*/ 583314 h 838314"/>
              <a:gd name="connsiteX169" fmla="*/ 726751 w 981751"/>
              <a:gd name="connsiteY169" fmla="*/ 578851 h 838314"/>
              <a:gd name="connsiteX170" fmla="*/ 726751 w 981751"/>
              <a:gd name="connsiteY170" fmla="*/ 578851 h 838314"/>
              <a:gd name="connsiteX171" fmla="*/ 711451 w 981751"/>
              <a:gd name="connsiteY171" fmla="*/ 558451 h 838314"/>
              <a:gd name="connsiteX172" fmla="*/ 706351 w 981751"/>
              <a:gd name="connsiteY172" fmla="*/ 550801 h 838314"/>
              <a:gd name="connsiteX173" fmla="*/ 708264 w 981751"/>
              <a:gd name="connsiteY173" fmla="*/ 556539 h 838314"/>
              <a:gd name="connsiteX174" fmla="*/ 711451 w 981751"/>
              <a:gd name="connsiteY174" fmla="*/ 558451 h 838314"/>
              <a:gd name="connsiteX175" fmla="*/ 711451 w 981751"/>
              <a:gd name="connsiteY175" fmla="*/ 558451 h 838314"/>
              <a:gd name="connsiteX176" fmla="*/ 731214 w 981751"/>
              <a:gd name="connsiteY176" fmla="*/ 571201 h 838314"/>
              <a:gd name="connsiteX177" fmla="*/ 721652 w 981751"/>
              <a:gd name="connsiteY177" fmla="*/ 550801 h 838314"/>
              <a:gd name="connsiteX178" fmla="*/ 715277 w 981751"/>
              <a:gd name="connsiteY178" fmla="*/ 548888 h 838314"/>
              <a:gd name="connsiteX179" fmla="*/ 731214 w 981751"/>
              <a:gd name="connsiteY179" fmla="*/ 571201 h 838314"/>
              <a:gd name="connsiteX180" fmla="*/ 705714 w 981751"/>
              <a:gd name="connsiteY180" fmla="*/ 545701 h 838314"/>
              <a:gd name="connsiteX181" fmla="*/ 703802 w 981751"/>
              <a:gd name="connsiteY181" fmla="*/ 540601 h 838314"/>
              <a:gd name="connsiteX182" fmla="*/ 702527 w 981751"/>
              <a:gd name="connsiteY182" fmla="*/ 537414 h 838314"/>
              <a:gd name="connsiteX183" fmla="*/ 705714 w 981751"/>
              <a:gd name="connsiteY183" fmla="*/ 545701 h 838314"/>
              <a:gd name="connsiteX184" fmla="*/ 705714 w 981751"/>
              <a:gd name="connsiteY184" fmla="*/ 545701 h 838314"/>
              <a:gd name="connsiteX185" fmla="*/ 652164 w 981751"/>
              <a:gd name="connsiteY185" fmla="*/ 474301 h 838314"/>
              <a:gd name="connsiteX186" fmla="*/ 640689 w 981751"/>
              <a:gd name="connsiteY186" fmla="*/ 466013 h 838314"/>
              <a:gd name="connsiteX187" fmla="*/ 645151 w 981751"/>
              <a:gd name="connsiteY187" fmla="*/ 470476 h 838314"/>
              <a:gd name="connsiteX188" fmla="*/ 652164 w 981751"/>
              <a:gd name="connsiteY188" fmla="*/ 474301 h 838314"/>
              <a:gd name="connsiteX189" fmla="*/ 941589 w 981751"/>
              <a:gd name="connsiteY189" fmla="*/ 430951 h 838314"/>
              <a:gd name="connsiteX190" fmla="*/ 894414 w 981751"/>
              <a:gd name="connsiteY190" fmla="*/ 353175 h 838314"/>
              <a:gd name="connsiteX191" fmla="*/ 891864 w 981751"/>
              <a:gd name="connsiteY191" fmla="*/ 353175 h 838314"/>
              <a:gd name="connsiteX192" fmla="*/ 941589 w 981751"/>
              <a:gd name="connsiteY192" fmla="*/ 430951 h 838314"/>
              <a:gd name="connsiteX193" fmla="*/ 941589 w 981751"/>
              <a:gd name="connsiteY193" fmla="*/ 430951 h 838314"/>
              <a:gd name="connsiteX194" fmla="*/ 617101 w 981751"/>
              <a:gd name="connsiteY194" fmla="*/ 306001 h 838314"/>
              <a:gd name="connsiteX195" fmla="*/ 615189 w 981751"/>
              <a:gd name="connsiteY195" fmla="*/ 305363 h 838314"/>
              <a:gd name="connsiteX196" fmla="*/ 617101 w 981751"/>
              <a:gd name="connsiteY196" fmla="*/ 306001 h 838314"/>
              <a:gd name="connsiteX197" fmla="*/ 617101 w 981751"/>
              <a:gd name="connsiteY197" fmla="*/ 306001 h 838314"/>
              <a:gd name="connsiteX198" fmla="*/ 617101 w 981751"/>
              <a:gd name="connsiteY198" fmla="*/ 306001 h 838314"/>
              <a:gd name="connsiteX199" fmla="*/ 613276 w 981751"/>
              <a:gd name="connsiteY199" fmla="*/ 301538 h 838314"/>
              <a:gd name="connsiteX200" fmla="*/ 613276 w 981751"/>
              <a:gd name="connsiteY200" fmla="*/ 301538 h 838314"/>
              <a:gd name="connsiteX201" fmla="*/ 613276 w 981751"/>
              <a:gd name="connsiteY201" fmla="*/ 302813 h 838314"/>
              <a:gd name="connsiteX202" fmla="*/ 613276 w 981751"/>
              <a:gd name="connsiteY202" fmla="*/ 301538 h 838314"/>
              <a:gd name="connsiteX203" fmla="*/ 613276 w 981751"/>
              <a:gd name="connsiteY203" fmla="*/ 301538 h 838314"/>
              <a:gd name="connsiteX204" fmla="*/ 608176 w 981751"/>
              <a:gd name="connsiteY204" fmla="*/ 294525 h 838314"/>
              <a:gd name="connsiteX205" fmla="*/ 608176 w 981751"/>
              <a:gd name="connsiteY205" fmla="*/ 294525 h 838314"/>
              <a:gd name="connsiteX206" fmla="*/ 608176 w 981751"/>
              <a:gd name="connsiteY206" fmla="*/ 294525 h 838314"/>
              <a:gd name="connsiteX207" fmla="*/ 608176 w 981751"/>
              <a:gd name="connsiteY207" fmla="*/ 294525 h 838314"/>
              <a:gd name="connsiteX208" fmla="*/ 611364 w 981751"/>
              <a:gd name="connsiteY208" fmla="*/ 291976 h 838314"/>
              <a:gd name="connsiteX209" fmla="*/ 613276 w 981751"/>
              <a:gd name="connsiteY209" fmla="*/ 293251 h 838314"/>
              <a:gd name="connsiteX210" fmla="*/ 613276 w 981751"/>
              <a:gd name="connsiteY210" fmla="*/ 291976 h 838314"/>
              <a:gd name="connsiteX211" fmla="*/ 611364 w 981751"/>
              <a:gd name="connsiteY211" fmla="*/ 291976 h 838314"/>
              <a:gd name="connsiteX212" fmla="*/ 615189 w 981751"/>
              <a:gd name="connsiteY212" fmla="*/ 290063 h 838314"/>
              <a:gd name="connsiteX213" fmla="*/ 612639 w 981751"/>
              <a:gd name="connsiteY213" fmla="*/ 290700 h 838314"/>
              <a:gd name="connsiteX214" fmla="*/ 613276 w 981751"/>
              <a:gd name="connsiteY214" fmla="*/ 290700 h 838314"/>
              <a:gd name="connsiteX215" fmla="*/ 615189 w 981751"/>
              <a:gd name="connsiteY215" fmla="*/ 290063 h 838314"/>
              <a:gd name="connsiteX216" fmla="*/ 615189 w 981751"/>
              <a:gd name="connsiteY216" fmla="*/ 290063 h 838314"/>
              <a:gd name="connsiteX217" fmla="*/ 610726 w 981751"/>
              <a:gd name="connsiteY217" fmla="*/ 289425 h 838314"/>
              <a:gd name="connsiteX218" fmla="*/ 608814 w 981751"/>
              <a:gd name="connsiteY218" fmla="*/ 287513 h 838314"/>
              <a:gd name="connsiteX219" fmla="*/ 609451 w 981751"/>
              <a:gd name="connsiteY219" fmla="*/ 288150 h 838314"/>
              <a:gd name="connsiteX220" fmla="*/ 610726 w 981751"/>
              <a:gd name="connsiteY220" fmla="*/ 289425 h 838314"/>
              <a:gd name="connsiteX221" fmla="*/ 610726 w 981751"/>
              <a:gd name="connsiteY221" fmla="*/ 289425 h 838314"/>
              <a:gd name="connsiteX222" fmla="*/ 605626 w 981751"/>
              <a:gd name="connsiteY222" fmla="*/ 282413 h 838314"/>
              <a:gd name="connsiteX223" fmla="*/ 604351 w 981751"/>
              <a:gd name="connsiteY223" fmla="*/ 282413 h 838314"/>
              <a:gd name="connsiteX224" fmla="*/ 605626 w 981751"/>
              <a:gd name="connsiteY224" fmla="*/ 282413 h 838314"/>
              <a:gd name="connsiteX225" fmla="*/ 605626 w 981751"/>
              <a:gd name="connsiteY225" fmla="*/ 282413 h 838314"/>
              <a:gd name="connsiteX226" fmla="*/ 605626 w 981751"/>
              <a:gd name="connsiteY226" fmla="*/ 282413 h 838314"/>
              <a:gd name="connsiteX227" fmla="*/ 610726 w 981751"/>
              <a:gd name="connsiteY227" fmla="*/ 274126 h 838314"/>
              <a:gd name="connsiteX228" fmla="*/ 608176 w 981751"/>
              <a:gd name="connsiteY228" fmla="*/ 274126 h 838314"/>
              <a:gd name="connsiteX229" fmla="*/ 607539 w 981751"/>
              <a:gd name="connsiteY229" fmla="*/ 274763 h 838314"/>
              <a:gd name="connsiteX230" fmla="*/ 610726 w 981751"/>
              <a:gd name="connsiteY230" fmla="*/ 274126 h 838314"/>
              <a:gd name="connsiteX231" fmla="*/ 610726 w 981751"/>
              <a:gd name="connsiteY231" fmla="*/ 274126 h 838314"/>
              <a:gd name="connsiteX232" fmla="*/ 613276 w 981751"/>
              <a:gd name="connsiteY232" fmla="*/ 275400 h 838314"/>
              <a:gd name="connsiteX233" fmla="*/ 610089 w 981751"/>
              <a:gd name="connsiteY233" fmla="*/ 272213 h 838314"/>
              <a:gd name="connsiteX234" fmla="*/ 611364 w 981751"/>
              <a:gd name="connsiteY234" fmla="*/ 272850 h 838314"/>
              <a:gd name="connsiteX235" fmla="*/ 613276 w 981751"/>
              <a:gd name="connsiteY235" fmla="*/ 275400 h 838314"/>
              <a:gd name="connsiteX236" fmla="*/ 613276 w 981751"/>
              <a:gd name="connsiteY236" fmla="*/ 275400 h 838314"/>
              <a:gd name="connsiteX237" fmla="*/ 588414 w 981751"/>
              <a:gd name="connsiteY237" fmla="*/ 247988 h 838314"/>
              <a:gd name="connsiteX238" fmla="*/ 587139 w 981751"/>
              <a:gd name="connsiteY238" fmla="*/ 247350 h 838314"/>
              <a:gd name="connsiteX239" fmla="*/ 587139 w 981751"/>
              <a:gd name="connsiteY239" fmla="*/ 247988 h 838314"/>
              <a:gd name="connsiteX240" fmla="*/ 588414 w 981751"/>
              <a:gd name="connsiteY240" fmla="*/ 247988 h 838314"/>
              <a:gd name="connsiteX241" fmla="*/ 561001 w 981751"/>
              <a:gd name="connsiteY241" fmla="*/ 247988 h 838314"/>
              <a:gd name="connsiteX242" fmla="*/ 559089 w 981751"/>
              <a:gd name="connsiteY242" fmla="*/ 245438 h 838314"/>
              <a:gd name="connsiteX243" fmla="*/ 559726 w 981751"/>
              <a:gd name="connsiteY243" fmla="*/ 248626 h 838314"/>
              <a:gd name="connsiteX244" fmla="*/ 561001 w 981751"/>
              <a:gd name="connsiteY244" fmla="*/ 247988 h 838314"/>
              <a:gd name="connsiteX245" fmla="*/ 561001 w 981751"/>
              <a:gd name="connsiteY245" fmla="*/ 247988 h 838314"/>
              <a:gd name="connsiteX246" fmla="*/ 327038 w 981751"/>
              <a:gd name="connsiteY246" fmla="*/ 226950 h 838314"/>
              <a:gd name="connsiteX247" fmla="*/ 346163 w 981751"/>
              <a:gd name="connsiteY247" fmla="*/ 212288 h 838314"/>
              <a:gd name="connsiteX248" fmla="*/ 325126 w 981751"/>
              <a:gd name="connsiteY248" fmla="*/ 226313 h 838314"/>
              <a:gd name="connsiteX249" fmla="*/ 327038 w 981751"/>
              <a:gd name="connsiteY249" fmla="*/ 226950 h 838314"/>
              <a:gd name="connsiteX250" fmla="*/ 327038 w 981751"/>
              <a:gd name="connsiteY250" fmla="*/ 226950 h 838314"/>
              <a:gd name="connsiteX251" fmla="*/ 365288 w 981751"/>
              <a:gd name="connsiteY251" fmla="*/ 196350 h 838314"/>
              <a:gd name="connsiteX252" fmla="*/ 367201 w 981751"/>
              <a:gd name="connsiteY252" fmla="*/ 194438 h 838314"/>
              <a:gd name="connsiteX253" fmla="*/ 359551 w 981751"/>
              <a:gd name="connsiteY253" fmla="*/ 197625 h 838314"/>
              <a:gd name="connsiteX254" fmla="*/ 365288 w 981751"/>
              <a:gd name="connsiteY254" fmla="*/ 196350 h 838314"/>
              <a:gd name="connsiteX255" fmla="*/ 365288 w 981751"/>
              <a:gd name="connsiteY255" fmla="*/ 196350 h 838314"/>
              <a:gd name="connsiteX256" fmla="*/ 121125 w 981751"/>
              <a:gd name="connsiteY256" fmla="*/ 153000 h 838314"/>
              <a:gd name="connsiteX257" fmla="*/ 51000 w 981751"/>
              <a:gd name="connsiteY257" fmla="*/ 175313 h 838314"/>
              <a:gd name="connsiteX258" fmla="*/ 89250 w 981751"/>
              <a:gd name="connsiteY258" fmla="*/ 163838 h 838314"/>
              <a:gd name="connsiteX259" fmla="*/ 121125 w 981751"/>
              <a:gd name="connsiteY259" fmla="*/ 153000 h 838314"/>
              <a:gd name="connsiteX260" fmla="*/ 295801 w 981751"/>
              <a:gd name="connsiteY260" fmla="*/ 43987 h 838314"/>
              <a:gd name="connsiteX261" fmla="*/ 277313 w 981751"/>
              <a:gd name="connsiteY261" fmla="*/ 47175 h 838314"/>
              <a:gd name="connsiteX262" fmla="*/ 0 w 981751"/>
              <a:gd name="connsiteY262" fmla="*/ 92438 h 838314"/>
              <a:gd name="connsiteX263" fmla="*/ 29325 w 981751"/>
              <a:gd name="connsiteY263" fmla="*/ 158738 h 838314"/>
              <a:gd name="connsiteX264" fmla="*/ 31238 w 981751"/>
              <a:gd name="connsiteY264" fmla="*/ 159375 h 838314"/>
              <a:gd name="connsiteX265" fmla="*/ 24225 w 981751"/>
              <a:gd name="connsiteY265" fmla="*/ 186150 h 838314"/>
              <a:gd name="connsiteX266" fmla="*/ 44625 w 981751"/>
              <a:gd name="connsiteY266" fmla="*/ 176588 h 838314"/>
              <a:gd name="connsiteX267" fmla="*/ 66938 w 981751"/>
              <a:gd name="connsiteY267" fmla="*/ 156825 h 838314"/>
              <a:gd name="connsiteX268" fmla="*/ 105188 w 981751"/>
              <a:gd name="connsiteY268" fmla="*/ 155550 h 838314"/>
              <a:gd name="connsiteX269" fmla="*/ 149813 w 981751"/>
              <a:gd name="connsiteY269" fmla="*/ 139613 h 838314"/>
              <a:gd name="connsiteX270" fmla="*/ 180413 w 981751"/>
              <a:gd name="connsiteY270" fmla="*/ 144075 h 838314"/>
              <a:gd name="connsiteX271" fmla="*/ 173400 w 981751"/>
              <a:gd name="connsiteY271" fmla="*/ 155550 h 838314"/>
              <a:gd name="connsiteX272" fmla="*/ 228225 w 981751"/>
              <a:gd name="connsiteY272" fmla="*/ 174038 h 838314"/>
              <a:gd name="connsiteX273" fmla="*/ 276038 w 981751"/>
              <a:gd name="connsiteY273" fmla="*/ 196988 h 838314"/>
              <a:gd name="connsiteX274" fmla="*/ 287513 w 981751"/>
              <a:gd name="connsiteY274" fmla="*/ 222488 h 838314"/>
              <a:gd name="connsiteX275" fmla="*/ 322576 w 981751"/>
              <a:gd name="connsiteY275" fmla="*/ 214838 h 838314"/>
              <a:gd name="connsiteX276" fmla="*/ 406088 w 981751"/>
              <a:gd name="connsiteY276" fmla="*/ 146625 h 838314"/>
              <a:gd name="connsiteX277" fmla="*/ 437326 w 981751"/>
              <a:gd name="connsiteY277" fmla="*/ 147900 h 838314"/>
              <a:gd name="connsiteX278" fmla="*/ 562914 w 981751"/>
              <a:gd name="connsiteY278" fmla="*/ 242888 h 838314"/>
              <a:gd name="connsiteX279" fmla="*/ 588414 w 981751"/>
              <a:gd name="connsiteY279" fmla="*/ 237788 h 838314"/>
              <a:gd name="connsiteX280" fmla="*/ 615826 w 981751"/>
              <a:gd name="connsiteY280" fmla="*/ 273488 h 838314"/>
              <a:gd name="connsiteX281" fmla="*/ 620926 w 981751"/>
              <a:gd name="connsiteY281" fmla="*/ 330226 h 838314"/>
              <a:gd name="connsiteX282" fmla="*/ 612639 w 981751"/>
              <a:gd name="connsiteY282" fmla="*/ 365926 h 838314"/>
              <a:gd name="connsiteX283" fmla="*/ 616464 w 981751"/>
              <a:gd name="connsiteY283" fmla="*/ 383775 h 838314"/>
              <a:gd name="connsiteX284" fmla="*/ 638776 w 981751"/>
              <a:gd name="connsiteY284" fmla="*/ 429038 h 838314"/>
              <a:gd name="connsiteX285" fmla="*/ 627939 w 981751"/>
              <a:gd name="connsiteY285" fmla="*/ 393976 h 838314"/>
              <a:gd name="connsiteX286" fmla="*/ 657264 w 981751"/>
              <a:gd name="connsiteY286" fmla="*/ 393338 h 838314"/>
              <a:gd name="connsiteX287" fmla="*/ 659814 w 981751"/>
              <a:gd name="connsiteY287" fmla="*/ 418838 h 838314"/>
              <a:gd name="connsiteX288" fmla="*/ 644514 w 981751"/>
              <a:gd name="connsiteY288" fmla="*/ 458363 h 838314"/>
              <a:gd name="connsiteX289" fmla="*/ 698064 w 981751"/>
              <a:gd name="connsiteY289" fmla="*/ 531676 h 838314"/>
              <a:gd name="connsiteX290" fmla="*/ 717826 w 981751"/>
              <a:gd name="connsiteY290" fmla="*/ 532314 h 838314"/>
              <a:gd name="connsiteX291" fmla="*/ 701251 w 981751"/>
              <a:gd name="connsiteY291" fmla="*/ 510001 h 838314"/>
              <a:gd name="connsiteX292" fmla="*/ 721652 w 981751"/>
              <a:gd name="connsiteY292" fmla="*/ 512551 h 838314"/>
              <a:gd name="connsiteX293" fmla="*/ 733764 w 981751"/>
              <a:gd name="connsiteY293" fmla="*/ 504901 h 838314"/>
              <a:gd name="connsiteX294" fmla="*/ 728664 w 981751"/>
              <a:gd name="connsiteY294" fmla="*/ 545701 h 838314"/>
              <a:gd name="connsiteX295" fmla="*/ 756714 w 981751"/>
              <a:gd name="connsiteY295" fmla="*/ 567376 h 838314"/>
              <a:gd name="connsiteX296" fmla="*/ 775201 w 981751"/>
              <a:gd name="connsiteY296" fmla="*/ 617739 h 838314"/>
              <a:gd name="connsiteX297" fmla="*/ 800064 w 981751"/>
              <a:gd name="connsiteY297" fmla="*/ 633039 h 838314"/>
              <a:gd name="connsiteX298" fmla="*/ 832577 w 981751"/>
              <a:gd name="connsiteY298" fmla="*/ 641326 h 838314"/>
              <a:gd name="connsiteX299" fmla="*/ 877202 w 981751"/>
              <a:gd name="connsiteY299" fmla="*/ 697426 h 838314"/>
              <a:gd name="connsiteX300" fmla="*/ 900152 w 981751"/>
              <a:gd name="connsiteY300" fmla="*/ 709539 h 838314"/>
              <a:gd name="connsiteX301" fmla="*/ 868914 w 981751"/>
              <a:gd name="connsiteY301" fmla="*/ 711451 h 838314"/>
              <a:gd name="connsiteX302" fmla="*/ 882939 w 981751"/>
              <a:gd name="connsiteY302" fmla="*/ 727389 h 838314"/>
              <a:gd name="connsiteX303" fmla="*/ 933939 w 981751"/>
              <a:gd name="connsiteY303" fmla="*/ 710814 h 838314"/>
              <a:gd name="connsiteX304" fmla="*/ 958802 w 981751"/>
              <a:gd name="connsiteY304" fmla="*/ 696789 h 838314"/>
              <a:gd name="connsiteX305" fmla="*/ 981752 w 981751"/>
              <a:gd name="connsiteY305" fmla="*/ 615826 h 838314"/>
              <a:gd name="connsiteX306" fmla="*/ 970277 w 981751"/>
              <a:gd name="connsiteY306" fmla="*/ 490238 h 838314"/>
              <a:gd name="connsiteX307" fmla="*/ 967727 w 981751"/>
              <a:gd name="connsiteY307" fmla="*/ 477488 h 838314"/>
              <a:gd name="connsiteX308" fmla="*/ 905889 w 981751"/>
              <a:gd name="connsiteY308" fmla="*/ 374851 h 838314"/>
              <a:gd name="connsiteX309" fmla="*/ 852977 w 981751"/>
              <a:gd name="connsiteY309" fmla="*/ 300263 h 838314"/>
              <a:gd name="connsiteX310" fmla="*/ 823014 w 981751"/>
              <a:gd name="connsiteY310" fmla="*/ 239700 h 838314"/>
              <a:gd name="connsiteX311" fmla="*/ 847877 w 981751"/>
              <a:gd name="connsiteY311" fmla="*/ 260738 h 838314"/>
              <a:gd name="connsiteX312" fmla="*/ 852977 w 981751"/>
              <a:gd name="connsiteY312" fmla="*/ 256913 h 838314"/>
              <a:gd name="connsiteX313" fmla="*/ 864452 w 981751"/>
              <a:gd name="connsiteY313" fmla="*/ 310463 h 838314"/>
              <a:gd name="connsiteX314" fmla="*/ 893139 w 981751"/>
              <a:gd name="connsiteY314" fmla="*/ 350626 h 838314"/>
              <a:gd name="connsiteX315" fmla="*/ 865089 w 981751"/>
              <a:gd name="connsiteY315" fmla="*/ 296438 h 838314"/>
              <a:gd name="connsiteX316" fmla="*/ 866364 w 981751"/>
              <a:gd name="connsiteY316" fmla="*/ 270938 h 838314"/>
              <a:gd name="connsiteX317" fmla="*/ 783489 w 981751"/>
              <a:gd name="connsiteY317" fmla="*/ 170213 h 838314"/>
              <a:gd name="connsiteX318" fmla="*/ 763726 w 981751"/>
              <a:gd name="connsiteY318" fmla="*/ 138337 h 838314"/>
              <a:gd name="connsiteX319" fmla="*/ 736951 w 981751"/>
              <a:gd name="connsiteY319" fmla="*/ 84788 h 838314"/>
              <a:gd name="connsiteX320" fmla="*/ 719101 w 981751"/>
              <a:gd name="connsiteY320" fmla="*/ 39525 h 838314"/>
              <a:gd name="connsiteX321" fmla="*/ 705076 w 981751"/>
              <a:gd name="connsiteY321" fmla="*/ 23587 h 838314"/>
              <a:gd name="connsiteX322" fmla="*/ 701889 w 981751"/>
              <a:gd name="connsiteY322" fmla="*/ 3188 h 838314"/>
              <a:gd name="connsiteX323" fmla="*/ 701251 w 981751"/>
              <a:gd name="connsiteY323" fmla="*/ 2550 h 838314"/>
              <a:gd name="connsiteX324" fmla="*/ 656626 w 981751"/>
              <a:gd name="connsiteY324" fmla="*/ 0 h 838314"/>
              <a:gd name="connsiteX325" fmla="*/ 639414 w 981751"/>
              <a:gd name="connsiteY325" fmla="*/ 13387 h 838314"/>
              <a:gd name="connsiteX326" fmla="*/ 629214 w 981751"/>
              <a:gd name="connsiteY326" fmla="*/ 63112 h 838314"/>
              <a:gd name="connsiteX327" fmla="*/ 619651 w 981751"/>
              <a:gd name="connsiteY327" fmla="*/ 40163 h 838314"/>
              <a:gd name="connsiteX328" fmla="*/ 316838 w 981751"/>
              <a:gd name="connsiteY328" fmla="*/ 77775 h 838314"/>
              <a:gd name="connsiteX329" fmla="*/ 295801 w 981751"/>
              <a:gd name="connsiteY329" fmla="*/ 43987 h 838314"/>
              <a:gd name="connsiteX330" fmla="*/ 295801 w 981751"/>
              <a:gd name="connsiteY330" fmla="*/ 43987 h 838314"/>
              <a:gd name="connsiteX331" fmla="*/ 295801 w 981751"/>
              <a:gd name="connsiteY331" fmla="*/ 43987 h 83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981751" h="838314">
                <a:moveTo>
                  <a:pt x="769464" y="829389"/>
                </a:moveTo>
                <a:lnTo>
                  <a:pt x="768189" y="829389"/>
                </a:lnTo>
                <a:lnTo>
                  <a:pt x="769464" y="829389"/>
                </a:lnTo>
                <a:lnTo>
                  <a:pt x="769464" y="829389"/>
                </a:lnTo>
                <a:lnTo>
                  <a:pt x="769464" y="829389"/>
                </a:lnTo>
                <a:close/>
                <a:moveTo>
                  <a:pt x="763089" y="828752"/>
                </a:moveTo>
                <a:lnTo>
                  <a:pt x="763089" y="828752"/>
                </a:lnTo>
                <a:lnTo>
                  <a:pt x="763089" y="828752"/>
                </a:lnTo>
                <a:lnTo>
                  <a:pt x="763089" y="828752"/>
                </a:lnTo>
                <a:close/>
                <a:moveTo>
                  <a:pt x="764364" y="828114"/>
                </a:moveTo>
                <a:lnTo>
                  <a:pt x="764364" y="828114"/>
                </a:lnTo>
                <a:lnTo>
                  <a:pt x="764364" y="828114"/>
                </a:lnTo>
                <a:lnTo>
                  <a:pt x="764364" y="828114"/>
                </a:lnTo>
                <a:close/>
                <a:moveTo>
                  <a:pt x="677026" y="837676"/>
                </a:moveTo>
                <a:lnTo>
                  <a:pt x="677026" y="837676"/>
                </a:lnTo>
                <a:lnTo>
                  <a:pt x="677026" y="837676"/>
                </a:lnTo>
                <a:lnTo>
                  <a:pt x="677026" y="837676"/>
                </a:lnTo>
                <a:close/>
                <a:moveTo>
                  <a:pt x="675751" y="838314"/>
                </a:moveTo>
                <a:lnTo>
                  <a:pt x="675751" y="838314"/>
                </a:lnTo>
                <a:lnTo>
                  <a:pt x="675751" y="838314"/>
                </a:lnTo>
                <a:lnTo>
                  <a:pt x="675751" y="838314"/>
                </a:lnTo>
                <a:close/>
                <a:moveTo>
                  <a:pt x="676389" y="837676"/>
                </a:moveTo>
                <a:lnTo>
                  <a:pt x="676389" y="837676"/>
                </a:lnTo>
                <a:lnTo>
                  <a:pt x="676389" y="837676"/>
                </a:lnTo>
                <a:lnTo>
                  <a:pt x="676389" y="837676"/>
                </a:lnTo>
                <a:close/>
                <a:moveTo>
                  <a:pt x="670014" y="838314"/>
                </a:moveTo>
                <a:lnTo>
                  <a:pt x="670014" y="838314"/>
                </a:lnTo>
                <a:lnTo>
                  <a:pt x="670014" y="838314"/>
                </a:lnTo>
                <a:lnTo>
                  <a:pt x="670014" y="838314"/>
                </a:lnTo>
                <a:close/>
                <a:moveTo>
                  <a:pt x="852339" y="797514"/>
                </a:moveTo>
                <a:lnTo>
                  <a:pt x="852339" y="797514"/>
                </a:lnTo>
                <a:lnTo>
                  <a:pt x="852339" y="798789"/>
                </a:lnTo>
                <a:lnTo>
                  <a:pt x="852339" y="797514"/>
                </a:lnTo>
                <a:close/>
                <a:moveTo>
                  <a:pt x="869552" y="793051"/>
                </a:moveTo>
                <a:lnTo>
                  <a:pt x="869552" y="791776"/>
                </a:lnTo>
                <a:lnTo>
                  <a:pt x="868277" y="793689"/>
                </a:lnTo>
                <a:lnTo>
                  <a:pt x="869552" y="793051"/>
                </a:lnTo>
                <a:lnTo>
                  <a:pt x="869552" y="793051"/>
                </a:lnTo>
                <a:close/>
                <a:moveTo>
                  <a:pt x="863814" y="792414"/>
                </a:moveTo>
                <a:lnTo>
                  <a:pt x="861264" y="789864"/>
                </a:lnTo>
                <a:lnTo>
                  <a:pt x="860627" y="790502"/>
                </a:lnTo>
                <a:lnTo>
                  <a:pt x="863814" y="792414"/>
                </a:lnTo>
                <a:lnTo>
                  <a:pt x="863814" y="792414"/>
                </a:lnTo>
                <a:close/>
                <a:moveTo>
                  <a:pt x="861902" y="796877"/>
                </a:moveTo>
                <a:lnTo>
                  <a:pt x="854252" y="786676"/>
                </a:lnTo>
                <a:lnTo>
                  <a:pt x="858714" y="794964"/>
                </a:lnTo>
                <a:lnTo>
                  <a:pt x="861902" y="796877"/>
                </a:lnTo>
                <a:lnTo>
                  <a:pt x="861902" y="796877"/>
                </a:lnTo>
                <a:close/>
                <a:moveTo>
                  <a:pt x="922464" y="759264"/>
                </a:moveTo>
                <a:lnTo>
                  <a:pt x="922464" y="761814"/>
                </a:lnTo>
                <a:lnTo>
                  <a:pt x="923740" y="760539"/>
                </a:lnTo>
                <a:lnTo>
                  <a:pt x="922464" y="759264"/>
                </a:lnTo>
                <a:close/>
                <a:moveTo>
                  <a:pt x="931389" y="752889"/>
                </a:moveTo>
                <a:lnTo>
                  <a:pt x="933302" y="749701"/>
                </a:lnTo>
                <a:lnTo>
                  <a:pt x="931389" y="752889"/>
                </a:lnTo>
                <a:lnTo>
                  <a:pt x="931389" y="752889"/>
                </a:lnTo>
                <a:lnTo>
                  <a:pt x="931389" y="752889"/>
                </a:lnTo>
                <a:close/>
                <a:moveTo>
                  <a:pt x="933302" y="746514"/>
                </a:moveTo>
                <a:lnTo>
                  <a:pt x="933302" y="746514"/>
                </a:lnTo>
                <a:lnTo>
                  <a:pt x="933302" y="746514"/>
                </a:lnTo>
                <a:lnTo>
                  <a:pt x="933302" y="746514"/>
                </a:lnTo>
                <a:close/>
                <a:moveTo>
                  <a:pt x="921827" y="744601"/>
                </a:moveTo>
                <a:lnTo>
                  <a:pt x="921827" y="744601"/>
                </a:lnTo>
                <a:lnTo>
                  <a:pt x="921827" y="744601"/>
                </a:lnTo>
                <a:lnTo>
                  <a:pt x="921827" y="744601"/>
                </a:lnTo>
                <a:close/>
                <a:moveTo>
                  <a:pt x="928202" y="735039"/>
                </a:moveTo>
                <a:lnTo>
                  <a:pt x="928202" y="735039"/>
                </a:lnTo>
                <a:lnTo>
                  <a:pt x="928202" y="735039"/>
                </a:lnTo>
                <a:lnTo>
                  <a:pt x="928202" y="735039"/>
                </a:lnTo>
                <a:lnTo>
                  <a:pt x="928202" y="735039"/>
                </a:lnTo>
                <a:close/>
                <a:moveTo>
                  <a:pt x="910352" y="734401"/>
                </a:moveTo>
                <a:lnTo>
                  <a:pt x="910352" y="734401"/>
                </a:lnTo>
                <a:lnTo>
                  <a:pt x="910352" y="734401"/>
                </a:lnTo>
                <a:lnTo>
                  <a:pt x="910352" y="734401"/>
                </a:lnTo>
                <a:close/>
                <a:moveTo>
                  <a:pt x="932027" y="719739"/>
                </a:moveTo>
                <a:lnTo>
                  <a:pt x="930752" y="720376"/>
                </a:lnTo>
                <a:lnTo>
                  <a:pt x="932664" y="721014"/>
                </a:lnTo>
                <a:lnTo>
                  <a:pt x="932027" y="719739"/>
                </a:lnTo>
                <a:lnTo>
                  <a:pt x="932027" y="719739"/>
                </a:lnTo>
                <a:close/>
                <a:moveTo>
                  <a:pt x="934577" y="719739"/>
                </a:moveTo>
                <a:lnTo>
                  <a:pt x="933302" y="718464"/>
                </a:lnTo>
                <a:lnTo>
                  <a:pt x="934577" y="719739"/>
                </a:lnTo>
                <a:lnTo>
                  <a:pt x="934577" y="719739"/>
                </a:lnTo>
                <a:lnTo>
                  <a:pt x="934577" y="719739"/>
                </a:lnTo>
                <a:close/>
                <a:moveTo>
                  <a:pt x="930115" y="718464"/>
                </a:moveTo>
                <a:lnTo>
                  <a:pt x="930115" y="718464"/>
                </a:lnTo>
                <a:lnTo>
                  <a:pt x="930115" y="718464"/>
                </a:lnTo>
                <a:lnTo>
                  <a:pt x="930115" y="718464"/>
                </a:lnTo>
                <a:lnTo>
                  <a:pt x="930115" y="718464"/>
                </a:lnTo>
                <a:close/>
                <a:moveTo>
                  <a:pt x="953702" y="714001"/>
                </a:moveTo>
                <a:lnTo>
                  <a:pt x="953702" y="714001"/>
                </a:lnTo>
                <a:lnTo>
                  <a:pt x="952427" y="715914"/>
                </a:lnTo>
                <a:lnTo>
                  <a:pt x="953702" y="714001"/>
                </a:lnTo>
                <a:lnTo>
                  <a:pt x="953702" y="714001"/>
                </a:lnTo>
                <a:close/>
                <a:moveTo>
                  <a:pt x="927564" y="716551"/>
                </a:moveTo>
                <a:lnTo>
                  <a:pt x="926289" y="716551"/>
                </a:lnTo>
                <a:lnTo>
                  <a:pt x="927564" y="716551"/>
                </a:lnTo>
                <a:lnTo>
                  <a:pt x="927564" y="716551"/>
                </a:lnTo>
                <a:close/>
                <a:moveTo>
                  <a:pt x="940952" y="708264"/>
                </a:moveTo>
                <a:lnTo>
                  <a:pt x="939039" y="708264"/>
                </a:lnTo>
                <a:lnTo>
                  <a:pt x="938402" y="708901"/>
                </a:lnTo>
                <a:lnTo>
                  <a:pt x="940952" y="708264"/>
                </a:lnTo>
                <a:lnTo>
                  <a:pt x="940952" y="708264"/>
                </a:lnTo>
                <a:close/>
                <a:moveTo>
                  <a:pt x="946052" y="705714"/>
                </a:moveTo>
                <a:lnTo>
                  <a:pt x="946052" y="705714"/>
                </a:lnTo>
                <a:lnTo>
                  <a:pt x="946052" y="705714"/>
                </a:lnTo>
                <a:lnTo>
                  <a:pt x="946052" y="705714"/>
                </a:lnTo>
                <a:close/>
                <a:moveTo>
                  <a:pt x="891864" y="707626"/>
                </a:moveTo>
                <a:lnTo>
                  <a:pt x="891864" y="706351"/>
                </a:lnTo>
                <a:lnTo>
                  <a:pt x="891864" y="707626"/>
                </a:lnTo>
                <a:lnTo>
                  <a:pt x="891864" y="707626"/>
                </a:lnTo>
                <a:close/>
                <a:moveTo>
                  <a:pt x="897602" y="705714"/>
                </a:moveTo>
                <a:lnTo>
                  <a:pt x="895689" y="705714"/>
                </a:lnTo>
                <a:lnTo>
                  <a:pt x="897602" y="709539"/>
                </a:lnTo>
                <a:lnTo>
                  <a:pt x="897602" y="705714"/>
                </a:lnTo>
                <a:close/>
                <a:moveTo>
                  <a:pt x="882302" y="706351"/>
                </a:moveTo>
                <a:lnTo>
                  <a:pt x="882302" y="702526"/>
                </a:lnTo>
                <a:lnTo>
                  <a:pt x="879114" y="703164"/>
                </a:lnTo>
                <a:lnTo>
                  <a:pt x="882302" y="706351"/>
                </a:lnTo>
                <a:close/>
                <a:moveTo>
                  <a:pt x="873377" y="700614"/>
                </a:moveTo>
                <a:lnTo>
                  <a:pt x="876564" y="703801"/>
                </a:lnTo>
                <a:lnTo>
                  <a:pt x="876564" y="702526"/>
                </a:lnTo>
                <a:lnTo>
                  <a:pt x="873377" y="700614"/>
                </a:lnTo>
                <a:lnTo>
                  <a:pt x="873377" y="700614"/>
                </a:lnTo>
                <a:close/>
                <a:moveTo>
                  <a:pt x="967727" y="704439"/>
                </a:moveTo>
                <a:lnTo>
                  <a:pt x="956252" y="709539"/>
                </a:lnTo>
                <a:lnTo>
                  <a:pt x="960077" y="710176"/>
                </a:lnTo>
                <a:lnTo>
                  <a:pt x="967727" y="704439"/>
                </a:lnTo>
                <a:close/>
                <a:moveTo>
                  <a:pt x="877839" y="698701"/>
                </a:moveTo>
                <a:lnTo>
                  <a:pt x="874014" y="698701"/>
                </a:lnTo>
                <a:lnTo>
                  <a:pt x="874014" y="699976"/>
                </a:lnTo>
                <a:lnTo>
                  <a:pt x="877839" y="698701"/>
                </a:lnTo>
                <a:close/>
                <a:moveTo>
                  <a:pt x="979202" y="666189"/>
                </a:moveTo>
                <a:lnTo>
                  <a:pt x="979840" y="663001"/>
                </a:lnTo>
                <a:lnTo>
                  <a:pt x="980477" y="654714"/>
                </a:lnTo>
                <a:lnTo>
                  <a:pt x="979202" y="666189"/>
                </a:lnTo>
                <a:lnTo>
                  <a:pt x="979202" y="666189"/>
                </a:lnTo>
                <a:close/>
                <a:moveTo>
                  <a:pt x="979840" y="630489"/>
                </a:moveTo>
                <a:lnTo>
                  <a:pt x="977289" y="624114"/>
                </a:lnTo>
                <a:lnTo>
                  <a:pt x="976014" y="626664"/>
                </a:lnTo>
                <a:lnTo>
                  <a:pt x="979840" y="630489"/>
                </a:lnTo>
                <a:close/>
                <a:moveTo>
                  <a:pt x="831302" y="646426"/>
                </a:moveTo>
                <a:lnTo>
                  <a:pt x="830027" y="648339"/>
                </a:lnTo>
                <a:lnTo>
                  <a:pt x="833214" y="648976"/>
                </a:lnTo>
                <a:lnTo>
                  <a:pt x="831302" y="646426"/>
                </a:lnTo>
                <a:lnTo>
                  <a:pt x="831302" y="646426"/>
                </a:lnTo>
                <a:close/>
                <a:moveTo>
                  <a:pt x="819827" y="640051"/>
                </a:moveTo>
                <a:lnTo>
                  <a:pt x="814089" y="641964"/>
                </a:lnTo>
                <a:lnTo>
                  <a:pt x="818552" y="642601"/>
                </a:lnTo>
                <a:lnTo>
                  <a:pt x="819827" y="640051"/>
                </a:lnTo>
                <a:lnTo>
                  <a:pt x="819827" y="640051"/>
                </a:lnTo>
                <a:close/>
                <a:moveTo>
                  <a:pt x="806439" y="641326"/>
                </a:moveTo>
                <a:lnTo>
                  <a:pt x="806439" y="639414"/>
                </a:lnTo>
                <a:lnTo>
                  <a:pt x="805802" y="640051"/>
                </a:lnTo>
                <a:lnTo>
                  <a:pt x="806439" y="641326"/>
                </a:lnTo>
                <a:lnTo>
                  <a:pt x="806439" y="641326"/>
                </a:lnTo>
                <a:close/>
                <a:moveTo>
                  <a:pt x="793052" y="640689"/>
                </a:moveTo>
                <a:lnTo>
                  <a:pt x="789227" y="643239"/>
                </a:lnTo>
                <a:lnTo>
                  <a:pt x="794326" y="645789"/>
                </a:lnTo>
                <a:lnTo>
                  <a:pt x="793052" y="640689"/>
                </a:lnTo>
                <a:lnTo>
                  <a:pt x="793052" y="640689"/>
                </a:lnTo>
                <a:close/>
                <a:moveTo>
                  <a:pt x="810902" y="641326"/>
                </a:moveTo>
                <a:lnTo>
                  <a:pt x="810264" y="639414"/>
                </a:lnTo>
                <a:lnTo>
                  <a:pt x="807076" y="638776"/>
                </a:lnTo>
                <a:lnTo>
                  <a:pt x="810902" y="641326"/>
                </a:lnTo>
                <a:lnTo>
                  <a:pt x="810902" y="641326"/>
                </a:lnTo>
                <a:close/>
                <a:moveTo>
                  <a:pt x="726751" y="578851"/>
                </a:moveTo>
                <a:lnTo>
                  <a:pt x="722927" y="580764"/>
                </a:lnTo>
                <a:lnTo>
                  <a:pt x="730576" y="583314"/>
                </a:lnTo>
                <a:lnTo>
                  <a:pt x="726751" y="578851"/>
                </a:lnTo>
                <a:lnTo>
                  <a:pt x="726751" y="578851"/>
                </a:lnTo>
                <a:close/>
                <a:moveTo>
                  <a:pt x="711451" y="558451"/>
                </a:moveTo>
                <a:lnTo>
                  <a:pt x="706351" y="550801"/>
                </a:lnTo>
                <a:lnTo>
                  <a:pt x="708264" y="556539"/>
                </a:lnTo>
                <a:lnTo>
                  <a:pt x="711451" y="558451"/>
                </a:lnTo>
                <a:lnTo>
                  <a:pt x="711451" y="558451"/>
                </a:lnTo>
                <a:close/>
                <a:moveTo>
                  <a:pt x="731214" y="571201"/>
                </a:moveTo>
                <a:lnTo>
                  <a:pt x="721652" y="550801"/>
                </a:lnTo>
                <a:lnTo>
                  <a:pt x="715277" y="548888"/>
                </a:lnTo>
                <a:lnTo>
                  <a:pt x="731214" y="571201"/>
                </a:lnTo>
                <a:close/>
                <a:moveTo>
                  <a:pt x="705714" y="545701"/>
                </a:moveTo>
                <a:lnTo>
                  <a:pt x="703802" y="540601"/>
                </a:lnTo>
                <a:lnTo>
                  <a:pt x="702527" y="537414"/>
                </a:lnTo>
                <a:lnTo>
                  <a:pt x="705714" y="545701"/>
                </a:lnTo>
                <a:lnTo>
                  <a:pt x="705714" y="545701"/>
                </a:lnTo>
                <a:close/>
                <a:moveTo>
                  <a:pt x="652164" y="474301"/>
                </a:moveTo>
                <a:lnTo>
                  <a:pt x="640689" y="466013"/>
                </a:lnTo>
                <a:lnTo>
                  <a:pt x="645151" y="470476"/>
                </a:lnTo>
                <a:lnTo>
                  <a:pt x="652164" y="474301"/>
                </a:lnTo>
                <a:close/>
                <a:moveTo>
                  <a:pt x="941589" y="430951"/>
                </a:moveTo>
                <a:lnTo>
                  <a:pt x="894414" y="353175"/>
                </a:lnTo>
                <a:lnTo>
                  <a:pt x="891864" y="353175"/>
                </a:lnTo>
                <a:lnTo>
                  <a:pt x="941589" y="430951"/>
                </a:lnTo>
                <a:lnTo>
                  <a:pt x="941589" y="430951"/>
                </a:lnTo>
                <a:close/>
                <a:moveTo>
                  <a:pt x="617101" y="306001"/>
                </a:moveTo>
                <a:lnTo>
                  <a:pt x="615189" y="305363"/>
                </a:lnTo>
                <a:lnTo>
                  <a:pt x="617101" y="306001"/>
                </a:lnTo>
                <a:lnTo>
                  <a:pt x="617101" y="306001"/>
                </a:lnTo>
                <a:lnTo>
                  <a:pt x="617101" y="306001"/>
                </a:lnTo>
                <a:close/>
                <a:moveTo>
                  <a:pt x="613276" y="301538"/>
                </a:moveTo>
                <a:lnTo>
                  <a:pt x="613276" y="301538"/>
                </a:lnTo>
                <a:lnTo>
                  <a:pt x="613276" y="302813"/>
                </a:lnTo>
                <a:lnTo>
                  <a:pt x="613276" y="301538"/>
                </a:lnTo>
                <a:lnTo>
                  <a:pt x="613276" y="301538"/>
                </a:lnTo>
                <a:close/>
                <a:moveTo>
                  <a:pt x="608176" y="294525"/>
                </a:moveTo>
                <a:lnTo>
                  <a:pt x="608176" y="294525"/>
                </a:lnTo>
                <a:lnTo>
                  <a:pt x="608176" y="294525"/>
                </a:lnTo>
                <a:lnTo>
                  <a:pt x="608176" y="294525"/>
                </a:lnTo>
                <a:close/>
                <a:moveTo>
                  <a:pt x="611364" y="291976"/>
                </a:moveTo>
                <a:lnTo>
                  <a:pt x="613276" y="293251"/>
                </a:lnTo>
                <a:lnTo>
                  <a:pt x="613276" y="291976"/>
                </a:lnTo>
                <a:lnTo>
                  <a:pt x="611364" y="291976"/>
                </a:lnTo>
                <a:close/>
                <a:moveTo>
                  <a:pt x="615189" y="290063"/>
                </a:moveTo>
                <a:lnTo>
                  <a:pt x="612639" y="290700"/>
                </a:lnTo>
                <a:lnTo>
                  <a:pt x="613276" y="290700"/>
                </a:lnTo>
                <a:lnTo>
                  <a:pt x="615189" y="290063"/>
                </a:lnTo>
                <a:lnTo>
                  <a:pt x="615189" y="290063"/>
                </a:lnTo>
                <a:close/>
                <a:moveTo>
                  <a:pt x="610726" y="289425"/>
                </a:moveTo>
                <a:lnTo>
                  <a:pt x="608814" y="287513"/>
                </a:lnTo>
                <a:lnTo>
                  <a:pt x="609451" y="288150"/>
                </a:lnTo>
                <a:lnTo>
                  <a:pt x="610726" y="289425"/>
                </a:lnTo>
                <a:lnTo>
                  <a:pt x="610726" y="289425"/>
                </a:lnTo>
                <a:close/>
                <a:moveTo>
                  <a:pt x="605626" y="282413"/>
                </a:moveTo>
                <a:lnTo>
                  <a:pt x="604351" y="282413"/>
                </a:lnTo>
                <a:lnTo>
                  <a:pt x="605626" y="282413"/>
                </a:lnTo>
                <a:lnTo>
                  <a:pt x="605626" y="282413"/>
                </a:lnTo>
                <a:lnTo>
                  <a:pt x="605626" y="282413"/>
                </a:lnTo>
                <a:close/>
                <a:moveTo>
                  <a:pt x="610726" y="274126"/>
                </a:moveTo>
                <a:lnTo>
                  <a:pt x="608176" y="274126"/>
                </a:lnTo>
                <a:lnTo>
                  <a:pt x="607539" y="274763"/>
                </a:lnTo>
                <a:lnTo>
                  <a:pt x="610726" y="274126"/>
                </a:lnTo>
                <a:lnTo>
                  <a:pt x="610726" y="274126"/>
                </a:lnTo>
                <a:close/>
                <a:moveTo>
                  <a:pt x="613276" y="275400"/>
                </a:moveTo>
                <a:lnTo>
                  <a:pt x="610089" y="272213"/>
                </a:lnTo>
                <a:lnTo>
                  <a:pt x="611364" y="272850"/>
                </a:lnTo>
                <a:lnTo>
                  <a:pt x="613276" y="275400"/>
                </a:lnTo>
                <a:lnTo>
                  <a:pt x="613276" y="275400"/>
                </a:lnTo>
                <a:close/>
                <a:moveTo>
                  <a:pt x="588414" y="247988"/>
                </a:moveTo>
                <a:lnTo>
                  <a:pt x="587139" y="247350"/>
                </a:lnTo>
                <a:lnTo>
                  <a:pt x="587139" y="247988"/>
                </a:lnTo>
                <a:lnTo>
                  <a:pt x="588414" y="247988"/>
                </a:lnTo>
                <a:close/>
                <a:moveTo>
                  <a:pt x="561001" y="247988"/>
                </a:moveTo>
                <a:lnTo>
                  <a:pt x="559089" y="245438"/>
                </a:lnTo>
                <a:lnTo>
                  <a:pt x="559726" y="248626"/>
                </a:lnTo>
                <a:lnTo>
                  <a:pt x="561001" y="247988"/>
                </a:lnTo>
                <a:lnTo>
                  <a:pt x="561001" y="247988"/>
                </a:lnTo>
                <a:close/>
                <a:moveTo>
                  <a:pt x="327038" y="226950"/>
                </a:moveTo>
                <a:lnTo>
                  <a:pt x="346163" y="212288"/>
                </a:lnTo>
                <a:lnTo>
                  <a:pt x="325126" y="226313"/>
                </a:lnTo>
                <a:lnTo>
                  <a:pt x="327038" y="226950"/>
                </a:lnTo>
                <a:lnTo>
                  <a:pt x="327038" y="226950"/>
                </a:lnTo>
                <a:close/>
                <a:moveTo>
                  <a:pt x="365288" y="196350"/>
                </a:moveTo>
                <a:lnTo>
                  <a:pt x="367201" y="194438"/>
                </a:lnTo>
                <a:lnTo>
                  <a:pt x="359551" y="197625"/>
                </a:lnTo>
                <a:lnTo>
                  <a:pt x="365288" y="196350"/>
                </a:lnTo>
                <a:lnTo>
                  <a:pt x="365288" y="196350"/>
                </a:lnTo>
                <a:close/>
                <a:moveTo>
                  <a:pt x="121125" y="153000"/>
                </a:moveTo>
                <a:lnTo>
                  <a:pt x="51000" y="175313"/>
                </a:lnTo>
                <a:lnTo>
                  <a:pt x="89250" y="163838"/>
                </a:lnTo>
                <a:lnTo>
                  <a:pt x="121125" y="153000"/>
                </a:lnTo>
                <a:close/>
                <a:moveTo>
                  <a:pt x="295801" y="43987"/>
                </a:moveTo>
                <a:lnTo>
                  <a:pt x="277313" y="47175"/>
                </a:lnTo>
                <a:lnTo>
                  <a:pt x="0" y="92438"/>
                </a:lnTo>
                <a:lnTo>
                  <a:pt x="29325" y="158738"/>
                </a:lnTo>
                <a:lnTo>
                  <a:pt x="31238" y="159375"/>
                </a:lnTo>
                <a:lnTo>
                  <a:pt x="24225" y="186150"/>
                </a:lnTo>
                <a:lnTo>
                  <a:pt x="44625" y="176588"/>
                </a:lnTo>
                <a:lnTo>
                  <a:pt x="66938" y="156825"/>
                </a:lnTo>
                <a:lnTo>
                  <a:pt x="105188" y="155550"/>
                </a:lnTo>
                <a:lnTo>
                  <a:pt x="149813" y="139613"/>
                </a:lnTo>
                <a:lnTo>
                  <a:pt x="180413" y="144075"/>
                </a:lnTo>
                <a:lnTo>
                  <a:pt x="173400" y="155550"/>
                </a:lnTo>
                <a:lnTo>
                  <a:pt x="228225" y="174038"/>
                </a:lnTo>
                <a:lnTo>
                  <a:pt x="276038" y="196988"/>
                </a:lnTo>
                <a:lnTo>
                  <a:pt x="287513" y="222488"/>
                </a:lnTo>
                <a:lnTo>
                  <a:pt x="322576" y="214838"/>
                </a:lnTo>
                <a:lnTo>
                  <a:pt x="406088" y="146625"/>
                </a:lnTo>
                <a:lnTo>
                  <a:pt x="437326" y="147900"/>
                </a:lnTo>
                <a:lnTo>
                  <a:pt x="562914" y="242888"/>
                </a:lnTo>
                <a:lnTo>
                  <a:pt x="588414" y="237788"/>
                </a:lnTo>
                <a:lnTo>
                  <a:pt x="615826" y="273488"/>
                </a:lnTo>
                <a:lnTo>
                  <a:pt x="620926" y="330226"/>
                </a:lnTo>
                <a:lnTo>
                  <a:pt x="612639" y="365926"/>
                </a:lnTo>
                <a:lnTo>
                  <a:pt x="616464" y="383775"/>
                </a:lnTo>
                <a:lnTo>
                  <a:pt x="638776" y="429038"/>
                </a:lnTo>
                <a:lnTo>
                  <a:pt x="627939" y="393976"/>
                </a:lnTo>
                <a:lnTo>
                  <a:pt x="657264" y="393338"/>
                </a:lnTo>
                <a:lnTo>
                  <a:pt x="659814" y="418838"/>
                </a:lnTo>
                <a:lnTo>
                  <a:pt x="644514" y="458363"/>
                </a:lnTo>
                <a:lnTo>
                  <a:pt x="698064" y="531676"/>
                </a:lnTo>
                <a:lnTo>
                  <a:pt x="717826" y="532314"/>
                </a:lnTo>
                <a:lnTo>
                  <a:pt x="701251" y="510001"/>
                </a:lnTo>
                <a:lnTo>
                  <a:pt x="721652" y="512551"/>
                </a:lnTo>
                <a:lnTo>
                  <a:pt x="733764" y="504901"/>
                </a:lnTo>
                <a:lnTo>
                  <a:pt x="728664" y="545701"/>
                </a:lnTo>
                <a:lnTo>
                  <a:pt x="756714" y="567376"/>
                </a:lnTo>
                <a:lnTo>
                  <a:pt x="775201" y="617739"/>
                </a:lnTo>
                <a:lnTo>
                  <a:pt x="800064" y="633039"/>
                </a:lnTo>
                <a:lnTo>
                  <a:pt x="832577" y="641326"/>
                </a:lnTo>
                <a:lnTo>
                  <a:pt x="877202" y="697426"/>
                </a:lnTo>
                <a:lnTo>
                  <a:pt x="900152" y="709539"/>
                </a:lnTo>
                <a:lnTo>
                  <a:pt x="868914" y="711451"/>
                </a:lnTo>
                <a:lnTo>
                  <a:pt x="882939" y="727389"/>
                </a:lnTo>
                <a:lnTo>
                  <a:pt x="933939" y="710814"/>
                </a:lnTo>
                <a:lnTo>
                  <a:pt x="958802" y="696789"/>
                </a:lnTo>
                <a:lnTo>
                  <a:pt x="981752" y="615826"/>
                </a:lnTo>
                <a:lnTo>
                  <a:pt x="970277" y="490238"/>
                </a:lnTo>
                <a:lnTo>
                  <a:pt x="967727" y="477488"/>
                </a:lnTo>
                <a:lnTo>
                  <a:pt x="905889" y="374851"/>
                </a:lnTo>
                <a:lnTo>
                  <a:pt x="852977" y="300263"/>
                </a:lnTo>
                <a:lnTo>
                  <a:pt x="823014" y="239700"/>
                </a:lnTo>
                <a:lnTo>
                  <a:pt x="847877" y="260738"/>
                </a:lnTo>
                <a:lnTo>
                  <a:pt x="852977" y="256913"/>
                </a:lnTo>
                <a:lnTo>
                  <a:pt x="864452" y="310463"/>
                </a:lnTo>
                <a:lnTo>
                  <a:pt x="893139" y="350626"/>
                </a:lnTo>
                <a:lnTo>
                  <a:pt x="865089" y="296438"/>
                </a:lnTo>
                <a:lnTo>
                  <a:pt x="866364" y="270938"/>
                </a:lnTo>
                <a:lnTo>
                  <a:pt x="783489" y="170213"/>
                </a:lnTo>
                <a:lnTo>
                  <a:pt x="763726" y="138337"/>
                </a:lnTo>
                <a:lnTo>
                  <a:pt x="736951" y="84788"/>
                </a:lnTo>
                <a:lnTo>
                  <a:pt x="719101" y="39525"/>
                </a:lnTo>
                <a:lnTo>
                  <a:pt x="705076" y="23587"/>
                </a:lnTo>
                <a:lnTo>
                  <a:pt x="701889" y="3188"/>
                </a:lnTo>
                <a:lnTo>
                  <a:pt x="701251" y="2550"/>
                </a:lnTo>
                <a:lnTo>
                  <a:pt x="656626" y="0"/>
                </a:lnTo>
                <a:lnTo>
                  <a:pt x="639414" y="13387"/>
                </a:lnTo>
                <a:lnTo>
                  <a:pt x="629214" y="63112"/>
                </a:lnTo>
                <a:lnTo>
                  <a:pt x="619651" y="40163"/>
                </a:lnTo>
                <a:lnTo>
                  <a:pt x="316838" y="77775"/>
                </a:lnTo>
                <a:lnTo>
                  <a:pt x="295801" y="43987"/>
                </a:lnTo>
                <a:lnTo>
                  <a:pt x="295801" y="43987"/>
                </a:lnTo>
                <a:lnTo>
                  <a:pt x="295801" y="43987"/>
                </a:lnTo>
                <a:close/>
              </a:path>
            </a:pathLst>
          </a:custGeom>
          <a:solidFill>
            <a:schemeClr val="bg2"/>
          </a:solidFill>
          <a:ln w="19050" cap="flat">
            <a:solidFill>
              <a:schemeClr val="accent5"/>
            </a:solidFill>
            <a:prstDash val="solid"/>
            <a:miter/>
          </a:ln>
        </p:spPr>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KR" sz="1050" b="0" i="0" u="none" strike="noStrike" kern="1200" cap="none" spc="0" normalizeH="0" baseline="0" noProof="0">
              <a:ln>
                <a:noFill/>
              </a:ln>
              <a:solidFill>
                <a:srgbClr val="555555"/>
              </a:solidFill>
              <a:effectLst/>
              <a:uLnTx/>
              <a:uFillTx/>
              <a:latin typeface="Arial" panose="020B0604020202020204"/>
              <a:ea typeface="+mn-ea"/>
              <a:cs typeface="+mn-cs"/>
            </a:endParaRPr>
          </a:p>
        </p:txBody>
      </p:sp>
      <p:sp>
        <p:nvSpPr>
          <p:cNvPr id="13" name="Text Placeholder 5">
            <a:extLst>
              <a:ext uri="{FF2B5EF4-FFF2-40B4-BE49-F238E27FC236}">
                <a16:creationId xmlns:a16="http://schemas.microsoft.com/office/drawing/2014/main" id="{9169D4ED-3DD9-E561-1705-4BA503194BE9}"/>
              </a:ext>
            </a:extLst>
          </p:cNvPr>
          <p:cNvSpPr txBox="1">
            <a:spLocks/>
          </p:cNvSpPr>
          <p:nvPr/>
        </p:nvSpPr>
        <p:spPr>
          <a:xfrm>
            <a:off x="4500207" y="4142503"/>
            <a:ext cx="1208722" cy="264942"/>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450"/>
              </a:spcAft>
              <a:buClrTx/>
              <a:buSzTx/>
              <a:buFont typeface="Arial" panose="020B0604020202020204" pitchFamily="34" charset="0"/>
              <a:buNone/>
              <a:tabLst/>
              <a:defRPr/>
            </a:pPr>
            <a:r>
              <a:rPr kumimoji="0" lang="en-US" sz="1050" b="1" i="0" u="none" strike="noStrike" kern="1200" cap="none" spc="0" normalizeH="0" baseline="0" noProof="0">
                <a:ln>
                  <a:noFill/>
                </a:ln>
                <a:solidFill>
                  <a:srgbClr val="2C6DF6"/>
                </a:solidFill>
                <a:effectLst/>
                <a:uLnTx/>
                <a:uFillTx/>
                <a:latin typeface="Arial" panose="020B0604020202020204"/>
                <a:ea typeface="+mn-ea"/>
                <a:cs typeface="+mn-cs"/>
              </a:rPr>
              <a:t>Florida</a:t>
            </a:r>
          </a:p>
        </p:txBody>
      </p:sp>
      <p:sp>
        <p:nvSpPr>
          <p:cNvPr id="4" name="Rectangle 3">
            <a:extLst>
              <a:ext uri="{FF2B5EF4-FFF2-40B4-BE49-F238E27FC236}">
                <a16:creationId xmlns:a16="http://schemas.microsoft.com/office/drawing/2014/main" id="{96BB33EB-8F6E-BAF3-8BDE-D2BFA7F82F7C}"/>
              </a:ext>
            </a:extLst>
          </p:cNvPr>
          <p:cNvSpPr/>
          <p:nvPr/>
        </p:nvSpPr>
        <p:spPr>
          <a:xfrm>
            <a:off x="4481014" y="4407289"/>
            <a:ext cx="1859588" cy="542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900" b="1" i="0" u="none" strike="noStrike" kern="1200" cap="none" spc="0" normalizeH="0" baseline="0" noProof="0">
                <a:ln>
                  <a:noFill/>
                </a:ln>
                <a:solidFill>
                  <a:srgbClr val="555555"/>
                </a:solidFill>
                <a:effectLst/>
                <a:uLnTx/>
                <a:uFillTx/>
                <a:latin typeface="Georgia"/>
              </a:rPr>
              <a:t>$</a:t>
            </a:r>
            <a:r>
              <a:rPr lang="en-US" sz="900" b="1" err="1">
                <a:solidFill>
                  <a:srgbClr val="555555"/>
                </a:solidFill>
                <a:latin typeface="Georgia"/>
              </a:rPr>
              <a:t>2.9B</a:t>
            </a:r>
            <a:r>
              <a:rPr kumimoji="0" lang="en-US" sz="900" b="1" i="0" u="none" strike="noStrike" kern="1200" cap="none" spc="0" normalizeH="0" baseline="0" noProof="0">
                <a:ln>
                  <a:noFill/>
                </a:ln>
                <a:solidFill>
                  <a:srgbClr val="555555"/>
                </a:solidFill>
                <a:effectLst/>
                <a:uLnTx/>
                <a:uFillTx/>
                <a:latin typeface="Georgia"/>
              </a:rPr>
              <a:t> </a:t>
            </a:r>
            <a:r>
              <a:rPr kumimoji="0" lang="en-US" sz="825" b="0" i="0" u="none" strike="noStrike" kern="1200" cap="none" spc="0" normalizeH="0" baseline="0" noProof="0">
                <a:ln>
                  <a:noFill/>
                </a:ln>
                <a:solidFill>
                  <a:srgbClr val="555555"/>
                </a:solidFill>
                <a:effectLst/>
                <a:uLnTx/>
                <a:uFillTx/>
                <a:latin typeface="Georgia"/>
              </a:rPr>
              <a:t>size (ACV)</a:t>
            </a:r>
          </a:p>
          <a:p>
            <a:pPr marL="128585" marR="0" lvl="0" indent="-128585" algn="l" defTabSz="685783" rtl="0" eaLnBrk="1" fontAlgn="auto" latinLnBrk="0" hangingPunct="1">
              <a:lnSpc>
                <a:spcPct val="100000"/>
              </a:lnSpc>
              <a:spcBef>
                <a:spcPts val="0"/>
              </a:spcBef>
              <a:spcAft>
                <a:spcPts val="0"/>
              </a:spcAft>
              <a:buClr>
                <a:srgbClr val="000000"/>
              </a:buClr>
              <a:buSzPct val="100000"/>
              <a:buFont typeface="Wingdings" panose="05000000000000000000" pitchFamily="2" charset="2"/>
              <a:buChar char="ü"/>
              <a:tabLst/>
              <a:defRPr/>
            </a:pPr>
            <a:r>
              <a:rPr kumimoji="0" lang="en-US" sz="900" b="1" i="0" u="none" strike="noStrike" kern="1200" cap="none" spc="0" normalizeH="0" baseline="0" noProof="0">
                <a:ln>
                  <a:noFill/>
                </a:ln>
                <a:solidFill>
                  <a:srgbClr val="555555"/>
                </a:solidFill>
                <a:effectLst/>
                <a:uLnTx/>
                <a:uFillTx/>
                <a:latin typeface="Georgia"/>
              </a:rPr>
              <a:t>+</a:t>
            </a:r>
            <a:r>
              <a:rPr lang="en-US" sz="900" b="1">
                <a:solidFill>
                  <a:srgbClr val="555555"/>
                </a:solidFill>
                <a:latin typeface="Georgia"/>
              </a:rPr>
              <a:t>9</a:t>
            </a:r>
            <a:r>
              <a:rPr kumimoji="0" lang="en-US" sz="900" b="1" i="0" u="none" strike="noStrike" kern="1200" cap="none" spc="0" normalizeH="0" baseline="0" noProof="0">
                <a:ln>
                  <a:noFill/>
                </a:ln>
                <a:solidFill>
                  <a:srgbClr val="555555"/>
                </a:solidFill>
                <a:effectLst/>
                <a:uLnTx/>
                <a:uFillTx/>
                <a:latin typeface="Georgia"/>
              </a:rPr>
              <a:t>% </a:t>
            </a:r>
            <a:r>
              <a:rPr kumimoji="0" lang="en-US" sz="825" b="0" i="0" u="none" strike="noStrike" kern="1200" cap="none" spc="0" normalizeH="0" baseline="0" noProof="0">
                <a:ln>
                  <a:noFill/>
                </a:ln>
                <a:solidFill>
                  <a:srgbClr val="555555"/>
                </a:solidFill>
                <a:effectLst/>
                <a:uLnTx/>
                <a:uFillTx/>
                <a:latin typeface="Georgia"/>
              </a:rPr>
              <a:t>new stores covered</a:t>
            </a:r>
            <a:endParaRPr lang="en-US" sz="825" b="0" i="0" u="none" strike="noStrike" kern="1200" cap="none" spc="0" normalizeH="0" baseline="0" noProof="0">
              <a:ln>
                <a:noFill/>
              </a:ln>
              <a:solidFill>
                <a:srgbClr val="555555"/>
              </a:solidFill>
              <a:effectLst/>
              <a:uLnTx/>
              <a:uFillTx/>
              <a:latin typeface="Georgia"/>
            </a:endParaRPr>
          </a:p>
          <a:p>
            <a:pPr marL="128585" indent="-128585">
              <a:buClr>
                <a:srgbClr val="000000"/>
              </a:buClr>
              <a:buSzPct val="100000"/>
              <a:buFont typeface="Wingdings" panose="05000000000000000000" pitchFamily="2" charset="2"/>
              <a:buChar char="ü"/>
              <a:defRPr/>
            </a:pPr>
            <a:r>
              <a:rPr kumimoji="0" lang="en-US" sz="900" b="1" i="0" u="none" strike="noStrike" kern="1200" cap="none" spc="0" normalizeH="0" baseline="0" noProof="0">
                <a:ln>
                  <a:noFill/>
                </a:ln>
                <a:solidFill>
                  <a:srgbClr val="555555"/>
                </a:solidFill>
                <a:effectLst/>
                <a:uLnTx/>
                <a:uFillTx/>
                <a:latin typeface="Georgia"/>
              </a:rPr>
              <a:t>$</a:t>
            </a:r>
            <a:r>
              <a:rPr lang="en-US" sz="900" b="1" err="1">
                <a:solidFill>
                  <a:srgbClr val="555555"/>
                </a:solidFill>
                <a:latin typeface="Georgia"/>
              </a:rPr>
              <a:t>320M</a:t>
            </a:r>
            <a:r>
              <a:rPr lang="en-US" sz="900" b="1">
                <a:solidFill>
                  <a:srgbClr val="555555"/>
                </a:solidFill>
                <a:latin typeface="Georgia"/>
              </a:rPr>
              <a:t> </a:t>
            </a:r>
            <a:r>
              <a:rPr kumimoji="0" lang="en-US" sz="900" b="1" i="0" u="none" strike="noStrike" kern="1200" cap="none" spc="0" normalizeH="0" baseline="0" noProof="0">
                <a:ln>
                  <a:noFill/>
                </a:ln>
                <a:solidFill>
                  <a:srgbClr val="555555"/>
                </a:solidFill>
                <a:effectLst/>
                <a:uLnTx/>
                <a:uFillTx/>
                <a:latin typeface="Georgia"/>
              </a:rPr>
              <a:t>/ $</a:t>
            </a:r>
            <a:r>
              <a:rPr lang="en-US" sz="900" b="1" err="1">
                <a:solidFill>
                  <a:srgbClr val="555555"/>
                </a:solidFill>
                <a:latin typeface="Georgia"/>
              </a:rPr>
              <a:t>1.5B</a:t>
            </a:r>
            <a:r>
              <a:rPr kumimoji="0" lang="en-US" sz="900" b="1" i="0" u="none" strike="noStrike" kern="1200" cap="none" spc="0" normalizeH="0" baseline="0" noProof="0">
                <a:ln>
                  <a:noFill/>
                </a:ln>
                <a:solidFill>
                  <a:srgbClr val="555555"/>
                </a:solidFill>
                <a:effectLst/>
                <a:uLnTx/>
                <a:uFillTx/>
                <a:latin typeface="Georgia"/>
              </a:rPr>
              <a:t> / $</a:t>
            </a:r>
            <a:r>
              <a:rPr lang="en-US" sz="900" b="1" err="1">
                <a:solidFill>
                  <a:srgbClr val="555555"/>
                </a:solidFill>
                <a:latin typeface="Georgia"/>
              </a:rPr>
              <a:t>480M</a:t>
            </a:r>
          </a:p>
          <a:p>
            <a:pPr marL="128585" indent="-128585">
              <a:buClr>
                <a:srgbClr val="000000"/>
              </a:buClr>
              <a:buSzPct val="100000"/>
              <a:buFont typeface="Wingdings" panose="05000000000000000000" pitchFamily="2" charset="2"/>
              <a:buChar char="ü"/>
              <a:defRPr/>
            </a:pPr>
            <a:r>
              <a:rPr lang="en-US" sz="825">
                <a:solidFill>
                  <a:srgbClr val="555555"/>
                </a:solidFill>
                <a:latin typeface="Georgia"/>
              </a:rPr>
              <a:t>beer</a:t>
            </a:r>
            <a:r>
              <a:rPr kumimoji="0" lang="en-US" sz="825" b="0" i="0" u="none" strike="noStrike" kern="1200" cap="none" spc="0" normalizeH="0" baseline="0" noProof="0">
                <a:ln>
                  <a:noFill/>
                </a:ln>
                <a:solidFill>
                  <a:srgbClr val="555555"/>
                </a:solidFill>
                <a:effectLst/>
                <a:uLnTx/>
                <a:uFillTx/>
                <a:latin typeface="Georgia"/>
              </a:rPr>
              <a:t> / spirits / wine total volume</a:t>
            </a:r>
            <a:endParaRPr lang="en-US" sz="1013"/>
          </a:p>
        </p:txBody>
      </p:sp>
    </p:spTree>
    <p:extLst>
      <p:ext uri="{BB962C8B-B14F-4D97-AF65-F5344CB8AC3E}">
        <p14:creationId xmlns:p14="http://schemas.microsoft.com/office/powerpoint/2010/main" val="982431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DDCC5A-08D5-56D9-CDB6-25F186C29643}"/>
              </a:ext>
            </a:extLst>
          </p:cNvPr>
          <p:cNvSpPr>
            <a:spLocks noGrp="1"/>
          </p:cNvSpPr>
          <p:nvPr>
            <p:ph type="sldNum" sz="quarter" idx="4"/>
          </p:nvPr>
        </p:nvSpPr>
        <p:spPr/>
        <p:txBody>
          <a:bodyPr/>
          <a:lstStyle/>
          <a:p>
            <a:fld id="{403EF4E2-7A7A-0548-85F1-5479B7C9E1B2}" type="slidenum">
              <a:rPr lang="en-US" smtClean="0"/>
              <a:pPr/>
              <a:t>6</a:t>
            </a:fld>
            <a:endParaRPr lang="en-US"/>
          </a:p>
        </p:txBody>
      </p:sp>
      <p:sp>
        <p:nvSpPr>
          <p:cNvPr id="3" name="Title 2">
            <a:extLst>
              <a:ext uri="{FF2B5EF4-FFF2-40B4-BE49-F238E27FC236}">
                <a16:creationId xmlns:a16="http://schemas.microsoft.com/office/drawing/2014/main" id="{34870C0E-169E-75B6-528A-FF66C675F684}"/>
              </a:ext>
            </a:extLst>
          </p:cNvPr>
          <p:cNvSpPr>
            <a:spLocks noGrp="1"/>
          </p:cNvSpPr>
          <p:nvPr>
            <p:ph type="ctrTitle"/>
          </p:nvPr>
        </p:nvSpPr>
        <p:spPr/>
        <p:txBody>
          <a:bodyPr/>
          <a:lstStyle/>
          <a:p>
            <a:r>
              <a:rPr lang="en-US">
                <a:cs typeface="Arial"/>
              </a:rPr>
              <a:t>Data Review</a:t>
            </a:r>
            <a:endParaRPr lang="en-US"/>
          </a:p>
        </p:txBody>
      </p:sp>
      <p:sp>
        <p:nvSpPr>
          <p:cNvPr id="4" name="Subtitle 3">
            <a:extLst>
              <a:ext uri="{FF2B5EF4-FFF2-40B4-BE49-F238E27FC236}">
                <a16:creationId xmlns:a16="http://schemas.microsoft.com/office/drawing/2014/main" id="{DBD0BC67-682F-5F11-5ED4-7FACC87150F2}"/>
              </a:ext>
            </a:extLst>
          </p:cNvPr>
          <p:cNvSpPr>
            <a:spLocks noGrp="1"/>
          </p:cNvSpPr>
          <p:nvPr>
            <p:ph type="subTitle" idx="1"/>
          </p:nvPr>
        </p:nvSpPr>
        <p:spPr/>
        <p:txBody>
          <a:bodyPr vert="horz" lIns="0" tIns="45720" rIns="0" bIns="45720" rtlCol="0" anchor="t">
            <a:noAutofit/>
          </a:bodyPr>
          <a:lstStyle/>
          <a:p>
            <a:r>
              <a:rPr lang="en-US">
                <a:cs typeface="Arial"/>
              </a:rPr>
              <a:t>2024 Channel Enhancement</a:t>
            </a:r>
            <a:endParaRPr lang="en-US"/>
          </a:p>
        </p:txBody>
      </p:sp>
    </p:spTree>
    <p:extLst>
      <p:ext uri="{BB962C8B-B14F-4D97-AF65-F5344CB8AC3E}">
        <p14:creationId xmlns:p14="http://schemas.microsoft.com/office/powerpoint/2010/main" val="3206453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549593-5FFE-2992-90EB-856CA4331C8C}"/>
              </a:ext>
            </a:extLst>
          </p:cNvPr>
          <p:cNvSpPr>
            <a:spLocks noGrp="1"/>
          </p:cNvSpPr>
          <p:nvPr>
            <p:ph type="ctrTitle"/>
          </p:nvPr>
        </p:nvSpPr>
        <p:spPr>
          <a:xfrm>
            <a:off x="243820" y="175308"/>
            <a:ext cx="2545481" cy="4361856"/>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110000"/>
              </a:lnSpc>
              <a:spcBef>
                <a:spcPts val="0"/>
              </a:spcBef>
            </a:pPr>
            <a:r>
              <a:rPr lang="en-US" sz="2400">
                <a:solidFill>
                  <a:schemeClr val="bg2"/>
                </a:solidFill>
                <a:latin typeface="+mj-lt"/>
                <a:cs typeface="Arial"/>
              </a:rPr>
              <a:t>2024 Liquor Open State Channel </a:t>
            </a:r>
            <a:br>
              <a:rPr lang="en-US" sz="2400">
                <a:solidFill>
                  <a:schemeClr val="bg2"/>
                </a:solidFill>
                <a:latin typeface="+mj-lt"/>
                <a:cs typeface="Arial"/>
              </a:rPr>
            </a:br>
            <a:r>
              <a:rPr lang="en-US" sz="2400">
                <a:solidFill>
                  <a:schemeClr val="bg2"/>
                </a:solidFill>
                <a:latin typeface="+mj-lt"/>
                <a:cs typeface="Arial"/>
              </a:rPr>
              <a:t>Enhancement </a:t>
            </a:r>
            <a:br>
              <a:rPr lang="en-US" sz="2400">
                <a:solidFill>
                  <a:schemeClr val="bg1">
                    <a:lumMod val="75000"/>
                  </a:schemeClr>
                </a:solidFill>
                <a:latin typeface="+mj-lt"/>
                <a:cs typeface="Arial"/>
              </a:rPr>
            </a:br>
            <a:br>
              <a:rPr lang="en-US" sz="2400">
                <a:latin typeface="+mj-lt"/>
                <a:cs typeface="Arial"/>
              </a:rPr>
            </a:br>
            <a:br>
              <a:rPr lang="en-US" sz="1200">
                <a:latin typeface="+mj-lt"/>
                <a:cs typeface="Arial"/>
              </a:rPr>
            </a:br>
            <a:r>
              <a:rPr lang="en-US" sz="1600" b="0" i="1">
                <a:solidFill>
                  <a:schemeClr val="bg1"/>
                </a:solidFill>
                <a:latin typeface="Georgia"/>
                <a:cs typeface="Arial"/>
              </a:rPr>
              <a:t>Expanded Coverage enabling the Full View for Liquor</a:t>
            </a:r>
            <a:br>
              <a:rPr lang="en-US" sz="1600" b="0" i="1">
                <a:solidFill>
                  <a:schemeClr val="bg1"/>
                </a:solidFill>
                <a:latin typeface="Georgia"/>
                <a:cs typeface="Arial"/>
              </a:rPr>
            </a:br>
            <a:br>
              <a:rPr lang="en-US" sz="1400" b="0" i="1">
                <a:solidFill>
                  <a:schemeClr val="bg1"/>
                </a:solidFill>
                <a:latin typeface="Georgia"/>
                <a:cs typeface="Arial"/>
              </a:rPr>
            </a:br>
            <a:br>
              <a:rPr lang="en-US" sz="1400" b="0" i="1">
                <a:latin typeface="Georgia"/>
                <a:cs typeface="Arial"/>
              </a:rPr>
            </a:br>
            <a:r>
              <a:rPr lang="en-US" sz="1600" b="0" i="1">
                <a:solidFill>
                  <a:schemeClr val="accent3"/>
                </a:solidFill>
                <a:latin typeface="Georgia"/>
                <a:cs typeface="Arial"/>
              </a:rPr>
              <a:t>Delivering</a:t>
            </a:r>
            <a:br>
              <a:rPr lang="en-US" sz="1600" b="0" i="1">
                <a:solidFill>
                  <a:schemeClr val="accent3"/>
                </a:solidFill>
                <a:latin typeface="Georgia"/>
                <a:cs typeface="Arial"/>
              </a:rPr>
            </a:br>
            <a:r>
              <a:rPr lang="en-US" sz="1600" b="0" i="1">
                <a:solidFill>
                  <a:schemeClr val="accent3"/>
                </a:solidFill>
                <a:latin typeface="Georgia"/>
                <a:cs typeface="Arial"/>
              </a:rPr>
              <a:t>July 22nd / 23rd, 2024</a:t>
            </a:r>
            <a:endParaRPr lang="en-US" sz="1600" i="1">
              <a:solidFill>
                <a:schemeClr val="accent3"/>
              </a:solidFill>
              <a:latin typeface="Georgia"/>
            </a:endParaRPr>
          </a:p>
        </p:txBody>
      </p:sp>
      <p:graphicFrame>
        <p:nvGraphicFramePr>
          <p:cNvPr id="21" name="Table 24">
            <a:extLst>
              <a:ext uri="{FF2B5EF4-FFF2-40B4-BE49-F238E27FC236}">
                <a16:creationId xmlns:a16="http://schemas.microsoft.com/office/drawing/2014/main" id="{9C7548BC-D8E1-A1AF-F95E-8782B8CFBE50}"/>
              </a:ext>
            </a:extLst>
          </p:cNvPr>
          <p:cNvGraphicFramePr>
            <a:graphicFrameLocks noGrp="1"/>
          </p:cNvGraphicFramePr>
          <p:nvPr>
            <p:extLst>
              <p:ext uri="{D42A27DB-BD31-4B8C-83A1-F6EECF244321}">
                <p14:modId xmlns:p14="http://schemas.microsoft.com/office/powerpoint/2010/main" val="2384409203"/>
              </p:ext>
            </p:extLst>
          </p:nvPr>
        </p:nvGraphicFramePr>
        <p:xfrm>
          <a:off x="3074525" y="1440700"/>
          <a:ext cx="5931526" cy="1102360"/>
        </p:xfrm>
        <a:graphic>
          <a:graphicData uri="http://schemas.openxmlformats.org/drawingml/2006/table">
            <a:tbl>
              <a:tblPr firstRow="1" bandRow="1">
                <a:tableStyleId>{073A0DAA-6AF3-43AB-8588-CEC1D06C72B9}</a:tableStyleId>
              </a:tblPr>
              <a:tblGrid>
                <a:gridCol w="53875">
                  <a:extLst>
                    <a:ext uri="{9D8B030D-6E8A-4147-A177-3AD203B41FA5}">
                      <a16:colId xmlns:a16="http://schemas.microsoft.com/office/drawing/2014/main" val="3338537668"/>
                    </a:ext>
                  </a:extLst>
                </a:gridCol>
                <a:gridCol w="5877651">
                  <a:extLst>
                    <a:ext uri="{9D8B030D-6E8A-4147-A177-3AD203B41FA5}">
                      <a16:colId xmlns:a16="http://schemas.microsoft.com/office/drawing/2014/main" val="1952040229"/>
                    </a:ext>
                  </a:extLst>
                </a:gridCol>
              </a:tblGrid>
              <a:tr h="1072556">
                <a:tc>
                  <a:txBody>
                    <a:bodyPr/>
                    <a:lstStyle/>
                    <a:p>
                      <a:endParaRPr lang="en-US" sz="1100" b="0" i="0">
                        <a:latin typeface="+mn-lt"/>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lvl="0">
                        <a:spcAft>
                          <a:spcPts val="400"/>
                        </a:spcAft>
                        <a:buNone/>
                      </a:pPr>
                      <a:r>
                        <a:rPr lang="en-US" sz="1200" b="1" i="0" u="none" strike="noStrike" baseline="0" noProof="0" dirty="0">
                          <a:solidFill>
                            <a:srgbClr val="2C6DF6"/>
                          </a:solidFill>
                          <a:latin typeface="Arial"/>
                        </a:rPr>
                        <a:t>Noteworthy Retiring Markets*</a:t>
                      </a:r>
                      <a:endParaRPr lang="en-US" sz="1200" b="1" i="0" u="none" strike="noStrike" noProof="0" dirty="0">
                        <a:solidFill>
                          <a:schemeClr val="bg2"/>
                        </a:solidFill>
                      </a:endParaRPr>
                    </a:p>
                    <a:p>
                      <a:pPr marL="171450" lvl="0" indent="-171450" algn="l">
                        <a:lnSpc>
                          <a:spcPct val="100000"/>
                        </a:lnSpc>
                        <a:buFont typeface="Arial"/>
                        <a:buChar char="•"/>
                      </a:pPr>
                      <a:r>
                        <a:rPr lang="en-US" sz="1050" b="0" i="0" u="none" strike="noStrike" noProof="0" dirty="0">
                          <a:solidFill>
                            <a:schemeClr val="tx2"/>
                          </a:solidFill>
                        </a:rPr>
                        <a:t>Total US Liquor Combined will be retired along with old markets</a:t>
                      </a:r>
                    </a:p>
                    <a:p>
                      <a:pPr marL="171450" lvl="0" indent="-171450" algn="l">
                        <a:lnSpc>
                          <a:spcPct val="100000"/>
                        </a:lnSpc>
                        <a:buFont typeface="Arial"/>
                        <a:buChar char="•"/>
                      </a:pPr>
                      <a:r>
                        <a:rPr lang="en-US" sz="1050" b="0" i="0" u="none" strike="noStrike" baseline="0" noProof="0" dirty="0">
                          <a:solidFill>
                            <a:srgbClr val="060A45"/>
                          </a:solidFill>
                          <a:latin typeface="Arial"/>
                        </a:rPr>
                        <a:t>Florida </a:t>
                      </a:r>
                      <a:r>
                        <a:rPr lang="en-US" sz="1050" b="0" i="0" u="none" strike="noStrike" baseline="0" noProof="0" dirty="0" err="1">
                          <a:solidFill>
                            <a:srgbClr val="060A45"/>
                          </a:solidFill>
                          <a:latin typeface="Arial"/>
                        </a:rPr>
                        <a:t>SMM</a:t>
                      </a:r>
                      <a:r>
                        <a:rPr lang="en-US" sz="1050" b="0" i="0" u="none" strike="noStrike" baseline="0" noProof="0" dirty="0">
                          <a:solidFill>
                            <a:srgbClr val="060A45"/>
                          </a:solidFill>
                          <a:latin typeface="Arial"/>
                        </a:rPr>
                        <a:t> Liquor</a:t>
                      </a:r>
                    </a:p>
                    <a:p>
                      <a:pPr marL="171450" lvl="0" indent="-171450" algn="l">
                        <a:lnSpc>
                          <a:spcPct val="100000"/>
                        </a:lnSpc>
                        <a:buFont typeface="Arial"/>
                        <a:buChar char="•"/>
                      </a:pPr>
                      <a:r>
                        <a:rPr lang="en-US" sz="1050" b="0" i="0" u="none" strike="noStrike" baseline="0" noProof="0" dirty="0">
                          <a:solidFill>
                            <a:srgbClr val="060A45"/>
                          </a:solidFill>
                          <a:latin typeface="Arial"/>
                        </a:rPr>
                        <a:t>Minneapolis </a:t>
                      </a:r>
                      <a:r>
                        <a:rPr lang="en-US" sz="1050" b="0" i="0" u="none" strike="noStrike" baseline="0" noProof="0" dirty="0" err="1">
                          <a:solidFill>
                            <a:srgbClr val="060A45"/>
                          </a:solidFill>
                          <a:latin typeface="Arial"/>
                        </a:rPr>
                        <a:t>SMM</a:t>
                      </a:r>
                      <a:r>
                        <a:rPr lang="en-US" sz="1050" b="0" i="0" u="none" strike="noStrike" baseline="0" noProof="0" dirty="0">
                          <a:solidFill>
                            <a:srgbClr val="060A45"/>
                          </a:solidFill>
                          <a:latin typeface="Arial"/>
                        </a:rPr>
                        <a:t> Liquor retired (including Combo Markets with this </a:t>
                      </a:r>
                      <a:r>
                        <a:rPr lang="en-US" sz="1050" b="0" i="0" u="none" strike="noStrike" baseline="0" noProof="0" dirty="0" err="1">
                          <a:solidFill>
                            <a:srgbClr val="060A45"/>
                          </a:solidFill>
                          <a:latin typeface="Arial"/>
                        </a:rPr>
                        <a:t>SMM</a:t>
                      </a:r>
                      <a:r>
                        <a:rPr lang="en-US" sz="1050" b="0" i="0" u="none" strike="noStrike" baseline="0" noProof="0" dirty="0">
                          <a:solidFill>
                            <a:srgbClr val="060A45"/>
                          </a:solidFill>
                          <a:latin typeface="Arial"/>
                        </a:rPr>
                        <a:t>) (remains in projection, not independently reportable) </a:t>
                      </a:r>
                    </a:p>
                    <a:p>
                      <a:pPr marL="171450" lvl="0" indent="-171450" algn="l">
                        <a:lnSpc>
                          <a:spcPct val="100000"/>
                        </a:lnSpc>
                        <a:buFont typeface="Arial"/>
                        <a:buChar char="•"/>
                      </a:pPr>
                      <a:r>
                        <a:rPr lang="en-US" sz="1050" b="0" i="0" u="none" strike="noStrike" baseline="0" noProof="0" dirty="0">
                          <a:solidFill>
                            <a:srgbClr val="060A45"/>
                          </a:solidFill>
                          <a:latin typeface="Arial"/>
                        </a:rPr>
                        <a:t>Food Drug Liquor Combined and Liquor Plus markets are being retired</a:t>
                      </a: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22" name="Table 24">
            <a:extLst>
              <a:ext uri="{FF2B5EF4-FFF2-40B4-BE49-F238E27FC236}">
                <a16:creationId xmlns:a16="http://schemas.microsoft.com/office/drawing/2014/main" id="{842B3870-44BC-959D-CE81-9D79B1EA9DDF}"/>
              </a:ext>
            </a:extLst>
          </p:cNvPr>
          <p:cNvGraphicFramePr>
            <a:graphicFrameLocks noGrp="1"/>
          </p:cNvGraphicFramePr>
          <p:nvPr>
            <p:extLst>
              <p:ext uri="{D42A27DB-BD31-4B8C-83A1-F6EECF244321}">
                <p14:modId xmlns:p14="http://schemas.microsoft.com/office/powerpoint/2010/main" val="1233030597"/>
              </p:ext>
            </p:extLst>
          </p:nvPr>
        </p:nvGraphicFramePr>
        <p:xfrm>
          <a:off x="3074525" y="2628863"/>
          <a:ext cx="5923697" cy="1134865"/>
        </p:xfrm>
        <a:graphic>
          <a:graphicData uri="http://schemas.openxmlformats.org/drawingml/2006/table">
            <a:tbl>
              <a:tblPr firstRow="1" bandRow="1">
                <a:tableStyleId>{073A0DAA-6AF3-43AB-8588-CEC1D06C72B9}</a:tableStyleId>
              </a:tblPr>
              <a:tblGrid>
                <a:gridCol w="53804">
                  <a:extLst>
                    <a:ext uri="{9D8B030D-6E8A-4147-A177-3AD203B41FA5}">
                      <a16:colId xmlns:a16="http://schemas.microsoft.com/office/drawing/2014/main" val="3338537668"/>
                    </a:ext>
                  </a:extLst>
                </a:gridCol>
                <a:gridCol w="5869893">
                  <a:extLst>
                    <a:ext uri="{9D8B030D-6E8A-4147-A177-3AD203B41FA5}">
                      <a16:colId xmlns:a16="http://schemas.microsoft.com/office/drawing/2014/main" val="1952040229"/>
                    </a:ext>
                  </a:extLst>
                </a:gridCol>
              </a:tblGrid>
              <a:tr h="1134865">
                <a:tc>
                  <a:txBody>
                    <a:bodyPr/>
                    <a:lstStyle/>
                    <a:p>
                      <a:endParaRPr lang="en-US" sz="1100" b="0" i="0">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lvl="0" algn="l">
                        <a:spcAft>
                          <a:spcPts val="400"/>
                        </a:spcAft>
                        <a:buNone/>
                      </a:pPr>
                      <a:r>
                        <a:rPr lang="en-US" sz="1200" b="1" i="0" u="none" strike="noStrike" baseline="0" noProof="0">
                          <a:solidFill>
                            <a:srgbClr val="2C6DF6"/>
                          </a:solidFill>
                          <a:latin typeface="Arial"/>
                        </a:rPr>
                        <a:t>Coverage Expansion</a:t>
                      </a:r>
                      <a:endParaRPr lang="en-US" sz="1200" b="1" i="0">
                        <a:solidFill>
                          <a:schemeClr val="bg2"/>
                        </a:solidFill>
                        <a:latin typeface="+mn-lt"/>
                      </a:endParaRPr>
                    </a:p>
                    <a:p>
                      <a:pPr marL="171450" lvl="0" indent="-171450" algn="l">
                        <a:lnSpc>
                          <a:spcPct val="100000"/>
                        </a:lnSpc>
                        <a:buFont typeface="Arial"/>
                        <a:buChar char="•"/>
                      </a:pPr>
                      <a:r>
                        <a:rPr lang="en-US" sz="1050" b="0" i="0" u="none" strike="noStrike" noProof="0">
                          <a:solidFill>
                            <a:schemeClr val="tx2"/>
                          </a:solidFill>
                          <a:latin typeface="Arial"/>
                        </a:rPr>
                        <a:t>Expected coverage increases from Total Combined Liquor Plus to Total US Liquor Open State </a:t>
                      </a:r>
                    </a:p>
                    <a:p>
                      <a:pPr marL="171450" lvl="0" indent="-171450" algn="l">
                        <a:lnSpc>
                          <a:spcPct val="100000"/>
                        </a:lnSpc>
                        <a:buFont typeface="Arial"/>
                        <a:buChar char="•"/>
                      </a:pPr>
                      <a:endParaRPr lang="en-US" sz="1050" b="0" i="0" u="none" strike="noStrike" baseline="0" noProof="0">
                        <a:solidFill>
                          <a:srgbClr val="060A45"/>
                        </a:solidFill>
                        <a:latin typeface="Arial"/>
                      </a:endParaRPr>
                    </a:p>
                    <a:p>
                      <a:pPr marL="171450" lvl="0" indent="-171450" algn="l">
                        <a:lnSpc>
                          <a:spcPct val="100000"/>
                        </a:lnSpc>
                        <a:buFont typeface="Arial"/>
                        <a:buChar char="•"/>
                      </a:pPr>
                      <a:r>
                        <a:rPr lang="en-US" sz="1050" b="0" i="0" u="none" strike="noStrike" baseline="0" noProof="0">
                          <a:solidFill>
                            <a:srgbClr val="060A45"/>
                          </a:solidFill>
                          <a:latin typeface="Arial"/>
                        </a:rPr>
                        <a:t>Projected for all Open States (31 States +DC) - Census Sample Integrated (CSI) Market </a:t>
                      </a:r>
                      <a:endParaRPr lang="en-US"/>
                    </a:p>
                    <a:p>
                      <a:pPr marL="171450" lvl="0" indent="-171450" algn="l">
                        <a:lnSpc>
                          <a:spcPct val="100000"/>
                        </a:lnSpc>
                        <a:buFont typeface="Arial"/>
                        <a:buChar char="•"/>
                      </a:pPr>
                      <a:r>
                        <a:rPr lang="en-US" sz="1050" b="0" i="0" u="none" strike="noStrike" baseline="0" noProof="0">
                          <a:solidFill>
                            <a:srgbClr val="060A45"/>
                          </a:solidFill>
                          <a:latin typeface="Arial"/>
                        </a:rPr>
                        <a:t>Expanded Sample: 4x the independent Liquor sample stores </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26" name="Table 25">
            <a:extLst>
              <a:ext uri="{FF2B5EF4-FFF2-40B4-BE49-F238E27FC236}">
                <a16:creationId xmlns:a16="http://schemas.microsoft.com/office/drawing/2014/main" id="{687155FE-24F6-A3D6-2292-ABA4DA2FAED7}"/>
              </a:ext>
            </a:extLst>
          </p:cNvPr>
          <p:cNvGraphicFramePr>
            <a:graphicFrameLocks noGrp="1"/>
          </p:cNvGraphicFramePr>
          <p:nvPr>
            <p:extLst>
              <p:ext uri="{D42A27DB-BD31-4B8C-83A1-F6EECF244321}">
                <p14:modId xmlns:p14="http://schemas.microsoft.com/office/powerpoint/2010/main" val="1079403790"/>
              </p:ext>
            </p:extLst>
          </p:nvPr>
        </p:nvGraphicFramePr>
        <p:xfrm>
          <a:off x="3074525" y="152809"/>
          <a:ext cx="5939356" cy="1158657"/>
        </p:xfrm>
        <a:graphic>
          <a:graphicData uri="http://schemas.openxmlformats.org/drawingml/2006/table">
            <a:tbl>
              <a:tblPr firstRow="1" bandRow="1">
                <a:tableStyleId>{073A0DAA-6AF3-43AB-8588-CEC1D06C72B9}</a:tableStyleId>
              </a:tblPr>
              <a:tblGrid>
                <a:gridCol w="53947">
                  <a:extLst>
                    <a:ext uri="{9D8B030D-6E8A-4147-A177-3AD203B41FA5}">
                      <a16:colId xmlns:a16="http://schemas.microsoft.com/office/drawing/2014/main" val="3338537668"/>
                    </a:ext>
                  </a:extLst>
                </a:gridCol>
                <a:gridCol w="5885409">
                  <a:extLst>
                    <a:ext uri="{9D8B030D-6E8A-4147-A177-3AD203B41FA5}">
                      <a16:colId xmlns:a16="http://schemas.microsoft.com/office/drawing/2014/main" val="1952040229"/>
                    </a:ext>
                  </a:extLst>
                </a:gridCol>
              </a:tblGrid>
              <a:tr h="1158657">
                <a:tc>
                  <a:txBody>
                    <a:bodyPr/>
                    <a:lstStyle/>
                    <a:p>
                      <a:endParaRPr lang="en-US" sz="1100" b="0" i="0">
                        <a:latin typeface="+mn-lt"/>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lvl="0">
                        <a:spcAft>
                          <a:spcPts val="400"/>
                        </a:spcAft>
                        <a:buNone/>
                      </a:pPr>
                      <a:r>
                        <a:rPr lang="en-US" sz="1200" b="1" i="0" u="none" strike="noStrike" baseline="0" noProof="0">
                          <a:solidFill>
                            <a:srgbClr val="2C6DF6"/>
                          </a:solidFill>
                          <a:latin typeface="Arial"/>
                        </a:rPr>
                        <a:t>New / Expanded Markets</a:t>
                      </a:r>
                      <a:endParaRPr lang="en-US" sz="1200" b="1" i="0" u="none">
                        <a:solidFill>
                          <a:schemeClr val="bg2"/>
                        </a:solidFill>
                        <a:latin typeface="+mn-lt"/>
                      </a:endParaRPr>
                    </a:p>
                    <a:p>
                      <a:pPr marL="171450" lvl="0" indent="-171450" algn="l">
                        <a:lnSpc>
                          <a:spcPct val="100000"/>
                        </a:lnSpc>
                        <a:buFont typeface="Arial"/>
                        <a:buChar char="•"/>
                      </a:pPr>
                      <a:r>
                        <a:rPr lang="en-US" sz="1050" b="0" i="0" u="none">
                          <a:solidFill>
                            <a:schemeClr val="tx2"/>
                          </a:solidFill>
                          <a:latin typeface="+mn-lt"/>
                        </a:rPr>
                        <a:t>New Total US Liquor Open State market replaces Total Liquor Plus </a:t>
                      </a:r>
                    </a:p>
                    <a:p>
                      <a:pPr marL="171450" lvl="0" indent="-171450" algn="l">
                        <a:lnSpc>
                          <a:spcPct val="100000"/>
                        </a:lnSpc>
                        <a:buFont typeface="Arial"/>
                        <a:buChar char="•"/>
                      </a:pPr>
                      <a:r>
                        <a:rPr lang="en-US" sz="1050" b="0" i="0" u="none" strike="noStrike" baseline="0" noProof="0">
                          <a:solidFill>
                            <a:srgbClr val="060A45"/>
                          </a:solidFill>
                          <a:latin typeface="Arial"/>
                        </a:rPr>
                        <a:t>New </a:t>
                      </a:r>
                      <a:r>
                        <a:rPr lang="en-US" sz="1050" b="0" i="0" u="none" strike="noStrike" baseline="0" noProof="0" err="1">
                          <a:solidFill>
                            <a:srgbClr val="060A45"/>
                          </a:solidFill>
                          <a:latin typeface="Arial"/>
                        </a:rPr>
                        <a:t>Statelines</a:t>
                      </a:r>
                      <a:r>
                        <a:rPr lang="en-US" sz="1050" b="0" i="0" u="none" strike="noStrike" baseline="0" noProof="0">
                          <a:solidFill>
                            <a:srgbClr val="060A45"/>
                          </a:solidFill>
                          <a:latin typeface="Arial"/>
                        </a:rPr>
                        <a:t> incorporated - released in ’22 (CA) and ’23 (CO, MA, MD, FL, NJ, NY, TX) </a:t>
                      </a:r>
                    </a:p>
                    <a:p>
                      <a:pPr marL="171450" lvl="0" indent="-171450" algn="l">
                        <a:lnSpc>
                          <a:spcPct val="100000"/>
                        </a:lnSpc>
                        <a:buFont typeface="Arial"/>
                        <a:buChar char="•"/>
                      </a:pPr>
                      <a:r>
                        <a:rPr lang="en-US" sz="1050" b="0" i="0" u="none" strike="noStrike" baseline="0" noProof="0">
                          <a:solidFill>
                            <a:srgbClr val="060A45"/>
                          </a:solidFill>
                          <a:latin typeface="Arial"/>
                        </a:rPr>
                        <a:t>New Florida Stateline Liquor market replaces Florida SMM Liquor</a:t>
                      </a:r>
                    </a:p>
                    <a:p>
                      <a:pPr marL="171450" lvl="0" indent="-171450" algn="l">
                        <a:lnSpc>
                          <a:spcPct val="100000"/>
                        </a:lnSpc>
                        <a:buFont typeface="Arial"/>
                        <a:buChar char="•"/>
                      </a:pPr>
                      <a:r>
                        <a:rPr lang="en-US" sz="1050" b="0" i="0" u="none" strike="noStrike" baseline="0" noProof="0">
                          <a:solidFill>
                            <a:srgbClr val="060A45"/>
                          </a:solidFill>
                          <a:latin typeface="Arial"/>
                        </a:rPr>
                        <a:t>Updated all Combined Channel Markets that had “Any Channel” + </a:t>
                      </a:r>
                      <a:r>
                        <a:rPr lang="en-US" sz="1050" b="0" i="0" u="none" strike="noStrike" baseline="0" noProof="0" err="1">
                          <a:solidFill>
                            <a:srgbClr val="060A45"/>
                          </a:solidFill>
                          <a:latin typeface="Arial"/>
                        </a:rPr>
                        <a:t>Liq</a:t>
                      </a:r>
                      <a:r>
                        <a:rPr lang="en-US" sz="1050" b="0" i="0" u="none" strike="noStrike" baseline="0" noProof="0">
                          <a:solidFill>
                            <a:srgbClr val="060A45"/>
                          </a:solidFill>
                          <a:latin typeface="Arial"/>
                        </a:rPr>
                        <a:t> Plus</a:t>
                      </a: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2" name="Table 24">
            <a:extLst>
              <a:ext uri="{FF2B5EF4-FFF2-40B4-BE49-F238E27FC236}">
                <a16:creationId xmlns:a16="http://schemas.microsoft.com/office/drawing/2014/main" id="{BA882FDB-5ED4-31E6-CFAB-4151E6C5A7C5}"/>
              </a:ext>
            </a:extLst>
          </p:cNvPr>
          <p:cNvGraphicFramePr>
            <a:graphicFrameLocks noGrp="1"/>
          </p:cNvGraphicFramePr>
          <p:nvPr>
            <p:extLst>
              <p:ext uri="{D42A27DB-BD31-4B8C-83A1-F6EECF244321}">
                <p14:modId xmlns:p14="http://schemas.microsoft.com/office/powerpoint/2010/main" val="3009785618"/>
              </p:ext>
            </p:extLst>
          </p:nvPr>
        </p:nvGraphicFramePr>
        <p:xfrm>
          <a:off x="3076705" y="3851753"/>
          <a:ext cx="5923697" cy="720258"/>
        </p:xfrm>
        <a:graphic>
          <a:graphicData uri="http://schemas.openxmlformats.org/drawingml/2006/table">
            <a:tbl>
              <a:tblPr firstRow="1" bandRow="1">
                <a:tableStyleId>{073A0DAA-6AF3-43AB-8588-CEC1D06C72B9}</a:tableStyleId>
              </a:tblPr>
              <a:tblGrid>
                <a:gridCol w="53804">
                  <a:extLst>
                    <a:ext uri="{9D8B030D-6E8A-4147-A177-3AD203B41FA5}">
                      <a16:colId xmlns:a16="http://schemas.microsoft.com/office/drawing/2014/main" val="3338537668"/>
                    </a:ext>
                  </a:extLst>
                </a:gridCol>
                <a:gridCol w="5869893">
                  <a:extLst>
                    <a:ext uri="{9D8B030D-6E8A-4147-A177-3AD203B41FA5}">
                      <a16:colId xmlns:a16="http://schemas.microsoft.com/office/drawing/2014/main" val="1952040229"/>
                    </a:ext>
                  </a:extLst>
                </a:gridCol>
              </a:tblGrid>
              <a:tr h="720258">
                <a:tc>
                  <a:txBody>
                    <a:bodyPr/>
                    <a:lstStyle/>
                    <a:p>
                      <a:endParaRPr lang="en-US" sz="1100" b="0" i="0">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lvl="0" algn="l">
                        <a:spcAft>
                          <a:spcPts val="400"/>
                        </a:spcAft>
                        <a:buNone/>
                      </a:pPr>
                      <a:r>
                        <a:rPr lang="en-US" sz="1200" b="1" i="0" u="none" strike="noStrike" baseline="0" noProof="0">
                          <a:solidFill>
                            <a:srgbClr val="2C6DF6"/>
                          </a:solidFill>
                          <a:latin typeface="Arial"/>
                        </a:rPr>
                        <a:t>ACV Updates</a:t>
                      </a:r>
                      <a:endParaRPr lang="en-US"/>
                    </a:p>
                    <a:p>
                      <a:pPr marL="171450" lvl="0" indent="-171450" algn="l">
                        <a:lnSpc>
                          <a:spcPct val="100000"/>
                        </a:lnSpc>
                        <a:buFont typeface="Arial"/>
                        <a:buChar char="•"/>
                      </a:pPr>
                      <a:r>
                        <a:rPr lang="en-US" sz="1050" b="0" i="0" u="none" strike="noStrike" noProof="0">
                          <a:solidFill>
                            <a:schemeClr val="tx2"/>
                          </a:solidFill>
                          <a:latin typeface="Arial"/>
                        </a:rPr>
                        <a:t>Retailer store ACV update </a:t>
                      </a:r>
                    </a:p>
                    <a:p>
                      <a:pPr marL="171450" lvl="0" indent="-171450" algn="l">
                        <a:lnSpc>
                          <a:spcPct val="100000"/>
                        </a:lnSpc>
                        <a:buFont typeface="Arial"/>
                        <a:buChar char="•"/>
                      </a:pPr>
                      <a:r>
                        <a:rPr lang="en-US" sz="1050" b="0" i="0" u="none" strike="noStrike" baseline="0" noProof="0">
                          <a:solidFill>
                            <a:srgbClr val="060A45"/>
                          </a:solidFill>
                          <a:latin typeface="Arial"/>
                        </a:rPr>
                        <a:t>Stateline &amp; Total Channel Universe Updates (projected ACV updated for total channel) </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5" name="Table 24">
            <a:extLst>
              <a:ext uri="{FF2B5EF4-FFF2-40B4-BE49-F238E27FC236}">
                <a16:creationId xmlns:a16="http://schemas.microsoft.com/office/drawing/2014/main" id="{F1273D7A-9820-BFBC-687B-ABF6DBF9EA06}"/>
              </a:ext>
            </a:extLst>
          </p:cNvPr>
          <p:cNvGraphicFramePr>
            <a:graphicFrameLocks noGrp="1"/>
          </p:cNvGraphicFramePr>
          <p:nvPr>
            <p:extLst>
              <p:ext uri="{D42A27DB-BD31-4B8C-83A1-F6EECF244321}">
                <p14:modId xmlns:p14="http://schemas.microsoft.com/office/powerpoint/2010/main" val="671938152"/>
              </p:ext>
            </p:extLst>
          </p:nvPr>
        </p:nvGraphicFramePr>
        <p:xfrm>
          <a:off x="3074525" y="4677637"/>
          <a:ext cx="5923697" cy="360067"/>
        </p:xfrm>
        <a:graphic>
          <a:graphicData uri="http://schemas.openxmlformats.org/drawingml/2006/table">
            <a:tbl>
              <a:tblPr firstRow="1" bandRow="1">
                <a:tableStyleId>{073A0DAA-6AF3-43AB-8588-CEC1D06C72B9}</a:tableStyleId>
              </a:tblPr>
              <a:tblGrid>
                <a:gridCol w="53804">
                  <a:extLst>
                    <a:ext uri="{9D8B030D-6E8A-4147-A177-3AD203B41FA5}">
                      <a16:colId xmlns:a16="http://schemas.microsoft.com/office/drawing/2014/main" val="3338537668"/>
                    </a:ext>
                  </a:extLst>
                </a:gridCol>
                <a:gridCol w="5869893">
                  <a:extLst>
                    <a:ext uri="{9D8B030D-6E8A-4147-A177-3AD203B41FA5}">
                      <a16:colId xmlns:a16="http://schemas.microsoft.com/office/drawing/2014/main" val="1952040229"/>
                    </a:ext>
                  </a:extLst>
                </a:gridCol>
              </a:tblGrid>
              <a:tr h="360067">
                <a:tc>
                  <a:txBody>
                    <a:bodyPr/>
                    <a:lstStyle/>
                    <a:p>
                      <a:endParaRPr lang="en-US" sz="1100" b="0" i="0">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lvl="0" algn="l">
                        <a:buNone/>
                      </a:pPr>
                      <a:r>
                        <a:rPr lang="en-US" sz="1200" b="1" i="0" u="none" strike="noStrike" baseline="0" noProof="0">
                          <a:solidFill>
                            <a:srgbClr val="2C6DF6"/>
                          </a:solidFill>
                          <a:latin typeface="Arial"/>
                        </a:rPr>
                        <a:t>History re-set to Jan 2021(3.5 </a:t>
                      </a:r>
                      <a:r>
                        <a:rPr lang="en-US" sz="1200" b="1" i="0" u="none" strike="noStrike" baseline="0" noProof="0" err="1">
                          <a:solidFill>
                            <a:srgbClr val="2C6DF6"/>
                          </a:solidFill>
                          <a:latin typeface="Arial"/>
                        </a:rPr>
                        <a:t>Yrs</a:t>
                      </a:r>
                      <a:r>
                        <a:rPr lang="en-US" sz="1200" b="1" i="0" u="none" strike="noStrike" baseline="0" noProof="0">
                          <a:solidFill>
                            <a:srgbClr val="2C6DF6"/>
                          </a:solidFill>
                          <a:latin typeface="Arial"/>
                        </a:rPr>
                        <a:t>) at event delivery, building to 5 years</a:t>
                      </a:r>
                      <a:endParaRPr lang="en-US" sz="1050" b="0" i="0" u="none" strike="noStrike" baseline="0" noProof="0">
                        <a:solidFill>
                          <a:srgbClr val="060A45"/>
                        </a:solidFill>
                        <a:latin typeface="Arial"/>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4" name="TextBox 3">
            <a:extLst>
              <a:ext uri="{FF2B5EF4-FFF2-40B4-BE49-F238E27FC236}">
                <a16:creationId xmlns:a16="http://schemas.microsoft.com/office/drawing/2014/main" id="{C8813E2B-3EDC-32F3-5A36-FAEAF8D93420}"/>
              </a:ext>
            </a:extLst>
          </p:cNvPr>
          <p:cNvSpPr txBox="1"/>
          <p:nvPr/>
        </p:nvSpPr>
        <p:spPr>
          <a:xfrm>
            <a:off x="837677" y="4806862"/>
            <a:ext cx="2743200" cy="338554"/>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a:spcAft>
                <a:spcPts val="600"/>
              </a:spcAft>
            </a:pPr>
            <a:r>
              <a:rPr lang="en-US" sz="1600">
                <a:solidFill>
                  <a:srgbClr val="FFFFFF"/>
                </a:solidFill>
                <a:cs typeface="Arial"/>
              </a:rPr>
              <a:t>*</a:t>
            </a:r>
            <a:r>
              <a:rPr lang="en-US" sz="900">
                <a:solidFill>
                  <a:srgbClr val="FFFFFF"/>
                </a:solidFill>
                <a:cs typeface="Arial"/>
              </a:rPr>
              <a:t>Comprehensive list to be provided</a:t>
            </a:r>
          </a:p>
        </p:txBody>
      </p:sp>
      <p:grpSp>
        <p:nvGrpSpPr>
          <p:cNvPr id="9" name="Group 8">
            <a:extLst>
              <a:ext uri="{FF2B5EF4-FFF2-40B4-BE49-F238E27FC236}">
                <a16:creationId xmlns:a16="http://schemas.microsoft.com/office/drawing/2014/main" id="{C4F22013-D756-4BBF-4E63-7E1E992BE665}"/>
              </a:ext>
            </a:extLst>
          </p:cNvPr>
          <p:cNvGrpSpPr/>
          <p:nvPr/>
        </p:nvGrpSpPr>
        <p:grpSpPr>
          <a:xfrm>
            <a:off x="3444657" y="3108019"/>
            <a:ext cx="4629934" cy="246221"/>
            <a:chOff x="3444657" y="2912300"/>
            <a:chExt cx="4629934" cy="246221"/>
          </a:xfrm>
        </p:grpSpPr>
        <p:sp>
          <p:nvSpPr>
            <p:cNvPr id="6" name="TextBox 5">
              <a:extLst>
                <a:ext uri="{FF2B5EF4-FFF2-40B4-BE49-F238E27FC236}">
                  <a16:creationId xmlns:a16="http://schemas.microsoft.com/office/drawing/2014/main" id="{2A9565A6-38E2-3EF5-CF53-8BA0A262CDD1}"/>
                </a:ext>
              </a:extLst>
            </p:cNvPr>
            <p:cNvSpPr txBox="1"/>
            <p:nvPr/>
          </p:nvSpPr>
          <p:spPr>
            <a:xfrm>
              <a:off x="3444657" y="2912300"/>
              <a:ext cx="1506255" cy="246221"/>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514350" lvl="1" indent="-171450">
                <a:buFont typeface="Courier New,monospace"/>
                <a:buChar char="o"/>
              </a:pPr>
              <a:r>
                <a:rPr lang="en-US" sz="1000">
                  <a:solidFill>
                    <a:srgbClr val="060A45"/>
                  </a:solidFill>
                  <a:cs typeface="Arial"/>
                </a:rPr>
                <a:t>Beer 2.8x</a:t>
              </a:r>
              <a:endParaRPr lang="en-US" sz="1000" b="1">
                <a:solidFill>
                  <a:srgbClr val="FFFFFF"/>
                </a:solidFill>
                <a:cs typeface="Arial"/>
              </a:endParaRPr>
            </a:p>
          </p:txBody>
        </p:sp>
        <p:sp>
          <p:nvSpPr>
            <p:cNvPr id="7" name="TextBox 6">
              <a:extLst>
                <a:ext uri="{FF2B5EF4-FFF2-40B4-BE49-F238E27FC236}">
                  <a16:creationId xmlns:a16="http://schemas.microsoft.com/office/drawing/2014/main" id="{7FD65D18-2ACF-12A8-3702-047161F90C69}"/>
                </a:ext>
              </a:extLst>
            </p:cNvPr>
            <p:cNvSpPr txBox="1"/>
            <p:nvPr/>
          </p:nvSpPr>
          <p:spPr>
            <a:xfrm>
              <a:off x="4939951" y="2912300"/>
              <a:ext cx="1326193" cy="246221"/>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514350" lvl="1" indent="-171450">
                <a:buFont typeface="Courier New,monospace"/>
                <a:buChar char="o"/>
              </a:pPr>
              <a:r>
                <a:rPr lang="en-US" sz="1000">
                  <a:solidFill>
                    <a:srgbClr val="060A45"/>
                  </a:solidFill>
                  <a:cs typeface="Arial"/>
                </a:rPr>
                <a:t>Wine 1.8x</a:t>
              </a:r>
              <a:endParaRPr lang="en-US" sz="1000">
                <a:cs typeface="Arial"/>
              </a:endParaRPr>
            </a:p>
          </p:txBody>
        </p:sp>
        <p:sp>
          <p:nvSpPr>
            <p:cNvPr id="8" name="TextBox 7">
              <a:extLst>
                <a:ext uri="{FF2B5EF4-FFF2-40B4-BE49-F238E27FC236}">
                  <a16:creationId xmlns:a16="http://schemas.microsoft.com/office/drawing/2014/main" id="{0AE0FE5D-96CD-7DEE-4499-96A3E0F6F66A}"/>
                </a:ext>
              </a:extLst>
            </p:cNvPr>
            <p:cNvSpPr txBox="1"/>
            <p:nvPr/>
          </p:nvSpPr>
          <p:spPr>
            <a:xfrm>
              <a:off x="6435246" y="2912300"/>
              <a:ext cx="1639345" cy="246221"/>
            </a:xfrm>
            <a:prstGeom prst="rect">
              <a:avLst/>
            </a:prstGeom>
            <a:noFill/>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514350" lvl="1" indent="-171450">
                <a:buFont typeface="Courier New,monospace"/>
                <a:buChar char="o"/>
              </a:pPr>
              <a:r>
                <a:rPr lang="en-US" sz="1000">
                  <a:solidFill>
                    <a:srgbClr val="060A45"/>
                  </a:solidFill>
                  <a:cs typeface="Arial"/>
                </a:rPr>
                <a:t>Spirits 2.2x</a:t>
              </a:r>
              <a:endParaRPr lang="en-US" sz="1000">
                <a:cs typeface="Arial"/>
              </a:endParaRPr>
            </a:p>
          </p:txBody>
        </p:sp>
      </p:grpSp>
    </p:spTree>
    <p:extLst>
      <p:ext uri="{BB962C8B-B14F-4D97-AF65-F5344CB8AC3E}">
        <p14:creationId xmlns:p14="http://schemas.microsoft.com/office/powerpoint/2010/main" val="3807162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2B5851E-8923-C5D7-7DAA-864FE5EA3F1C}"/>
              </a:ext>
            </a:extLst>
          </p:cNvPr>
          <p:cNvSpPr>
            <a:spLocks noGrp="1"/>
          </p:cNvSpPr>
          <p:nvPr>
            <p:ph type="sldNum" sz="quarter" idx="12"/>
          </p:nvPr>
        </p:nvSpPr>
        <p:spPr/>
        <p:txBody>
          <a:bodyPr/>
          <a:lst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a:lstStyle>
          <a:p>
            <a:pPr defTabSz="685783">
              <a:defRPr/>
            </a:pPr>
            <a:fld id="{403EF4E2-7A7A-0548-85F1-5479B7C9E1B2}" type="slidenum">
              <a:rPr lang="en-US">
                <a:solidFill>
                  <a:srgbClr val="555555"/>
                </a:solidFill>
                <a:latin typeface="Arial" panose="020B0604020202020204"/>
              </a:rPr>
              <a:pPr defTabSz="685783">
                <a:defRPr/>
              </a:pPr>
              <a:t>8</a:t>
            </a:fld>
            <a:endParaRPr lang="en-US">
              <a:solidFill>
                <a:srgbClr val="555555"/>
              </a:solidFill>
              <a:latin typeface="Arial" panose="020B0604020202020204"/>
            </a:endParaRPr>
          </a:p>
        </p:txBody>
      </p:sp>
      <p:sp>
        <p:nvSpPr>
          <p:cNvPr id="6" name="Title 5">
            <a:extLst>
              <a:ext uri="{FF2B5EF4-FFF2-40B4-BE49-F238E27FC236}">
                <a16:creationId xmlns:a16="http://schemas.microsoft.com/office/drawing/2014/main" id="{5D8CF70D-8227-B9F9-CF03-1EF20706D480}"/>
              </a:ext>
            </a:extLst>
          </p:cNvPr>
          <p:cNvSpPr>
            <a:spLocks noGrp="1"/>
          </p:cNvSpPr>
          <p:nvPr>
            <p:ph type="title"/>
          </p:nvPr>
        </p:nvSpPr>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The Liquor channel migration to Total Open State Liquor will expand representation in </a:t>
            </a:r>
            <a:r>
              <a:rPr lang="en-US" err="1"/>
              <a:t>BevAl</a:t>
            </a:r>
            <a:endParaRPr lang="en-US"/>
          </a:p>
        </p:txBody>
      </p:sp>
      <p:sp>
        <p:nvSpPr>
          <p:cNvPr id="2" name="Google Shape;1621;p118">
            <a:extLst>
              <a:ext uri="{FF2B5EF4-FFF2-40B4-BE49-F238E27FC236}">
                <a16:creationId xmlns:a16="http://schemas.microsoft.com/office/drawing/2014/main" id="{DCA1A1B9-4A08-BF91-73E6-2849A36E82D5}"/>
              </a:ext>
            </a:extLst>
          </p:cNvPr>
          <p:cNvSpPr txBox="1"/>
          <p:nvPr/>
        </p:nvSpPr>
        <p:spPr>
          <a:xfrm>
            <a:off x="214632" y="848555"/>
            <a:ext cx="4487514" cy="370555"/>
          </a:xfrm>
          <a:prstGeom prst="rect">
            <a:avLst/>
          </a:prstGeom>
          <a:noFill/>
          <a:ln>
            <a:noFill/>
          </a:ln>
        </p:spPr>
        <p:txBody>
          <a:bodyPr spcFirstLastPara="1" wrap="square" lIns="0" tIns="45700" rIns="0" bIns="45700" anchor="t"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55">
              <a:spcAft>
                <a:spcPts val="1200"/>
              </a:spcAft>
              <a:buClr>
                <a:srgbClr val="000000"/>
              </a:buClr>
              <a:buSzPts val="1100"/>
              <a:defRPr/>
            </a:pPr>
            <a:r>
              <a:rPr lang="en-US" sz="1050" b="1" kern="0" dirty="0" err="1">
                <a:solidFill>
                  <a:srgbClr val="555555"/>
                </a:solidFill>
                <a:latin typeface="Arial"/>
                <a:ea typeface="Montserrat"/>
                <a:cs typeface="Arial"/>
                <a:sym typeface="Montserrat"/>
              </a:rPr>
              <a:t>NielsenIQ</a:t>
            </a:r>
            <a:r>
              <a:rPr lang="en-US" sz="1050" b="1" kern="0" dirty="0">
                <a:solidFill>
                  <a:srgbClr val="555555"/>
                </a:solidFill>
                <a:latin typeface="Arial"/>
                <a:ea typeface="Montserrat"/>
                <a:cs typeface="Arial"/>
                <a:sym typeface="Montserrat"/>
              </a:rPr>
              <a:t> estimated volume coverage (cases)</a:t>
            </a:r>
            <a:br>
              <a:rPr lang="en-US" sz="1050" b="1" kern="0" dirty="0">
                <a:latin typeface="Arial" panose="020B0604020202020204" pitchFamily="34" charset="0"/>
                <a:ea typeface="Montserrat"/>
                <a:cs typeface="Arial" panose="020B0604020202020204" pitchFamily="34" charset="0"/>
              </a:rPr>
            </a:br>
            <a:r>
              <a:rPr lang="en-US" sz="1050" i="1" kern="0" dirty="0">
                <a:solidFill>
                  <a:srgbClr val="555555"/>
                </a:solidFill>
                <a:latin typeface="Arial"/>
                <a:ea typeface="Montserrat"/>
                <a:cs typeface="Arial"/>
                <a:sym typeface="Montserrat"/>
              </a:rPr>
              <a:t>Total US (Off-Premise Only)</a:t>
            </a:r>
            <a:endParaRPr lang="en-US" sz="1050" i="1" kern="0" dirty="0">
              <a:solidFill>
                <a:srgbClr val="555555"/>
              </a:solidFill>
              <a:latin typeface="Arial" panose="020B0604020202020204" pitchFamily="34" charset="0"/>
              <a:ea typeface="Montserrat"/>
              <a:cs typeface="Arial" panose="020B0604020202020204" pitchFamily="34" charset="0"/>
              <a:sym typeface="Montserrat"/>
            </a:endParaRPr>
          </a:p>
        </p:txBody>
      </p:sp>
      <p:graphicFrame>
        <p:nvGraphicFramePr>
          <p:cNvPr id="4" name="Chart 3">
            <a:extLst>
              <a:ext uri="{FF2B5EF4-FFF2-40B4-BE49-F238E27FC236}">
                <a16:creationId xmlns:a16="http://schemas.microsoft.com/office/drawing/2014/main" id="{AF1A60BC-0AF5-3C24-39F4-1305B4EFE907}"/>
              </a:ext>
            </a:extLst>
          </p:cNvPr>
          <p:cNvGraphicFramePr/>
          <p:nvPr/>
        </p:nvGraphicFramePr>
        <p:xfrm>
          <a:off x="128242" y="1306185"/>
          <a:ext cx="2901336" cy="283876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4">
            <a:extLst>
              <a:ext uri="{FF2B5EF4-FFF2-40B4-BE49-F238E27FC236}">
                <a16:creationId xmlns:a16="http://schemas.microsoft.com/office/drawing/2014/main" id="{4979511C-2122-FB87-B9C3-D08EEAFE7BD8}"/>
              </a:ext>
            </a:extLst>
          </p:cNvPr>
          <p:cNvSpPr txBox="1">
            <a:spLocks/>
          </p:cNvSpPr>
          <p:nvPr/>
        </p:nvSpPr>
        <p:spPr>
          <a:xfrm>
            <a:off x="214633" y="4334007"/>
            <a:ext cx="8686799" cy="273844"/>
          </a:xfrm>
          <a:prstGeom prst="rect">
            <a:avLst/>
          </a:prstGeom>
        </p:spPr>
        <p:txBody>
          <a:bodyPr vert="horz" lIns="0" tIns="34290" rIns="0" bIns="34290" rtlCol="0" anchor="b"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r>
              <a:rPr lang="en-US" sz="825" b="1">
                <a:solidFill>
                  <a:srgbClr val="060A45"/>
                </a:solidFill>
                <a:latin typeface="Arial" panose="020B0604020202020204"/>
              </a:rPr>
              <a:t>Gaps include Closed State for Beer, Costco, Pure Play </a:t>
            </a:r>
            <a:r>
              <a:rPr lang="en-US" sz="825" b="1" err="1">
                <a:solidFill>
                  <a:srgbClr val="060A45"/>
                </a:solidFill>
                <a:latin typeface="Arial" panose="020B0604020202020204"/>
              </a:rPr>
              <a:t>eCom</a:t>
            </a:r>
            <a:r>
              <a:rPr lang="en-US" sz="825" b="1">
                <a:solidFill>
                  <a:srgbClr val="060A45"/>
                </a:solidFill>
                <a:latin typeface="Arial" panose="020B0604020202020204"/>
              </a:rPr>
              <a:t> and NABCA for Wine &amp; Spirits (which we can align to the hierarchy)</a:t>
            </a:r>
          </a:p>
        </p:txBody>
      </p:sp>
      <p:graphicFrame>
        <p:nvGraphicFramePr>
          <p:cNvPr id="9" name="Chart 8">
            <a:extLst>
              <a:ext uri="{FF2B5EF4-FFF2-40B4-BE49-F238E27FC236}">
                <a16:creationId xmlns:a16="http://schemas.microsoft.com/office/drawing/2014/main" id="{D7D4C008-70C2-09E9-3BCC-0530A1E9C197}"/>
              </a:ext>
            </a:extLst>
          </p:cNvPr>
          <p:cNvGraphicFramePr/>
          <p:nvPr/>
        </p:nvGraphicFramePr>
        <p:xfrm>
          <a:off x="3107363" y="1306184"/>
          <a:ext cx="2901336" cy="2838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9F5A858-8975-3F48-5F95-250F86AA2F5C}"/>
              </a:ext>
            </a:extLst>
          </p:cNvPr>
          <p:cNvGraphicFramePr/>
          <p:nvPr/>
        </p:nvGraphicFramePr>
        <p:xfrm>
          <a:off x="6081890" y="1306184"/>
          <a:ext cx="2901336" cy="2838761"/>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11">
            <a:extLst>
              <a:ext uri="{FF2B5EF4-FFF2-40B4-BE49-F238E27FC236}">
                <a16:creationId xmlns:a16="http://schemas.microsoft.com/office/drawing/2014/main" id="{4861DB04-27D2-796C-5BD3-F0C1D224D7CE}"/>
              </a:ext>
            </a:extLst>
          </p:cNvPr>
          <p:cNvCxnSpPr/>
          <p:nvPr/>
        </p:nvCxnSpPr>
        <p:spPr>
          <a:xfrm>
            <a:off x="3059722" y="1228411"/>
            <a:ext cx="0" cy="27356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F3C4365-C399-05E2-964B-3E6DCB5DB52D}"/>
              </a:ext>
            </a:extLst>
          </p:cNvPr>
          <p:cNvCxnSpPr/>
          <p:nvPr/>
        </p:nvCxnSpPr>
        <p:spPr>
          <a:xfrm>
            <a:off x="6040100" y="1228411"/>
            <a:ext cx="0" cy="27356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025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DDCC5A-08D5-56D9-CDB6-25F186C29643}"/>
              </a:ext>
            </a:extLst>
          </p:cNvPr>
          <p:cNvSpPr>
            <a:spLocks noGrp="1"/>
          </p:cNvSpPr>
          <p:nvPr>
            <p:ph type="sldNum" sz="quarter" idx="4"/>
          </p:nvPr>
        </p:nvSpPr>
        <p:spPr/>
        <p:txBody>
          <a:bodyPr/>
          <a:lstStyle/>
          <a:p>
            <a:fld id="{403EF4E2-7A7A-0548-85F1-5479B7C9E1B2}" type="slidenum">
              <a:rPr lang="en-US" smtClean="0"/>
              <a:pPr/>
              <a:t>9</a:t>
            </a:fld>
            <a:endParaRPr lang="en-US"/>
          </a:p>
        </p:txBody>
      </p:sp>
      <p:sp>
        <p:nvSpPr>
          <p:cNvPr id="3" name="Title 2">
            <a:extLst>
              <a:ext uri="{FF2B5EF4-FFF2-40B4-BE49-F238E27FC236}">
                <a16:creationId xmlns:a16="http://schemas.microsoft.com/office/drawing/2014/main" id="{34870C0E-169E-75B6-528A-FF66C675F684}"/>
              </a:ext>
            </a:extLst>
          </p:cNvPr>
          <p:cNvSpPr>
            <a:spLocks noGrp="1"/>
          </p:cNvSpPr>
          <p:nvPr>
            <p:ph type="ctrTitle"/>
          </p:nvPr>
        </p:nvSpPr>
        <p:spPr/>
        <p:txBody>
          <a:bodyPr/>
          <a:lstStyle/>
          <a:p>
            <a:r>
              <a:rPr lang="en-US">
                <a:cs typeface="Arial"/>
              </a:rPr>
              <a:t>Total Liquor Open State</a:t>
            </a:r>
            <a:br>
              <a:rPr lang="en-US">
                <a:cs typeface="Arial"/>
              </a:rPr>
            </a:br>
            <a:r>
              <a:rPr lang="en-US">
                <a:cs typeface="Arial"/>
              </a:rPr>
              <a:t>Data Changes</a:t>
            </a:r>
            <a:endParaRPr lang="en-US"/>
          </a:p>
        </p:txBody>
      </p:sp>
      <p:sp>
        <p:nvSpPr>
          <p:cNvPr id="4" name="Subtitle 3">
            <a:extLst>
              <a:ext uri="{FF2B5EF4-FFF2-40B4-BE49-F238E27FC236}">
                <a16:creationId xmlns:a16="http://schemas.microsoft.com/office/drawing/2014/main" id="{DBD0BC67-682F-5F11-5ED4-7FACC87150F2}"/>
              </a:ext>
            </a:extLst>
          </p:cNvPr>
          <p:cNvSpPr>
            <a:spLocks noGrp="1"/>
          </p:cNvSpPr>
          <p:nvPr>
            <p:ph type="subTitle" idx="1"/>
          </p:nvPr>
        </p:nvSpPr>
        <p:spPr/>
        <p:txBody>
          <a:bodyPr vert="horz" lIns="0" tIns="45720" rIns="0" bIns="45720" rtlCol="0" anchor="t">
            <a:noAutofit/>
          </a:bodyPr>
          <a:lstStyle/>
          <a:p>
            <a:r>
              <a:rPr lang="en-US">
                <a:cs typeface="Arial"/>
              </a:rPr>
              <a:t>2024 Channel Enhancement</a:t>
            </a:r>
            <a:endParaRPr lang="en-US"/>
          </a:p>
        </p:txBody>
      </p:sp>
    </p:spTree>
    <p:extLst>
      <p:ext uri="{BB962C8B-B14F-4D97-AF65-F5344CB8AC3E}">
        <p14:creationId xmlns:p14="http://schemas.microsoft.com/office/powerpoint/2010/main" val="1086502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10.xml><?xml version="1.0" encoding="utf-8"?>
<a:theme xmlns:a="http://schemas.openxmlformats.org/drawingml/2006/main" name="Cov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11.xml><?xml version="1.0" encoding="utf-8"?>
<a:theme xmlns:a="http://schemas.openxmlformats.org/drawingml/2006/main" name="1_One pager/Fro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12.xml><?xml version="1.0" encoding="utf-8"?>
<a:theme xmlns:a="http://schemas.openxmlformats.org/drawingml/2006/main" name="3_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1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3.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1_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96d5290-d2dc-49b7-9522-40be02bf0d97">
      <UserInfo>
        <DisplayName>Jill Kretzmer</DisplayName>
        <AccountId>2977</AccountId>
        <AccountType/>
      </UserInfo>
      <UserInfo>
        <DisplayName>Sabina Ravindran</DisplayName>
        <AccountId>1504</AccountId>
        <AccountType/>
      </UserInfo>
      <UserInfo>
        <DisplayName>Brandy Gross</DisplayName>
        <AccountId>1718</AccountId>
        <AccountType/>
      </UserInfo>
      <UserInfo>
        <DisplayName>Rachel Sandquist</DisplayName>
        <AccountId>6</AccountId>
        <AccountType/>
      </UserInfo>
      <UserInfo>
        <DisplayName>Xiomara Olivares</DisplayName>
        <AccountId>1285</AccountId>
        <AccountType/>
      </UserInfo>
      <UserInfo>
        <DisplayName>Jack Collins</DisplayName>
        <AccountId>1369</AccountId>
        <AccountType/>
      </UserInfo>
      <UserInfo>
        <DisplayName>Aaron Macklin</DisplayName>
        <AccountId>3250</AccountId>
        <AccountType/>
      </UserInfo>
      <UserInfo>
        <DisplayName>Katie Papke</DisplayName>
        <AccountId>16</AccountId>
        <AccountType/>
      </UserInfo>
    </SharedWithUsers>
    <MediaLengthInSeconds xmlns="eec15bef-dd5a-4452-aa7c-09c7fb69bb9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02345A4C532E243A106C943D19A9940" ma:contentTypeVersion="10" ma:contentTypeDescription="Create a new document." ma:contentTypeScope="" ma:versionID="3b9ef6f1d0284d45b6641b52ae0f35d5">
  <xsd:schema xmlns:xsd="http://www.w3.org/2001/XMLSchema" xmlns:xs="http://www.w3.org/2001/XMLSchema" xmlns:p="http://schemas.microsoft.com/office/2006/metadata/properties" xmlns:ns2="eec15bef-dd5a-4452-aa7c-09c7fb69bb97" xmlns:ns3="d96d5290-d2dc-49b7-9522-40be02bf0d97" targetNamespace="http://schemas.microsoft.com/office/2006/metadata/properties" ma:root="true" ma:fieldsID="836298e56db3af7fac8ecd38cdedd0ec" ns2:_="" ns3:_="">
    <xsd:import namespace="eec15bef-dd5a-4452-aa7c-09c7fb69bb97"/>
    <xsd:import namespace="d96d5290-d2dc-49b7-9522-40be02bf0d9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MediaServiceGenerationTime" minOccurs="0"/>
                <xsd:element ref="ns2:MediaServiceEventHashCode"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c15bef-dd5a-4452-aa7c-09c7fb69bb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96d5290-d2dc-49b7-9522-40be02bf0d97"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7841BB-0430-4F80-AD62-384B3A7CE190}">
  <ds:schemaRefs>
    <ds:schemaRef ds:uri="http://schemas.microsoft.com/sharepoint/v3/contenttype/forms"/>
  </ds:schemaRefs>
</ds:datastoreItem>
</file>

<file path=customXml/itemProps2.xml><?xml version="1.0" encoding="utf-8"?>
<ds:datastoreItem xmlns:ds="http://schemas.openxmlformats.org/officeDocument/2006/customXml" ds:itemID="{970B2AB4-8C0E-4746-9CC5-75796553C6D4}">
  <ds:schemaRefs>
    <ds:schemaRef ds:uri="8ff152de-ecc4-4230-99fe-6bff1902f6e0"/>
    <ds:schemaRef ds:uri="96525b29-89e6-4d27-a08f-dd1d855389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96d5290-d2dc-49b7-9522-40be02bf0d97"/>
    <ds:schemaRef ds:uri="eec15bef-dd5a-4452-aa7c-09c7fb69bb97"/>
  </ds:schemaRefs>
</ds:datastoreItem>
</file>

<file path=customXml/itemProps3.xml><?xml version="1.0" encoding="utf-8"?>
<ds:datastoreItem xmlns:ds="http://schemas.openxmlformats.org/officeDocument/2006/customXml" ds:itemID="{6AEB73F6-F4FE-4240-A0ED-745C4EC267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c15bef-dd5a-4452-aa7c-09c7fb69bb97"/>
    <ds:schemaRef ds:uri="d96d5290-d2dc-49b7-9522-40be02bf0d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IQ All Theme Colors</Template>
  <TotalTime>29</TotalTime>
  <Words>2404</Words>
  <Application>Microsoft Office PowerPoint</Application>
  <PresentationFormat>On-screen Show (16:9)</PresentationFormat>
  <Paragraphs>632</Paragraphs>
  <Slides>18</Slides>
  <Notes>5</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18</vt:i4>
      </vt:variant>
    </vt:vector>
  </HeadingPairs>
  <TitlesOfParts>
    <vt:vector size="45" baseType="lpstr">
      <vt:lpstr>Montserrat</vt:lpstr>
      <vt:lpstr>Wingdings</vt:lpstr>
      <vt:lpstr>System Font Regular</vt:lpstr>
      <vt:lpstr>Aptos Display</vt:lpstr>
      <vt:lpstr>Montserrat Light</vt:lpstr>
      <vt:lpstr>Calibri</vt:lpstr>
      <vt:lpstr>HK Grotesk</vt:lpstr>
      <vt:lpstr>Grandview</vt:lpstr>
      <vt:lpstr>Courier New,monospace</vt:lpstr>
      <vt:lpstr>Avenir Next LT Pro</vt:lpstr>
      <vt:lpstr>Aptos</vt:lpstr>
      <vt:lpstr>Courier New</vt:lpstr>
      <vt:lpstr>Georgia</vt:lpstr>
      <vt:lpstr>Arial</vt:lpstr>
      <vt:lpstr>NIQ All Theme Colors</vt:lpstr>
      <vt:lpstr>Dividers</vt:lpstr>
      <vt:lpstr>Content</vt:lpstr>
      <vt:lpstr>Quotes</vt:lpstr>
      <vt:lpstr>Thank you</vt:lpstr>
      <vt:lpstr>3YP</vt:lpstr>
      <vt:lpstr>Cobranded</vt:lpstr>
      <vt:lpstr>1_Content</vt:lpstr>
      <vt:lpstr>Content</vt:lpstr>
      <vt:lpstr>Covers</vt:lpstr>
      <vt:lpstr>1_One pager/Front</vt:lpstr>
      <vt:lpstr>3_Content</vt:lpstr>
      <vt:lpstr>think-cell Slide</vt:lpstr>
      <vt:lpstr>Liquor Enhancement Open State Launch</vt:lpstr>
      <vt:lpstr>Agenda</vt:lpstr>
      <vt:lpstr>Liquor Channel Enhancements</vt:lpstr>
      <vt:lpstr>PowerPoint Presentation</vt:lpstr>
      <vt:lpstr>PowerPoint Presentation</vt:lpstr>
      <vt:lpstr>Data Review</vt:lpstr>
      <vt:lpstr>2024 Liquor Open State Channel  Enhancement    Expanded Coverage enabling the Full View for Liquor   Delivering July 22nd / 23rd, 2024</vt:lpstr>
      <vt:lpstr>The Liquor channel migration to Total Open State Liquor will expand representation in BevAl</vt:lpstr>
      <vt:lpstr>Total Liquor Open State Data Changes</vt:lpstr>
      <vt:lpstr>PowerPoint Presentation</vt:lpstr>
      <vt:lpstr>PowerPoint Presentation</vt:lpstr>
      <vt:lpstr>PowerPoint Presentation</vt:lpstr>
      <vt:lpstr>PowerPoint Presentation</vt:lpstr>
      <vt:lpstr>PowerPoint Presentation</vt:lpstr>
      <vt:lpstr>PowerPoint Presentation</vt:lpstr>
      <vt:lpstr>Explanation of the Changes: Methodology</vt:lpstr>
      <vt:lpstr>Liquor Channel Enhancement: Non-Census Increas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Dawson Phan</dc:creator>
  <cp:lastModifiedBy>Dawson Phan</cp:lastModifiedBy>
  <cp:revision>16</cp:revision>
  <dcterms:modified xsi:type="dcterms:W3CDTF">2024-07-09T18:4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2345A4C532E243A106C943D19A9940</vt:lpwstr>
  </property>
  <property fmtid="{D5CDD505-2E9C-101B-9397-08002B2CF9AE}" pid="3" name="_SourceUrl">
    <vt:lpwstr/>
  </property>
  <property fmtid="{D5CDD505-2E9C-101B-9397-08002B2CF9AE}" pid="4" name="_SharedFileIndex">
    <vt:lpwstr/>
  </property>
  <property fmtid="{D5CDD505-2E9C-101B-9397-08002B2CF9AE}" pid="5" name="ComplianceAssetId">
    <vt:lpwstr/>
  </property>
  <property fmtid="{D5CDD505-2E9C-101B-9397-08002B2CF9AE}" pid="6" name="_ExtendedDescription">
    <vt:lpwstr/>
  </property>
  <property fmtid="{D5CDD505-2E9C-101B-9397-08002B2CF9AE}" pid="7" name="_activity">
    <vt:lpwstr>{"FileActivityType":"9","FileActivityTimeStamp":"2024-06-04T20:38:39.117Z","FileActivityUsersOnPage":[{"DisplayName":"Michael Bennett","Id":"michael.bennett@nielseniq.com"},{"DisplayName":"Sabina Ravindran","Id":"sabina.ravindran@nielseniq.com"},{"DisplayName":"Jill Kretzmer","Id":"jill.kretzmer@nielseniq.com"},{"DisplayName":"Brandy Gross","Id":"brandy.gross@nielseniq.com"},{"DisplayName":"Rachel Sandquist","Id":"rachel.sandquist@nielseniq.com"}],"FileActivityNavigationId":null}</vt:lpwstr>
  </property>
  <property fmtid="{D5CDD505-2E9C-101B-9397-08002B2CF9AE}" pid="8" name="TriggerFlowInfo">
    <vt:lpwstr/>
  </property>
</Properties>
</file>